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52" r:id="rId1"/>
    <p:sldMasterId id="2147484059" r:id="rId2"/>
    <p:sldMasterId id="2147484071" r:id="rId3"/>
    <p:sldMasterId id="2147484115" r:id="rId4"/>
    <p:sldMasterId id="2147484170" r:id="rId5"/>
    <p:sldMasterId id="2147484182" r:id="rId6"/>
    <p:sldMasterId id="2147485399" r:id="rId7"/>
  </p:sldMasterIdLst>
  <p:notesMasterIdLst>
    <p:notesMasterId r:id="rId41"/>
  </p:notesMasterIdLst>
  <p:handoutMasterIdLst>
    <p:handoutMasterId r:id="rId42"/>
  </p:handoutMasterIdLst>
  <p:sldIdLst>
    <p:sldId id="458" r:id="rId8"/>
    <p:sldId id="580" r:id="rId9"/>
    <p:sldId id="581" r:id="rId10"/>
    <p:sldId id="582" r:id="rId11"/>
    <p:sldId id="478" r:id="rId12"/>
    <p:sldId id="480" r:id="rId13"/>
    <p:sldId id="483" r:id="rId14"/>
    <p:sldId id="574" r:id="rId15"/>
    <p:sldId id="575" r:id="rId16"/>
    <p:sldId id="578" r:id="rId17"/>
    <p:sldId id="576" r:id="rId18"/>
    <p:sldId id="577" r:id="rId19"/>
    <p:sldId id="594" r:id="rId20"/>
    <p:sldId id="600" r:id="rId21"/>
    <p:sldId id="601" r:id="rId22"/>
    <p:sldId id="602" r:id="rId23"/>
    <p:sldId id="603" r:id="rId24"/>
    <p:sldId id="604" r:id="rId25"/>
    <p:sldId id="605" r:id="rId26"/>
    <p:sldId id="579" r:id="rId27"/>
    <p:sldId id="583" r:id="rId28"/>
    <p:sldId id="584" r:id="rId29"/>
    <p:sldId id="585" r:id="rId30"/>
    <p:sldId id="586" r:id="rId31"/>
    <p:sldId id="587" r:id="rId32"/>
    <p:sldId id="588" r:id="rId33"/>
    <p:sldId id="589" r:id="rId34"/>
    <p:sldId id="590" r:id="rId35"/>
    <p:sldId id="591" r:id="rId36"/>
    <p:sldId id="592" r:id="rId37"/>
    <p:sldId id="606" r:id="rId38"/>
    <p:sldId id="607" r:id="rId39"/>
    <p:sldId id="608" r:id="rId40"/>
  </p:sldIdLst>
  <p:sldSz cx="9753600" cy="7315200"/>
  <p:notesSz cx="6797675" cy="9926638"/>
  <p:defaultTextStyle>
    <a:defPPr>
      <a:defRPr lang="en-US"/>
    </a:defPPr>
    <a:lvl1pPr algn="l" defTabSz="974725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87363" indent="-30163" algn="l" defTabSz="974725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74725" indent="-60325" algn="l" defTabSz="974725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462088" indent="-90488" algn="l" defTabSz="974725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949450" indent="-120650" algn="l" defTabSz="974725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00">
          <p15:clr>
            <a:srgbClr val="A4A3A4"/>
          </p15:clr>
        </p15:guide>
        <p15:guide id="2" orient="horz" pos="4301">
          <p15:clr>
            <a:srgbClr val="A4A3A4"/>
          </p15:clr>
        </p15:guide>
        <p15:guide id="3" orient="horz" pos="4513">
          <p15:clr>
            <a:srgbClr val="A4A3A4"/>
          </p15:clr>
        </p15:guide>
        <p15:guide id="4" orient="horz" pos="2350">
          <p15:clr>
            <a:srgbClr val="A4A3A4"/>
          </p15:clr>
        </p15:guide>
        <p15:guide id="5" orient="horz" pos="2715">
          <p15:clr>
            <a:srgbClr val="A4A3A4"/>
          </p15:clr>
        </p15:guide>
        <p15:guide id="6" orient="horz" pos="1237">
          <p15:clr>
            <a:srgbClr val="A4A3A4"/>
          </p15:clr>
        </p15:guide>
        <p15:guide id="7" orient="horz" pos="669">
          <p15:clr>
            <a:srgbClr val="A4A3A4"/>
          </p15:clr>
        </p15:guide>
        <p15:guide id="8" orient="horz" pos="4433">
          <p15:clr>
            <a:srgbClr val="A4A3A4"/>
          </p15:clr>
        </p15:guide>
        <p15:guide id="9" pos="3072">
          <p15:clr>
            <a:srgbClr val="A4A3A4"/>
          </p15:clr>
        </p15:guide>
        <p15:guide id="10" pos="576">
          <p15:clr>
            <a:srgbClr val="A4A3A4"/>
          </p15:clr>
        </p15:guide>
        <p15:guide id="11" pos="93">
          <p15:clr>
            <a:srgbClr val="A4A3A4"/>
          </p15:clr>
        </p15:guide>
        <p15:guide id="12" pos="5987">
          <p15:clr>
            <a:srgbClr val="A4A3A4"/>
          </p15:clr>
        </p15:guide>
        <p15:guide id="13" pos="5760">
          <p15:clr>
            <a:srgbClr val="A4A3A4"/>
          </p15:clr>
        </p15:guide>
        <p15:guide id="14" pos="2686">
          <p15:clr>
            <a:srgbClr val="A4A3A4"/>
          </p15:clr>
        </p15:guide>
        <p15:guide id="15" pos="2457">
          <p15:clr>
            <a:srgbClr val="A4A3A4"/>
          </p15:clr>
        </p15:guide>
        <p15:guide id="16" pos="3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F5F5F5"/>
    <a:srgbClr val="D7D7D7"/>
    <a:srgbClr val="002E5C"/>
    <a:srgbClr val="E6E6E6"/>
    <a:srgbClr val="E1E1E1"/>
    <a:srgbClr val="EBEBEB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26" autoAdjust="0"/>
    <p:restoredTop sz="99631" autoAdjust="0"/>
  </p:normalViewPr>
  <p:slideViewPr>
    <p:cSldViewPr snapToGrid="0">
      <p:cViewPr varScale="1">
        <p:scale>
          <a:sx n="108" d="100"/>
          <a:sy n="108" d="100"/>
        </p:scale>
        <p:origin x="1254" y="192"/>
      </p:cViewPr>
      <p:guideLst>
        <p:guide orient="horz" pos="2300"/>
        <p:guide orient="horz" pos="4301"/>
        <p:guide orient="horz" pos="4513"/>
        <p:guide orient="horz" pos="2350"/>
        <p:guide orient="horz" pos="2715"/>
        <p:guide orient="horz" pos="1237"/>
        <p:guide orient="horz" pos="669"/>
        <p:guide orient="horz" pos="4433"/>
        <p:guide pos="3072"/>
        <p:guide pos="576"/>
        <p:guide pos="93"/>
        <p:guide pos="5987"/>
        <p:guide pos="5760"/>
        <p:guide pos="2686"/>
        <p:guide pos="2457"/>
        <p:guide pos="3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42" y="66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49648" y="0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4DF4E776-CF63-46DD-B925-4BE6FADEAB2B}" type="datetimeFigureOut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27622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49648" y="9427622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3DDD6243-52FE-4FF5-9A88-3083ED43CF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21554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648" y="0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D28E24F6-56B8-4EF1-94A3-4945EEEFA941}" type="datetimeFigureOut">
              <a:rPr lang="en-US"/>
              <a:pPr>
                <a:defRPr/>
              </a:pPr>
              <a:t>2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8979" y="4713812"/>
            <a:ext cx="5439719" cy="446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7622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648" y="9427622"/>
            <a:ext cx="2946448" cy="4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10" rIns="91418" bIns="4571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E810CB47-7ED2-4F0E-9643-76248D5B81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1627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974725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363" algn="l" defTabSz="974725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4725" algn="l" defTabSz="974725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2088" algn="l" defTabSz="974725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49450" algn="l" defTabSz="974725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248" algn="l" defTabSz="97529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5897" algn="l" defTabSz="97529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3547" algn="l" defTabSz="97529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196" algn="l" defTabSz="97529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396457-E0F5-4052-AA10-960CD8BBBCF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747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altLang="ru-RU" sz="12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10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8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07" tIns="46004" rIns="92007" bIns="46004"/>
          <a:lstStyle/>
          <a:p>
            <a:pPr defTabSz="977900" eaLnBrk="1" hangingPunct="1">
              <a:lnSpc>
                <a:spcPct val="80000"/>
              </a:lnSpc>
            </a:pPr>
            <a:endParaRPr lang="ru-RU" altLang="ru-RU" sz="900" smtClean="0"/>
          </a:p>
        </p:txBody>
      </p:sp>
      <p:sp>
        <p:nvSpPr>
          <p:cNvPr id="47109" name="Нижний колонтитул 4"/>
          <p:cNvSpPr txBox="1">
            <a:spLocks noGrp="1"/>
          </p:cNvSpPr>
          <p:nvPr/>
        </p:nvSpPr>
        <p:spPr bwMode="auto">
          <a:xfrm>
            <a:off x="0" y="9477375"/>
            <a:ext cx="296227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07" tIns="46004" rIns="92007" bIns="46004" anchor="b"/>
          <a:lstStyle>
            <a:lvl1pPr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7F2FA311-F582-43E1-A6F6-EDFB64B27FD5}" type="slidenum">
              <a:rPr lang="ru-RU" altLang="ru-RU"/>
              <a:pPr/>
              <a:t>29</a:t>
            </a:fld>
            <a:endParaRPr lang="ru-RU" altLang="ru-RU"/>
          </a:p>
        </p:txBody>
      </p:sp>
      <p:sp>
        <p:nvSpPr>
          <p:cNvPr id="4813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2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07" tIns="46004" rIns="92007" bIns="46004"/>
          <a:lstStyle/>
          <a:p>
            <a:pPr defTabSz="977900" eaLnBrk="1" hangingPunct="1">
              <a:lnSpc>
                <a:spcPct val="80000"/>
              </a:lnSpc>
            </a:pPr>
            <a:endParaRPr lang="ru-RU" altLang="ru-RU" sz="900" smtClean="0"/>
          </a:p>
        </p:txBody>
      </p:sp>
      <p:sp>
        <p:nvSpPr>
          <p:cNvPr id="48133" name="Нижний колонтитул 4"/>
          <p:cNvSpPr txBox="1">
            <a:spLocks noGrp="1"/>
          </p:cNvSpPr>
          <p:nvPr/>
        </p:nvSpPr>
        <p:spPr bwMode="auto">
          <a:xfrm>
            <a:off x="0" y="9477375"/>
            <a:ext cx="296227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07" tIns="46004" rIns="92007" bIns="46004" anchor="b"/>
          <a:lstStyle>
            <a:lvl1pPr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81075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81075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156170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FGC-Bkgr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2"/>
          <p:cNvGrpSpPr>
            <a:grpSpLocks/>
          </p:cNvGrpSpPr>
          <p:nvPr userDrawn="1"/>
        </p:nvGrpSpPr>
        <p:grpSpPr bwMode="auto">
          <a:xfrm>
            <a:off x="914400" y="5467350"/>
            <a:ext cx="7927975" cy="1304925"/>
            <a:chOff x="1805761" y="5524743"/>
            <a:chExt cx="7918450" cy="1303096"/>
          </a:xfrm>
        </p:grpSpPr>
        <p:sp>
          <p:nvSpPr>
            <p:cNvPr id="6" name="Rectangle 25"/>
            <p:cNvSpPr/>
            <p:nvPr userDrawn="1"/>
          </p:nvSpPr>
          <p:spPr bwMode="auto">
            <a:xfrm>
              <a:off x="1805761" y="5524743"/>
              <a:ext cx="1783792" cy="1303096"/>
            </a:xfrm>
            <a:prstGeom prst="rect">
              <a:avLst/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7" name="Rectangle 26"/>
            <p:cNvSpPr/>
            <p:nvPr userDrawn="1"/>
          </p:nvSpPr>
          <p:spPr bwMode="auto">
            <a:xfrm>
              <a:off x="3849591" y="5524743"/>
              <a:ext cx="1783791" cy="1301511"/>
            </a:xfrm>
            <a:prstGeom prst="rect">
              <a:avLst/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8" name="Rectangle 27"/>
            <p:cNvSpPr/>
            <p:nvPr userDrawn="1"/>
          </p:nvSpPr>
          <p:spPr bwMode="auto">
            <a:xfrm>
              <a:off x="5896590" y="5524743"/>
              <a:ext cx="1783792" cy="1301511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9" name="Rectangle 28"/>
            <p:cNvSpPr/>
            <p:nvPr userDrawn="1"/>
          </p:nvSpPr>
          <p:spPr bwMode="auto">
            <a:xfrm>
              <a:off x="7940420" y="5524743"/>
              <a:ext cx="1783791" cy="1303096"/>
            </a:xfrm>
            <a:prstGeom prst="rect">
              <a:avLst/>
            </a:prstGeom>
            <a:blipFill dpi="0" rotWithShape="1">
              <a:blip r:embed="rId6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</p:grpSp>
      <p:pic>
        <p:nvPicPr>
          <p:cNvPr id="10" name="Picture 23" descr="FGC-logo-ON-BLUE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42" r="39293"/>
          <a:stretch>
            <a:fillRect/>
          </a:stretch>
        </p:blipFill>
        <p:spPr bwMode="auto">
          <a:xfrm>
            <a:off x="788988" y="1441450"/>
            <a:ext cx="1663700" cy="137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925" y="3296251"/>
            <a:ext cx="5188075" cy="590925"/>
          </a:xfrm>
          <a:noFill/>
          <a:ln w="9525">
            <a:noFill/>
            <a:miter lim="800000"/>
            <a:headEnd/>
            <a:tailEnd/>
          </a:ln>
        </p:spPr>
        <p:txBody>
          <a:bodyPr wrap="none" anchor="t">
            <a:spAutoFit/>
          </a:bodyPr>
          <a:lstStyle>
            <a:lvl1pPr algn="l" defTabSz="974725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lang="en-US" sz="3100" b="1" kern="120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6925" y="3974011"/>
            <a:ext cx="4391511" cy="467814"/>
          </a:xfr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marL="0" indent="0" algn="l" defTabSz="974725" rtl="0" fontAlgn="base">
              <a:spcBef>
                <a:spcPct val="50000"/>
              </a:spcBef>
              <a:spcAft>
                <a:spcPct val="0"/>
              </a:spcAft>
              <a:buNone/>
              <a:defRPr lang="en-US" sz="2400" b="1" kern="120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487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2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5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3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68391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7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11774" y="653627"/>
            <a:ext cx="5852160" cy="4389120"/>
          </a:xfrm>
        </p:spPr>
        <p:txBody>
          <a:bodyPr rtlCol="0">
            <a:normAutofit/>
          </a:bodyPr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1177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78A29-5F5C-4C85-8FB8-EDAC90FCB2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62604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8C9484-D9AA-4CCD-AE87-1E4296DDED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8061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43801" y="313267"/>
            <a:ext cx="2340187" cy="665649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854" y="313267"/>
            <a:ext cx="6861387" cy="665649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45F0B-1103-4597-B012-6D6EE50348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29290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1520" y="2272454"/>
            <a:ext cx="8290560" cy="156802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63040" y="4145280"/>
            <a:ext cx="6827520" cy="1869440"/>
          </a:xfrm>
        </p:spPr>
        <p:txBody>
          <a:bodyPr/>
          <a:lstStyle>
            <a:lvl1pPr marL="0" indent="0" algn="ctr">
              <a:buNone/>
              <a:defRPr/>
            </a:lvl1pPr>
            <a:lvl2pPr marL="487650" indent="0" algn="ctr">
              <a:buNone/>
              <a:defRPr/>
            </a:lvl2pPr>
            <a:lvl3pPr marL="975299" indent="0" algn="ctr">
              <a:buNone/>
              <a:defRPr/>
            </a:lvl3pPr>
            <a:lvl4pPr marL="1462949" indent="0" algn="ctr">
              <a:buNone/>
              <a:defRPr/>
            </a:lvl4pPr>
            <a:lvl5pPr marL="1950598" indent="0" algn="ctr">
              <a:buNone/>
              <a:defRPr/>
            </a:lvl5pPr>
            <a:lvl6pPr marL="2438248" indent="0" algn="ctr">
              <a:buNone/>
              <a:defRPr/>
            </a:lvl6pPr>
            <a:lvl7pPr marL="2925897" indent="0" algn="ctr">
              <a:buNone/>
              <a:defRPr/>
            </a:lvl7pPr>
            <a:lvl8pPr marL="3413547" indent="0" algn="ctr">
              <a:buNone/>
              <a:defRPr/>
            </a:lvl8pPr>
            <a:lvl9pPr marL="390119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BEE5BD-C560-459A-9C3D-E0C8F9A698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57765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75006C-2A92-46F7-BC88-E89DBD7D8A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756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0467" y="4700694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7046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/>
            </a:lvl1pPr>
            <a:lvl2pPr marL="487650" indent="0">
              <a:buNone/>
              <a:defRPr sz="1900"/>
            </a:lvl2pPr>
            <a:lvl3pPr marL="975299" indent="0">
              <a:buNone/>
              <a:defRPr sz="1700"/>
            </a:lvl3pPr>
            <a:lvl4pPr marL="1462949" indent="0">
              <a:buNone/>
              <a:defRPr sz="1500"/>
            </a:lvl4pPr>
            <a:lvl5pPr marL="1950598" indent="0">
              <a:buNone/>
              <a:defRPr sz="1500"/>
            </a:lvl5pPr>
            <a:lvl6pPr marL="2438248" indent="0">
              <a:buNone/>
              <a:defRPr sz="1500"/>
            </a:lvl6pPr>
            <a:lvl7pPr marL="2925897" indent="0">
              <a:buNone/>
              <a:defRPr sz="1500"/>
            </a:lvl7pPr>
            <a:lvl8pPr marL="3413547" indent="0">
              <a:buNone/>
              <a:defRPr sz="1500"/>
            </a:lvl8pPr>
            <a:lvl9pPr marL="3901196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AE1565-C096-42B7-B026-341E42B586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29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87680" y="1706880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8080" y="1706880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9F7B9D-E8BA-4D9B-9592-B81CE63B6F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8795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53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53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54694" y="1637454"/>
            <a:ext cx="4311227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54694" y="2319867"/>
            <a:ext cx="4311227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CC9FD-3E53-4F32-9355-EFBAD9A1EB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5997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2EFC2B-6C4A-4EC1-A9BA-27D14BB30B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75772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66B40-D521-46F7-B6E5-7D50686154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520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458913"/>
            <a:ext cx="8778240" cy="4827694"/>
          </a:xfrm>
        </p:spPr>
        <p:txBody>
          <a:bodyPr>
            <a:normAutofit/>
          </a:bodyPr>
          <a:lstStyle>
            <a:lvl1pPr marL="350838" indent="-350838">
              <a:buSzPct val="135000"/>
              <a:buFontTx/>
              <a:buBlip>
                <a:blip r:embed="rId2"/>
              </a:buBlip>
              <a:defRPr sz="2400">
                <a:solidFill>
                  <a:schemeClr val="tx2">
                    <a:lumMod val="50000"/>
                  </a:schemeClr>
                </a:solidFill>
                <a:latin typeface="+mj-lt"/>
              </a:defRPr>
            </a:lvl1pPr>
            <a:lvl2pPr marL="812800" indent="-274638">
              <a:defRPr sz="2000">
                <a:solidFill>
                  <a:schemeClr val="tx2">
                    <a:lumMod val="50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  <a:latin typeface="+mj-lt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+mj-lt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799" y="1914"/>
            <a:ext cx="8778240" cy="1219200"/>
          </a:xfrm>
        </p:spPr>
        <p:txBody>
          <a:bodyPr rtlCol="0">
            <a:normAutofit/>
          </a:bodyPr>
          <a:lstStyle>
            <a:lvl1pPr algn="l" defTabSz="975299" rtl="0" eaLnBrk="1" latinLnBrk="0" hangingPunct="1">
              <a:spcBef>
                <a:spcPct val="0"/>
              </a:spcBef>
              <a:buNone/>
              <a:defRPr lang="en-US" sz="3200" b="1" kern="120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5913438" y="6780213"/>
            <a:ext cx="2274887" cy="3889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5263" y="6791325"/>
            <a:ext cx="2274887" cy="388938"/>
          </a:xfrm>
        </p:spPr>
        <p:txBody>
          <a:bodyPr lIns="36000"/>
          <a:lstStyle>
            <a:lvl1pPr algn="l">
              <a:defRPr/>
            </a:lvl1pPr>
          </a:lstStyle>
          <a:p>
            <a:pPr>
              <a:defRPr/>
            </a:pPr>
            <a:fld id="{827612E6-00B7-4702-8378-447BEDE542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257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1" y="291253"/>
            <a:ext cx="320886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13387" y="291254"/>
            <a:ext cx="545253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1" y="1530774"/>
            <a:ext cx="320886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4496FF-A0C8-4714-85C8-D8FB20541E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058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177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11774" y="653627"/>
            <a:ext cx="5852160" cy="4389120"/>
          </a:xfrm>
        </p:spPr>
        <p:txBody>
          <a:bodyPr/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1177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159B25-BEF7-412C-961F-BF1DF978B7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803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B58367-F456-493C-B862-2C9B8ED6BE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2456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71360" y="292948"/>
            <a:ext cx="2194560" cy="624162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87680" y="292948"/>
            <a:ext cx="6421120" cy="624162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DDA758-6BE2-43F6-A6D4-F6C523DB26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8077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624102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0597" y="4700701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7059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/>
            </a:lvl1pPr>
            <a:lvl2pPr marL="487650" indent="0">
              <a:buNone/>
              <a:defRPr sz="1900"/>
            </a:lvl2pPr>
            <a:lvl3pPr marL="975299" indent="0">
              <a:buNone/>
              <a:defRPr sz="1700"/>
            </a:lvl3pPr>
            <a:lvl4pPr marL="1462949" indent="0">
              <a:buNone/>
              <a:defRPr sz="1500"/>
            </a:lvl4pPr>
            <a:lvl5pPr marL="1950598" indent="0">
              <a:buNone/>
              <a:defRPr sz="1500"/>
            </a:lvl5pPr>
            <a:lvl6pPr marL="2438248" indent="0">
              <a:buNone/>
              <a:defRPr sz="1500"/>
            </a:lvl6pPr>
            <a:lvl7pPr marL="2925897" indent="0">
              <a:buNone/>
              <a:defRPr sz="1500"/>
            </a:lvl7pPr>
            <a:lvl8pPr marL="3413547" indent="0">
              <a:buNone/>
              <a:defRPr sz="1500"/>
            </a:lvl8pPr>
            <a:lvl9pPr marL="3901196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269877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31523" y="2113280"/>
            <a:ext cx="4070253" cy="4389120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1827" y="2113280"/>
            <a:ext cx="4070253" cy="4389120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26871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0" y="292947"/>
            <a:ext cx="877824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40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40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54959" y="1637454"/>
            <a:ext cx="4310966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54959" y="2319867"/>
            <a:ext cx="4310966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1813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2510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532572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grpSp>
        <p:nvGrpSpPr>
          <p:cNvPr id="4" name="Group 17"/>
          <p:cNvGrpSpPr>
            <a:grpSpLocks/>
          </p:cNvGrpSpPr>
          <p:nvPr userDrawn="1"/>
        </p:nvGrpSpPr>
        <p:grpSpPr bwMode="auto">
          <a:xfrm>
            <a:off x="-3216275" y="0"/>
            <a:ext cx="12149138" cy="7321550"/>
            <a:chOff x="-2916238" y="180975"/>
            <a:chExt cx="11849101" cy="7140576"/>
          </a:xfrm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-688242" y="188717"/>
              <a:ext cx="9621105" cy="7132834"/>
            </a:xfrm>
            <a:custGeom>
              <a:avLst/>
              <a:gdLst>
                <a:gd name="T0" fmla="*/ 2147483647 w 1434"/>
                <a:gd name="T1" fmla="*/ 2147483647 h 1062"/>
                <a:gd name="T2" fmla="*/ 2147483647 w 1434"/>
                <a:gd name="T3" fmla="*/ 2147483647 h 1062"/>
                <a:gd name="T4" fmla="*/ 2147483647 w 1434"/>
                <a:gd name="T5" fmla="*/ 2147483647 h 1062"/>
                <a:gd name="T6" fmla="*/ 2147483647 w 1434"/>
                <a:gd name="T7" fmla="*/ 2147483647 h 1062"/>
                <a:gd name="T8" fmla="*/ 2147483647 w 1434"/>
                <a:gd name="T9" fmla="*/ 2147483647 h 1062"/>
                <a:gd name="T10" fmla="*/ 2147483647 w 1434"/>
                <a:gd name="T11" fmla="*/ 2147483647 h 1062"/>
                <a:gd name="T12" fmla="*/ 2147483647 w 1434"/>
                <a:gd name="T13" fmla="*/ 2147483647 h 1062"/>
                <a:gd name="T14" fmla="*/ 2147483647 w 1434"/>
                <a:gd name="T15" fmla="*/ 2147483647 h 1062"/>
                <a:gd name="T16" fmla="*/ 2147483647 w 1434"/>
                <a:gd name="T17" fmla="*/ 2147483647 h 1062"/>
                <a:gd name="T18" fmla="*/ 2147483647 w 1434"/>
                <a:gd name="T19" fmla="*/ 2147483647 h 1062"/>
                <a:gd name="T20" fmla="*/ 2147483647 w 1434"/>
                <a:gd name="T21" fmla="*/ 2147483647 h 1062"/>
                <a:gd name="T22" fmla="*/ 2147483647 w 1434"/>
                <a:gd name="T23" fmla="*/ 2147483647 h 1062"/>
                <a:gd name="T24" fmla="*/ 2147483647 w 1434"/>
                <a:gd name="T25" fmla="*/ 2147483647 h 1062"/>
                <a:gd name="T26" fmla="*/ 2147483647 w 1434"/>
                <a:gd name="T27" fmla="*/ 2147483647 h 1062"/>
                <a:gd name="T28" fmla="*/ 2147483647 w 1434"/>
                <a:gd name="T29" fmla="*/ 2147483647 h 1062"/>
                <a:gd name="T30" fmla="*/ 2147483647 w 1434"/>
                <a:gd name="T31" fmla="*/ 2147483647 h 1062"/>
                <a:gd name="T32" fmla="*/ 2147483647 w 1434"/>
                <a:gd name="T33" fmla="*/ 2147483647 h 1062"/>
                <a:gd name="T34" fmla="*/ 2147483647 w 1434"/>
                <a:gd name="T35" fmla="*/ 2147483647 h 1062"/>
                <a:gd name="T36" fmla="*/ 2147483647 w 1434"/>
                <a:gd name="T37" fmla="*/ 2147483647 h 1062"/>
                <a:gd name="T38" fmla="*/ 2147483647 w 1434"/>
                <a:gd name="T39" fmla="*/ 2147483647 h 1062"/>
                <a:gd name="T40" fmla="*/ 2147483647 w 1434"/>
                <a:gd name="T41" fmla="*/ 2147483647 h 1062"/>
                <a:gd name="T42" fmla="*/ 2147483647 w 1434"/>
                <a:gd name="T43" fmla="*/ 2147483647 h 1062"/>
                <a:gd name="T44" fmla="*/ 2147483647 w 1434"/>
                <a:gd name="T45" fmla="*/ 2147483647 h 1062"/>
                <a:gd name="T46" fmla="*/ 2147483647 w 1434"/>
                <a:gd name="T47" fmla="*/ 2147483647 h 1062"/>
                <a:gd name="T48" fmla="*/ 2147483647 w 1434"/>
                <a:gd name="T49" fmla="*/ 2147483647 h 1062"/>
                <a:gd name="T50" fmla="*/ 2147483647 w 1434"/>
                <a:gd name="T51" fmla="*/ 2147483647 h 1062"/>
                <a:gd name="T52" fmla="*/ 2147483647 w 1434"/>
                <a:gd name="T53" fmla="*/ 2147483647 h 1062"/>
                <a:gd name="T54" fmla="*/ 2147483647 w 1434"/>
                <a:gd name="T55" fmla="*/ 2147483647 h 1062"/>
                <a:gd name="T56" fmla="*/ 2147483647 w 1434"/>
                <a:gd name="T57" fmla="*/ 2147483647 h 1062"/>
                <a:gd name="T58" fmla="*/ 2147483647 w 1434"/>
                <a:gd name="T59" fmla="*/ 2147483647 h 1062"/>
                <a:gd name="T60" fmla="*/ 2147483647 w 1434"/>
                <a:gd name="T61" fmla="*/ 2147483647 h 1062"/>
                <a:gd name="T62" fmla="*/ 2147483647 w 1434"/>
                <a:gd name="T63" fmla="*/ 2147483647 h 1062"/>
                <a:gd name="T64" fmla="*/ 2147483647 w 1434"/>
                <a:gd name="T65" fmla="*/ 2147483647 h 1062"/>
                <a:gd name="T66" fmla="*/ 2147483647 w 1434"/>
                <a:gd name="T67" fmla="*/ 2147483647 h 1062"/>
                <a:gd name="T68" fmla="*/ 2147483647 w 1434"/>
                <a:gd name="T69" fmla="*/ 2147483647 h 1062"/>
                <a:gd name="T70" fmla="*/ 2147483647 w 1434"/>
                <a:gd name="T71" fmla="*/ 2147483647 h 1062"/>
                <a:gd name="T72" fmla="*/ 2147483647 w 1434"/>
                <a:gd name="T73" fmla="*/ 2147483647 h 1062"/>
                <a:gd name="T74" fmla="*/ 2147483647 w 1434"/>
                <a:gd name="T75" fmla="*/ 2147483647 h 1062"/>
                <a:gd name="T76" fmla="*/ 2147483647 w 1434"/>
                <a:gd name="T77" fmla="*/ 2147483647 h 1062"/>
                <a:gd name="T78" fmla="*/ 2147483647 w 1434"/>
                <a:gd name="T79" fmla="*/ 2147483647 h 1062"/>
                <a:gd name="T80" fmla="*/ 2147483647 w 1434"/>
                <a:gd name="T81" fmla="*/ 2147483647 h 1062"/>
                <a:gd name="T82" fmla="*/ 2147483647 w 1434"/>
                <a:gd name="T83" fmla="*/ 2147483647 h 1062"/>
                <a:gd name="T84" fmla="*/ 2147483647 w 1434"/>
                <a:gd name="T85" fmla="*/ 2147483647 h 1062"/>
                <a:gd name="T86" fmla="*/ 2147483647 w 1434"/>
                <a:gd name="T87" fmla="*/ 2147483647 h 1062"/>
                <a:gd name="T88" fmla="*/ 2147483647 w 1434"/>
                <a:gd name="T89" fmla="*/ 2147483647 h 1062"/>
                <a:gd name="T90" fmla="*/ 2147483647 w 1434"/>
                <a:gd name="T91" fmla="*/ 2147483647 h 1062"/>
                <a:gd name="T92" fmla="*/ 2147483647 w 1434"/>
                <a:gd name="T93" fmla="*/ 2147483647 h 1062"/>
                <a:gd name="T94" fmla="*/ 2147483647 w 1434"/>
                <a:gd name="T95" fmla="*/ 2147483647 h 1062"/>
                <a:gd name="T96" fmla="*/ 2147483647 w 1434"/>
                <a:gd name="T97" fmla="*/ 2147483647 h 1062"/>
                <a:gd name="T98" fmla="*/ 2147483647 w 1434"/>
                <a:gd name="T99" fmla="*/ 2147483647 h 1062"/>
                <a:gd name="T100" fmla="*/ 2147483647 w 1434"/>
                <a:gd name="T101" fmla="*/ 2147483647 h 1062"/>
                <a:gd name="T102" fmla="*/ 2147483647 w 1434"/>
                <a:gd name="T103" fmla="*/ 2147483647 h 1062"/>
                <a:gd name="T104" fmla="*/ 2147483647 w 1434"/>
                <a:gd name="T105" fmla="*/ 2147483647 h 1062"/>
                <a:gd name="T106" fmla="*/ 2147483647 w 1434"/>
                <a:gd name="T107" fmla="*/ 2147483647 h 1062"/>
                <a:gd name="T108" fmla="*/ 2147483647 w 1434"/>
                <a:gd name="T109" fmla="*/ 2147483647 h 1062"/>
                <a:gd name="T110" fmla="*/ 2147483647 w 1434"/>
                <a:gd name="T111" fmla="*/ 2147483647 h 1062"/>
                <a:gd name="T112" fmla="*/ 2147483647 w 1434"/>
                <a:gd name="T113" fmla="*/ 2147483647 h 1062"/>
                <a:gd name="T114" fmla="*/ 2147483647 w 1434"/>
                <a:gd name="T115" fmla="*/ 2147483647 h 1062"/>
                <a:gd name="T116" fmla="*/ 2147483647 w 1434"/>
                <a:gd name="T117" fmla="*/ 2147483647 h 1062"/>
                <a:gd name="T118" fmla="*/ 2147483647 w 1434"/>
                <a:gd name="T119" fmla="*/ 2147483647 h 1062"/>
                <a:gd name="T120" fmla="*/ 2147483647 w 1434"/>
                <a:gd name="T121" fmla="*/ 2147483647 h 1062"/>
                <a:gd name="T122" fmla="*/ 2147483647 w 1434"/>
                <a:gd name="T123" fmla="*/ 2147483647 h 10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34" h="1062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20" y="12"/>
                    <a:pt x="39" y="25"/>
                    <a:pt x="55" y="37"/>
                  </a:cubicBezTo>
                  <a:cubicBezTo>
                    <a:pt x="61" y="40"/>
                    <a:pt x="66" y="45"/>
                    <a:pt x="72" y="46"/>
                  </a:cubicBezTo>
                  <a:cubicBezTo>
                    <a:pt x="52" y="30"/>
                    <a:pt x="30" y="17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21" y="5"/>
                    <a:pt x="31" y="11"/>
                    <a:pt x="41" y="19"/>
                  </a:cubicBezTo>
                  <a:cubicBezTo>
                    <a:pt x="52" y="26"/>
                    <a:pt x="61" y="38"/>
                    <a:pt x="76" y="33"/>
                  </a:cubicBezTo>
                  <a:cubicBezTo>
                    <a:pt x="70" y="28"/>
                    <a:pt x="63" y="23"/>
                    <a:pt x="56" y="17"/>
                  </a:cubicBezTo>
                  <a:cubicBezTo>
                    <a:pt x="48" y="12"/>
                    <a:pt x="39" y="7"/>
                    <a:pt x="34" y="0"/>
                  </a:cubicBezTo>
                  <a:cubicBezTo>
                    <a:pt x="35" y="0"/>
                    <a:pt x="37" y="0"/>
                    <a:pt x="38" y="0"/>
                  </a:cubicBezTo>
                  <a:cubicBezTo>
                    <a:pt x="52" y="11"/>
                    <a:pt x="66" y="21"/>
                    <a:pt x="81" y="30"/>
                  </a:cubicBezTo>
                  <a:cubicBezTo>
                    <a:pt x="116" y="59"/>
                    <a:pt x="155" y="83"/>
                    <a:pt x="190" y="112"/>
                  </a:cubicBezTo>
                  <a:cubicBezTo>
                    <a:pt x="290" y="182"/>
                    <a:pt x="389" y="253"/>
                    <a:pt x="489" y="324"/>
                  </a:cubicBezTo>
                  <a:cubicBezTo>
                    <a:pt x="513" y="338"/>
                    <a:pt x="534" y="356"/>
                    <a:pt x="559" y="370"/>
                  </a:cubicBezTo>
                  <a:cubicBezTo>
                    <a:pt x="567" y="379"/>
                    <a:pt x="579" y="383"/>
                    <a:pt x="587" y="391"/>
                  </a:cubicBezTo>
                  <a:cubicBezTo>
                    <a:pt x="624" y="413"/>
                    <a:pt x="656" y="437"/>
                    <a:pt x="692" y="459"/>
                  </a:cubicBezTo>
                  <a:cubicBezTo>
                    <a:pt x="694" y="452"/>
                    <a:pt x="693" y="440"/>
                    <a:pt x="690" y="434"/>
                  </a:cubicBezTo>
                  <a:cubicBezTo>
                    <a:pt x="718" y="427"/>
                    <a:pt x="741" y="415"/>
                    <a:pt x="766" y="406"/>
                  </a:cubicBezTo>
                  <a:cubicBezTo>
                    <a:pt x="758" y="392"/>
                    <a:pt x="746" y="381"/>
                    <a:pt x="737" y="367"/>
                  </a:cubicBezTo>
                  <a:cubicBezTo>
                    <a:pt x="736" y="366"/>
                    <a:pt x="735" y="366"/>
                    <a:pt x="733" y="366"/>
                  </a:cubicBezTo>
                  <a:cubicBezTo>
                    <a:pt x="732" y="364"/>
                    <a:pt x="733" y="363"/>
                    <a:pt x="734" y="362"/>
                  </a:cubicBezTo>
                  <a:cubicBezTo>
                    <a:pt x="733" y="363"/>
                    <a:pt x="727" y="361"/>
                    <a:pt x="729" y="358"/>
                  </a:cubicBezTo>
                  <a:cubicBezTo>
                    <a:pt x="731" y="356"/>
                    <a:pt x="733" y="359"/>
                    <a:pt x="733" y="360"/>
                  </a:cubicBezTo>
                  <a:cubicBezTo>
                    <a:pt x="739" y="359"/>
                    <a:pt x="731" y="355"/>
                    <a:pt x="733" y="354"/>
                  </a:cubicBezTo>
                  <a:cubicBezTo>
                    <a:pt x="733" y="350"/>
                    <a:pt x="735" y="356"/>
                    <a:pt x="737" y="353"/>
                  </a:cubicBezTo>
                  <a:cubicBezTo>
                    <a:pt x="736" y="340"/>
                    <a:pt x="736" y="322"/>
                    <a:pt x="736" y="303"/>
                  </a:cubicBezTo>
                  <a:cubicBezTo>
                    <a:pt x="734" y="299"/>
                    <a:pt x="729" y="297"/>
                    <a:pt x="727" y="293"/>
                  </a:cubicBezTo>
                  <a:cubicBezTo>
                    <a:pt x="731" y="291"/>
                    <a:pt x="730" y="296"/>
                    <a:pt x="734" y="296"/>
                  </a:cubicBezTo>
                  <a:cubicBezTo>
                    <a:pt x="723" y="283"/>
                    <a:pt x="708" y="274"/>
                    <a:pt x="698" y="261"/>
                  </a:cubicBezTo>
                  <a:cubicBezTo>
                    <a:pt x="713" y="272"/>
                    <a:pt x="724" y="286"/>
                    <a:pt x="739" y="297"/>
                  </a:cubicBezTo>
                  <a:cubicBezTo>
                    <a:pt x="741" y="297"/>
                    <a:pt x="742" y="295"/>
                    <a:pt x="743" y="295"/>
                  </a:cubicBezTo>
                  <a:cubicBezTo>
                    <a:pt x="713" y="268"/>
                    <a:pt x="677" y="233"/>
                    <a:pt x="649" y="205"/>
                  </a:cubicBezTo>
                  <a:cubicBezTo>
                    <a:pt x="644" y="201"/>
                    <a:pt x="644" y="198"/>
                    <a:pt x="638" y="202"/>
                  </a:cubicBezTo>
                  <a:cubicBezTo>
                    <a:pt x="657" y="223"/>
                    <a:pt x="679" y="240"/>
                    <a:pt x="698" y="261"/>
                  </a:cubicBezTo>
                  <a:cubicBezTo>
                    <a:pt x="691" y="259"/>
                    <a:pt x="690" y="251"/>
                    <a:pt x="683" y="250"/>
                  </a:cubicBezTo>
                  <a:cubicBezTo>
                    <a:pt x="684" y="248"/>
                    <a:pt x="683" y="248"/>
                    <a:pt x="683" y="247"/>
                  </a:cubicBezTo>
                  <a:cubicBezTo>
                    <a:pt x="667" y="234"/>
                    <a:pt x="653" y="220"/>
                    <a:pt x="638" y="205"/>
                  </a:cubicBezTo>
                  <a:cubicBezTo>
                    <a:pt x="639" y="211"/>
                    <a:pt x="646" y="216"/>
                    <a:pt x="651" y="219"/>
                  </a:cubicBezTo>
                  <a:cubicBezTo>
                    <a:pt x="655" y="224"/>
                    <a:pt x="660" y="229"/>
                    <a:pt x="666" y="233"/>
                  </a:cubicBezTo>
                  <a:cubicBezTo>
                    <a:pt x="679" y="250"/>
                    <a:pt x="698" y="261"/>
                    <a:pt x="711" y="278"/>
                  </a:cubicBezTo>
                  <a:cubicBezTo>
                    <a:pt x="713" y="278"/>
                    <a:pt x="714" y="278"/>
                    <a:pt x="715" y="278"/>
                  </a:cubicBezTo>
                  <a:cubicBezTo>
                    <a:pt x="717" y="286"/>
                    <a:pt x="725" y="286"/>
                    <a:pt x="727" y="293"/>
                  </a:cubicBezTo>
                  <a:cubicBezTo>
                    <a:pt x="622" y="198"/>
                    <a:pt x="522" y="99"/>
                    <a:pt x="422" y="0"/>
                  </a:cubicBezTo>
                  <a:cubicBezTo>
                    <a:pt x="423" y="0"/>
                    <a:pt x="425" y="0"/>
                    <a:pt x="426" y="0"/>
                  </a:cubicBezTo>
                  <a:cubicBezTo>
                    <a:pt x="442" y="18"/>
                    <a:pt x="464" y="38"/>
                    <a:pt x="482" y="56"/>
                  </a:cubicBezTo>
                  <a:cubicBezTo>
                    <a:pt x="531" y="103"/>
                    <a:pt x="580" y="153"/>
                    <a:pt x="629" y="199"/>
                  </a:cubicBezTo>
                  <a:cubicBezTo>
                    <a:pt x="627" y="194"/>
                    <a:pt x="622" y="189"/>
                    <a:pt x="618" y="186"/>
                  </a:cubicBezTo>
                  <a:cubicBezTo>
                    <a:pt x="588" y="158"/>
                    <a:pt x="559" y="128"/>
                    <a:pt x="529" y="99"/>
                  </a:cubicBezTo>
                  <a:cubicBezTo>
                    <a:pt x="495" y="67"/>
                    <a:pt x="461" y="34"/>
                    <a:pt x="429" y="0"/>
                  </a:cubicBezTo>
                  <a:cubicBezTo>
                    <a:pt x="430" y="0"/>
                    <a:pt x="431" y="0"/>
                    <a:pt x="433" y="0"/>
                  </a:cubicBezTo>
                  <a:cubicBezTo>
                    <a:pt x="433" y="1"/>
                    <a:pt x="433" y="2"/>
                    <a:pt x="433" y="2"/>
                  </a:cubicBezTo>
                  <a:cubicBezTo>
                    <a:pt x="497" y="63"/>
                    <a:pt x="558" y="128"/>
                    <a:pt x="623" y="188"/>
                  </a:cubicBezTo>
                  <a:cubicBezTo>
                    <a:pt x="628" y="192"/>
                    <a:pt x="632" y="198"/>
                    <a:pt x="639" y="197"/>
                  </a:cubicBezTo>
                  <a:cubicBezTo>
                    <a:pt x="632" y="188"/>
                    <a:pt x="623" y="180"/>
                    <a:pt x="614" y="172"/>
                  </a:cubicBezTo>
                  <a:cubicBezTo>
                    <a:pt x="590" y="148"/>
                    <a:pt x="564" y="124"/>
                    <a:pt x="540" y="99"/>
                  </a:cubicBezTo>
                  <a:cubicBezTo>
                    <a:pt x="508" y="65"/>
                    <a:pt x="473" y="34"/>
                    <a:pt x="442" y="0"/>
                  </a:cubicBezTo>
                  <a:cubicBezTo>
                    <a:pt x="444" y="0"/>
                    <a:pt x="445" y="0"/>
                    <a:pt x="446" y="0"/>
                  </a:cubicBezTo>
                  <a:cubicBezTo>
                    <a:pt x="543" y="101"/>
                    <a:pt x="644" y="197"/>
                    <a:pt x="744" y="294"/>
                  </a:cubicBezTo>
                  <a:cubicBezTo>
                    <a:pt x="767" y="287"/>
                    <a:pt x="788" y="278"/>
                    <a:pt x="810" y="270"/>
                  </a:cubicBezTo>
                  <a:cubicBezTo>
                    <a:pt x="809" y="266"/>
                    <a:pt x="811" y="262"/>
                    <a:pt x="810" y="259"/>
                  </a:cubicBezTo>
                  <a:cubicBezTo>
                    <a:pt x="808" y="254"/>
                    <a:pt x="798" y="247"/>
                    <a:pt x="794" y="243"/>
                  </a:cubicBezTo>
                  <a:cubicBezTo>
                    <a:pt x="778" y="227"/>
                    <a:pt x="763" y="209"/>
                    <a:pt x="747" y="193"/>
                  </a:cubicBezTo>
                  <a:cubicBezTo>
                    <a:pt x="730" y="175"/>
                    <a:pt x="714" y="156"/>
                    <a:pt x="696" y="138"/>
                  </a:cubicBezTo>
                  <a:cubicBezTo>
                    <a:pt x="654" y="94"/>
                    <a:pt x="612" y="46"/>
                    <a:pt x="572" y="0"/>
                  </a:cubicBezTo>
                  <a:cubicBezTo>
                    <a:pt x="574" y="0"/>
                    <a:pt x="575" y="0"/>
                    <a:pt x="577" y="0"/>
                  </a:cubicBezTo>
                  <a:cubicBezTo>
                    <a:pt x="613" y="43"/>
                    <a:pt x="653" y="85"/>
                    <a:pt x="692" y="127"/>
                  </a:cubicBezTo>
                  <a:cubicBezTo>
                    <a:pt x="710" y="147"/>
                    <a:pt x="727" y="167"/>
                    <a:pt x="745" y="186"/>
                  </a:cubicBezTo>
                  <a:cubicBezTo>
                    <a:pt x="760" y="202"/>
                    <a:pt x="775" y="216"/>
                    <a:pt x="789" y="232"/>
                  </a:cubicBezTo>
                  <a:cubicBezTo>
                    <a:pt x="793" y="236"/>
                    <a:pt x="797" y="240"/>
                    <a:pt x="802" y="244"/>
                  </a:cubicBezTo>
                  <a:cubicBezTo>
                    <a:pt x="803" y="243"/>
                    <a:pt x="802" y="241"/>
                    <a:pt x="803" y="240"/>
                  </a:cubicBezTo>
                  <a:cubicBezTo>
                    <a:pt x="799" y="237"/>
                    <a:pt x="796" y="232"/>
                    <a:pt x="792" y="229"/>
                  </a:cubicBezTo>
                  <a:cubicBezTo>
                    <a:pt x="798" y="229"/>
                    <a:pt x="801" y="239"/>
                    <a:pt x="807" y="241"/>
                  </a:cubicBezTo>
                  <a:cubicBezTo>
                    <a:pt x="808" y="244"/>
                    <a:pt x="804" y="243"/>
                    <a:pt x="804" y="246"/>
                  </a:cubicBezTo>
                  <a:cubicBezTo>
                    <a:pt x="805" y="250"/>
                    <a:pt x="808" y="252"/>
                    <a:pt x="810" y="254"/>
                  </a:cubicBezTo>
                  <a:cubicBezTo>
                    <a:pt x="812" y="247"/>
                    <a:pt x="813" y="237"/>
                    <a:pt x="816" y="229"/>
                  </a:cubicBezTo>
                  <a:cubicBezTo>
                    <a:pt x="820" y="229"/>
                    <a:pt x="824" y="229"/>
                    <a:pt x="828" y="229"/>
                  </a:cubicBezTo>
                  <a:cubicBezTo>
                    <a:pt x="831" y="241"/>
                    <a:pt x="833" y="256"/>
                    <a:pt x="835" y="270"/>
                  </a:cubicBezTo>
                  <a:cubicBezTo>
                    <a:pt x="862" y="274"/>
                    <a:pt x="888" y="282"/>
                    <a:pt x="913" y="285"/>
                  </a:cubicBezTo>
                  <a:cubicBezTo>
                    <a:pt x="913" y="288"/>
                    <a:pt x="912" y="290"/>
                    <a:pt x="910" y="289"/>
                  </a:cubicBezTo>
                  <a:cubicBezTo>
                    <a:pt x="913" y="305"/>
                    <a:pt x="908" y="327"/>
                    <a:pt x="914" y="341"/>
                  </a:cubicBezTo>
                  <a:cubicBezTo>
                    <a:pt x="915" y="343"/>
                    <a:pt x="911" y="341"/>
                    <a:pt x="911" y="343"/>
                  </a:cubicBezTo>
                  <a:cubicBezTo>
                    <a:pt x="912" y="345"/>
                    <a:pt x="915" y="347"/>
                    <a:pt x="914" y="352"/>
                  </a:cubicBezTo>
                  <a:cubicBezTo>
                    <a:pt x="912" y="350"/>
                    <a:pt x="909" y="348"/>
                    <a:pt x="907" y="349"/>
                  </a:cubicBezTo>
                  <a:cubicBezTo>
                    <a:pt x="907" y="352"/>
                    <a:pt x="910" y="352"/>
                    <a:pt x="911" y="354"/>
                  </a:cubicBezTo>
                  <a:cubicBezTo>
                    <a:pt x="914" y="363"/>
                    <a:pt x="918" y="371"/>
                    <a:pt x="923" y="378"/>
                  </a:cubicBezTo>
                  <a:cubicBezTo>
                    <a:pt x="927" y="390"/>
                    <a:pt x="937" y="401"/>
                    <a:pt x="940" y="412"/>
                  </a:cubicBezTo>
                  <a:cubicBezTo>
                    <a:pt x="928" y="395"/>
                    <a:pt x="919" y="375"/>
                    <a:pt x="908" y="357"/>
                  </a:cubicBezTo>
                  <a:cubicBezTo>
                    <a:pt x="907" y="356"/>
                    <a:pt x="906" y="354"/>
                    <a:pt x="904" y="354"/>
                  </a:cubicBezTo>
                  <a:cubicBezTo>
                    <a:pt x="904" y="353"/>
                    <a:pt x="904" y="352"/>
                    <a:pt x="904" y="351"/>
                  </a:cubicBezTo>
                  <a:cubicBezTo>
                    <a:pt x="885" y="333"/>
                    <a:pt x="866" y="315"/>
                    <a:pt x="847" y="296"/>
                  </a:cubicBezTo>
                  <a:cubicBezTo>
                    <a:pt x="844" y="296"/>
                    <a:pt x="841" y="296"/>
                    <a:pt x="839" y="297"/>
                  </a:cubicBezTo>
                  <a:cubicBezTo>
                    <a:pt x="841" y="328"/>
                    <a:pt x="843" y="366"/>
                    <a:pt x="845" y="391"/>
                  </a:cubicBezTo>
                  <a:cubicBezTo>
                    <a:pt x="885" y="402"/>
                    <a:pt x="924" y="410"/>
                    <a:pt x="962" y="419"/>
                  </a:cubicBezTo>
                  <a:cubicBezTo>
                    <a:pt x="962" y="421"/>
                    <a:pt x="960" y="421"/>
                    <a:pt x="959" y="423"/>
                  </a:cubicBezTo>
                  <a:cubicBezTo>
                    <a:pt x="956" y="450"/>
                    <a:pt x="970" y="461"/>
                    <a:pt x="979" y="479"/>
                  </a:cubicBezTo>
                  <a:cubicBezTo>
                    <a:pt x="981" y="481"/>
                    <a:pt x="981" y="476"/>
                    <a:pt x="984" y="479"/>
                  </a:cubicBezTo>
                  <a:cubicBezTo>
                    <a:pt x="985" y="483"/>
                    <a:pt x="981" y="482"/>
                    <a:pt x="981" y="485"/>
                  </a:cubicBezTo>
                  <a:cubicBezTo>
                    <a:pt x="991" y="503"/>
                    <a:pt x="1002" y="520"/>
                    <a:pt x="1011" y="538"/>
                  </a:cubicBezTo>
                  <a:cubicBezTo>
                    <a:pt x="992" y="511"/>
                    <a:pt x="978" y="479"/>
                    <a:pt x="959" y="451"/>
                  </a:cubicBezTo>
                  <a:cubicBezTo>
                    <a:pt x="960" y="457"/>
                    <a:pt x="958" y="471"/>
                    <a:pt x="963" y="474"/>
                  </a:cubicBezTo>
                  <a:cubicBezTo>
                    <a:pt x="963" y="476"/>
                    <a:pt x="960" y="475"/>
                    <a:pt x="960" y="477"/>
                  </a:cubicBezTo>
                  <a:cubicBezTo>
                    <a:pt x="961" y="480"/>
                    <a:pt x="961" y="478"/>
                    <a:pt x="964" y="478"/>
                  </a:cubicBezTo>
                  <a:cubicBezTo>
                    <a:pt x="962" y="480"/>
                    <a:pt x="964" y="482"/>
                    <a:pt x="962" y="485"/>
                  </a:cubicBezTo>
                  <a:cubicBezTo>
                    <a:pt x="960" y="487"/>
                    <a:pt x="959" y="483"/>
                    <a:pt x="956" y="483"/>
                  </a:cubicBezTo>
                  <a:cubicBezTo>
                    <a:pt x="958" y="489"/>
                    <a:pt x="964" y="495"/>
                    <a:pt x="966" y="503"/>
                  </a:cubicBezTo>
                  <a:cubicBezTo>
                    <a:pt x="959" y="500"/>
                    <a:pt x="957" y="492"/>
                    <a:pt x="953" y="486"/>
                  </a:cubicBezTo>
                  <a:cubicBezTo>
                    <a:pt x="948" y="484"/>
                    <a:pt x="945" y="478"/>
                    <a:pt x="939" y="475"/>
                  </a:cubicBezTo>
                  <a:cubicBezTo>
                    <a:pt x="943" y="471"/>
                    <a:pt x="948" y="484"/>
                    <a:pt x="954" y="481"/>
                  </a:cubicBezTo>
                  <a:cubicBezTo>
                    <a:pt x="954" y="477"/>
                    <a:pt x="951" y="476"/>
                    <a:pt x="952" y="470"/>
                  </a:cubicBezTo>
                  <a:cubicBezTo>
                    <a:pt x="953" y="470"/>
                    <a:pt x="953" y="470"/>
                    <a:pt x="955" y="470"/>
                  </a:cubicBezTo>
                  <a:cubicBezTo>
                    <a:pt x="958" y="450"/>
                    <a:pt x="953" y="433"/>
                    <a:pt x="944" y="423"/>
                  </a:cubicBezTo>
                  <a:cubicBezTo>
                    <a:pt x="927" y="424"/>
                    <a:pt x="913" y="427"/>
                    <a:pt x="897" y="427"/>
                  </a:cubicBezTo>
                  <a:cubicBezTo>
                    <a:pt x="894" y="427"/>
                    <a:pt x="895" y="429"/>
                    <a:pt x="894" y="429"/>
                  </a:cubicBezTo>
                  <a:cubicBezTo>
                    <a:pt x="892" y="430"/>
                    <a:pt x="891" y="428"/>
                    <a:pt x="890" y="428"/>
                  </a:cubicBezTo>
                  <a:cubicBezTo>
                    <a:pt x="877" y="431"/>
                    <a:pt x="859" y="429"/>
                    <a:pt x="848" y="434"/>
                  </a:cubicBezTo>
                  <a:cubicBezTo>
                    <a:pt x="852" y="460"/>
                    <a:pt x="852" y="487"/>
                    <a:pt x="856" y="513"/>
                  </a:cubicBezTo>
                  <a:cubicBezTo>
                    <a:pt x="882" y="521"/>
                    <a:pt x="910" y="529"/>
                    <a:pt x="939" y="535"/>
                  </a:cubicBezTo>
                  <a:cubicBezTo>
                    <a:pt x="940" y="539"/>
                    <a:pt x="937" y="538"/>
                    <a:pt x="936" y="540"/>
                  </a:cubicBezTo>
                  <a:cubicBezTo>
                    <a:pt x="939" y="554"/>
                    <a:pt x="934" y="577"/>
                    <a:pt x="940" y="590"/>
                  </a:cubicBezTo>
                  <a:cubicBezTo>
                    <a:pt x="937" y="594"/>
                    <a:pt x="941" y="597"/>
                    <a:pt x="940" y="603"/>
                  </a:cubicBezTo>
                  <a:cubicBezTo>
                    <a:pt x="938" y="604"/>
                    <a:pt x="938" y="601"/>
                    <a:pt x="936" y="602"/>
                  </a:cubicBezTo>
                  <a:cubicBezTo>
                    <a:pt x="940" y="616"/>
                    <a:pt x="953" y="627"/>
                    <a:pt x="961" y="639"/>
                  </a:cubicBezTo>
                  <a:cubicBezTo>
                    <a:pt x="968" y="649"/>
                    <a:pt x="973" y="660"/>
                    <a:pt x="983" y="667"/>
                  </a:cubicBezTo>
                  <a:cubicBezTo>
                    <a:pt x="985" y="678"/>
                    <a:pt x="995" y="687"/>
                    <a:pt x="1002" y="696"/>
                  </a:cubicBezTo>
                  <a:cubicBezTo>
                    <a:pt x="1006" y="692"/>
                    <a:pt x="1001" y="691"/>
                    <a:pt x="1000" y="689"/>
                  </a:cubicBezTo>
                  <a:cubicBezTo>
                    <a:pt x="995" y="683"/>
                    <a:pt x="990" y="675"/>
                    <a:pt x="984" y="670"/>
                  </a:cubicBezTo>
                  <a:cubicBezTo>
                    <a:pt x="984" y="660"/>
                    <a:pt x="973" y="657"/>
                    <a:pt x="972" y="649"/>
                  </a:cubicBezTo>
                  <a:cubicBezTo>
                    <a:pt x="983" y="661"/>
                    <a:pt x="992" y="676"/>
                    <a:pt x="1002" y="688"/>
                  </a:cubicBezTo>
                  <a:cubicBezTo>
                    <a:pt x="1006" y="689"/>
                    <a:pt x="1007" y="688"/>
                    <a:pt x="1009" y="689"/>
                  </a:cubicBezTo>
                  <a:cubicBezTo>
                    <a:pt x="1009" y="692"/>
                    <a:pt x="1007" y="697"/>
                    <a:pt x="1004" y="698"/>
                  </a:cubicBezTo>
                  <a:cubicBezTo>
                    <a:pt x="1010" y="710"/>
                    <a:pt x="1020" y="718"/>
                    <a:pt x="1026" y="730"/>
                  </a:cubicBezTo>
                  <a:cubicBezTo>
                    <a:pt x="1016" y="722"/>
                    <a:pt x="1011" y="709"/>
                    <a:pt x="1001" y="701"/>
                  </a:cubicBezTo>
                  <a:cubicBezTo>
                    <a:pt x="987" y="679"/>
                    <a:pt x="971" y="659"/>
                    <a:pt x="955" y="639"/>
                  </a:cubicBezTo>
                  <a:cubicBezTo>
                    <a:pt x="956" y="638"/>
                    <a:pt x="955" y="637"/>
                    <a:pt x="955" y="636"/>
                  </a:cubicBezTo>
                  <a:cubicBezTo>
                    <a:pt x="949" y="628"/>
                    <a:pt x="944" y="620"/>
                    <a:pt x="937" y="613"/>
                  </a:cubicBezTo>
                  <a:cubicBezTo>
                    <a:pt x="937" y="610"/>
                    <a:pt x="934" y="607"/>
                    <a:pt x="931" y="608"/>
                  </a:cubicBezTo>
                  <a:cubicBezTo>
                    <a:pt x="934" y="617"/>
                    <a:pt x="941" y="620"/>
                    <a:pt x="944" y="628"/>
                  </a:cubicBezTo>
                  <a:cubicBezTo>
                    <a:pt x="935" y="618"/>
                    <a:pt x="927" y="606"/>
                    <a:pt x="916" y="598"/>
                  </a:cubicBezTo>
                  <a:cubicBezTo>
                    <a:pt x="917" y="594"/>
                    <a:pt x="911" y="592"/>
                    <a:pt x="908" y="590"/>
                  </a:cubicBezTo>
                  <a:cubicBezTo>
                    <a:pt x="911" y="586"/>
                    <a:pt x="904" y="586"/>
                    <a:pt x="904" y="583"/>
                  </a:cubicBezTo>
                  <a:cubicBezTo>
                    <a:pt x="908" y="582"/>
                    <a:pt x="912" y="587"/>
                    <a:pt x="914" y="590"/>
                  </a:cubicBezTo>
                  <a:cubicBezTo>
                    <a:pt x="922" y="587"/>
                    <a:pt x="924" y="597"/>
                    <a:pt x="930" y="599"/>
                  </a:cubicBezTo>
                  <a:cubicBezTo>
                    <a:pt x="932" y="595"/>
                    <a:pt x="931" y="593"/>
                    <a:pt x="933" y="589"/>
                  </a:cubicBezTo>
                  <a:cubicBezTo>
                    <a:pt x="933" y="588"/>
                    <a:pt x="931" y="589"/>
                    <a:pt x="931" y="591"/>
                  </a:cubicBezTo>
                  <a:cubicBezTo>
                    <a:pt x="929" y="588"/>
                    <a:pt x="933" y="587"/>
                    <a:pt x="933" y="585"/>
                  </a:cubicBezTo>
                  <a:cubicBezTo>
                    <a:pt x="934" y="571"/>
                    <a:pt x="931" y="554"/>
                    <a:pt x="933" y="541"/>
                  </a:cubicBezTo>
                  <a:cubicBezTo>
                    <a:pt x="916" y="539"/>
                    <a:pt x="896" y="543"/>
                    <a:pt x="877" y="544"/>
                  </a:cubicBezTo>
                  <a:cubicBezTo>
                    <a:pt x="885" y="558"/>
                    <a:pt x="897" y="568"/>
                    <a:pt x="905" y="581"/>
                  </a:cubicBezTo>
                  <a:cubicBezTo>
                    <a:pt x="893" y="570"/>
                    <a:pt x="885" y="556"/>
                    <a:pt x="874" y="545"/>
                  </a:cubicBezTo>
                  <a:cubicBezTo>
                    <a:pt x="869" y="546"/>
                    <a:pt x="862" y="545"/>
                    <a:pt x="858" y="548"/>
                  </a:cubicBezTo>
                  <a:cubicBezTo>
                    <a:pt x="860" y="552"/>
                    <a:pt x="858" y="560"/>
                    <a:pt x="863" y="562"/>
                  </a:cubicBezTo>
                  <a:cubicBezTo>
                    <a:pt x="863" y="563"/>
                    <a:pt x="861" y="562"/>
                    <a:pt x="861" y="563"/>
                  </a:cubicBezTo>
                  <a:cubicBezTo>
                    <a:pt x="879" y="707"/>
                    <a:pt x="908" y="843"/>
                    <a:pt x="933" y="980"/>
                  </a:cubicBezTo>
                  <a:cubicBezTo>
                    <a:pt x="935" y="981"/>
                    <a:pt x="935" y="976"/>
                    <a:pt x="938" y="978"/>
                  </a:cubicBezTo>
                  <a:cubicBezTo>
                    <a:pt x="939" y="983"/>
                    <a:pt x="940" y="988"/>
                    <a:pt x="938" y="992"/>
                  </a:cubicBezTo>
                  <a:cubicBezTo>
                    <a:pt x="938" y="995"/>
                    <a:pt x="941" y="993"/>
                    <a:pt x="942" y="994"/>
                  </a:cubicBezTo>
                  <a:cubicBezTo>
                    <a:pt x="941" y="1000"/>
                    <a:pt x="931" y="999"/>
                    <a:pt x="930" y="995"/>
                  </a:cubicBezTo>
                  <a:cubicBezTo>
                    <a:pt x="928" y="995"/>
                    <a:pt x="929" y="998"/>
                    <a:pt x="928" y="999"/>
                  </a:cubicBezTo>
                  <a:cubicBezTo>
                    <a:pt x="930" y="999"/>
                    <a:pt x="930" y="1000"/>
                    <a:pt x="933" y="999"/>
                  </a:cubicBezTo>
                  <a:cubicBezTo>
                    <a:pt x="931" y="1002"/>
                    <a:pt x="935" y="1004"/>
                    <a:pt x="936" y="1005"/>
                  </a:cubicBezTo>
                  <a:cubicBezTo>
                    <a:pt x="939" y="1003"/>
                    <a:pt x="940" y="1004"/>
                    <a:pt x="944" y="1005"/>
                  </a:cubicBezTo>
                  <a:cubicBezTo>
                    <a:pt x="950" y="1003"/>
                    <a:pt x="960" y="1004"/>
                    <a:pt x="964" y="1007"/>
                  </a:cubicBezTo>
                  <a:cubicBezTo>
                    <a:pt x="971" y="1005"/>
                    <a:pt x="975" y="1004"/>
                    <a:pt x="982" y="1004"/>
                  </a:cubicBezTo>
                  <a:cubicBezTo>
                    <a:pt x="982" y="1001"/>
                    <a:pt x="980" y="1000"/>
                    <a:pt x="982" y="998"/>
                  </a:cubicBezTo>
                  <a:cubicBezTo>
                    <a:pt x="987" y="1001"/>
                    <a:pt x="989" y="1005"/>
                    <a:pt x="996" y="1005"/>
                  </a:cubicBezTo>
                  <a:cubicBezTo>
                    <a:pt x="998" y="1005"/>
                    <a:pt x="995" y="1003"/>
                    <a:pt x="996" y="1001"/>
                  </a:cubicBezTo>
                  <a:cubicBezTo>
                    <a:pt x="999" y="1007"/>
                    <a:pt x="1008" y="1001"/>
                    <a:pt x="1012" y="1004"/>
                  </a:cubicBezTo>
                  <a:cubicBezTo>
                    <a:pt x="1012" y="1010"/>
                    <a:pt x="1005" y="1004"/>
                    <a:pt x="1003" y="1008"/>
                  </a:cubicBezTo>
                  <a:cubicBezTo>
                    <a:pt x="1007" y="1010"/>
                    <a:pt x="1010" y="1008"/>
                    <a:pt x="1013" y="1007"/>
                  </a:cubicBezTo>
                  <a:cubicBezTo>
                    <a:pt x="1014" y="1006"/>
                    <a:pt x="1014" y="1004"/>
                    <a:pt x="1014" y="1002"/>
                  </a:cubicBezTo>
                  <a:cubicBezTo>
                    <a:pt x="1018" y="1002"/>
                    <a:pt x="1019" y="1004"/>
                    <a:pt x="1021" y="1005"/>
                  </a:cubicBezTo>
                  <a:cubicBezTo>
                    <a:pt x="1023" y="1002"/>
                    <a:pt x="1031" y="998"/>
                    <a:pt x="1035" y="1003"/>
                  </a:cubicBezTo>
                  <a:cubicBezTo>
                    <a:pt x="1037" y="1003"/>
                    <a:pt x="1038" y="1002"/>
                    <a:pt x="1039" y="1001"/>
                  </a:cubicBezTo>
                  <a:cubicBezTo>
                    <a:pt x="1038" y="999"/>
                    <a:pt x="1037" y="996"/>
                    <a:pt x="1034" y="997"/>
                  </a:cubicBezTo>
                  <a:cubicBezTo>
                    <a:pt x="1035" y="994"/>
                    <a:pt x="1041" y="996"/>
                    <a:pt x="1043" y="995"/>
                  </a:cubicBezTo>
                  <a:cubicBezTo>
                    <a:pt x="1044" y="998"/>
                    <a:pt x="1044" y="1001"/>
                    <a:pt x="1046" y="1004"/>
                  </a:cubicBezTo>
                  <a:cubicBezTo>
                    <a:pt x="1049" y="1004"/>
                    <a:pt x="1049" y="1002"/>
                    <a:pt x="1052" y="1002"/>
                  </a:cubicBezTo>
                  <a:cubicBezTo>
                    <a:pt x="1052" y="999"/>
                    <a:pt x="1046" y="999"/>
                    <a:pt x="1049" y="996"/>
                  </a:cubicBezTo>
                  <a:cubicBezTo>
                    <a:pt x="1052" y="996"/>
                    <a:pt x="1050" y="998"/>
                    <a:pt x="1052" y="1000"/>
                  </a:cubicBezTo>
                  <a:cubicBezTo>
                    <a:pt x="1053" y="1000"/>
                    <a:pt x="1052" y="998"/>
                    <a:pt x="1054" y="999"/>
                  </a:cubicBezTo>
                  <a:cubicBezTo>
                    <a:pt x="1052" y="1003"/>
                    <a:pt x="1056" y="1004"/>
                    <a:pt x="1059" y="1005"/>
                  </a:cubicBezTo>
                  <a:cubicBezTo>
                    <a:pt x="1061" y="1005"/>
                    <a:pt x="1059" y="1002"/>
                    <a:pt x="1061" y="1001"/>
                  </a:cubicBezTo>
                  <a:cubicBezTo>
                    <a:pt x="1067" y="1003"/>
                    <a:pt x="1073" y="1004"/>
                    <a:pt x="1079" y="1006"/>
                  </a:cubicBezTo>
                  <a:cubicBezTo>
                    <a:pt x="1077" y="1004"/>
                    <a:pt x="1077" y="1000"/>
                    <a:pt x="1074" y="999"/>
                  </a:cubicBezTo>
                  <a:cubicBezTo>
                    <a:pt x="1071" y="1000"/>
                    <a:pt x="1071" y="1002"/>
                    <a:pt x="1068" y="1001"/>
                  </a:cubicBezTo>
                  <a:cubicBezTo>
                    <a:pt x="1067" y="999"/>
                    <a:pt x="1063" y="999"/>
                    <a:pt x="1062" y="998"/>
                  </a:cubicBezTo>
                  <a:cubicBezTo>
                    <a:pt x="1067" y="995"/>
                    <a:pt x="1076" y="998"/>
                    <a:pt x="1082" y="996"/>
                  </a:cubicBezTo>
                  <a:cubicBezTo>
                    <a:pt x="1082" y="998"/>
                    <a:pt x="1085" y="998"/>
                    <a:pt x="1086" y="999"/>
                  </a:cubicBezTo>
                  <a:cubicBezTo>
                    <a:pt x="1086" y="1001"/>
                    <a:pt x="1083" y="999"/>
                    <a:pt x="1082" y="1001"/>
                  </a:cubicBezTo>
                  <a:cubicBezTo>
                    <a:pt x="1083" y="1007"/>
                    <a:pt x="1088" y="998"/>
                    <a:pt x="1091" y="1003"/>
                  </a:cubicBezTo>
                  <a:cubicBezTo>
                    <a:pt x="1091" y="998"/>
                    <a:pt x="1084" y="997"/>
                    <a:pt x="1087" y="992"/>
                  </a:cubicBezTo>
                  <a:cubicBezTo>
                    <a:pt x="1089" y="993"/>
                    <a:pt x="1096" y="996"/>
                    <a:pt x="1096" y="999"/>
                  </a:cubicBezTo>
                  <a:cubicBezTo>
                    <a:pt x="1097" y="999"/>
                    <a:pt x="1098" y="999"/>
                    <a:pt x="1099" y="999"/>
                  </a:cubicBezTo>
                  <a:cubicBezTo>
                    <a:pt x="1101" y="999"/>
                    <a:pt x="1098" y="997"/>
                    <a:pt x="1099" y="995"/>
                  </a:cubicBezTo>
                  <a:cubicBezTo>
                    <a:pt x="1104" y="996"/>
                    <a:pt x="1111" y="999"/>
                    <a:pt x="1114" y="995"/>
                  </a:cubicBezTo>
                  <a:cubicBezTo>
                    <a:pt x="1120" y="999"/>
                    <a:pt x="1128" y="991"/>
                    <a:pt x="1132" y="996"/>
                  </a:cubicBezTo>
                  <a:cubicBezTo>
                    <a:pt x="1132" y="994"/>
                    <a:pt x="1132" y="991"/>
                    <a:pt x="1134" y="990"/>
                  </a:cubicBezTo>
                  <a:cubicBezTo>
                    <a:pt x="1137" y="989"/>
                    <a:pt x="1137" y="991"/>
                    <a:pt x="1138" y="992"/>
                  </a:cubicBezTo>
                  <a:cubicBezTo>
                    <a:pt x="1141" y="993"/>
                    <a:pt x="1140" y="989"/>
                    <a:pt x="1142" y="989"/>
                  </a:cubicBezTo>
                  <a:cubicBezTo>
                    <a:pt x="1144" y="993"/>
                    <a:pt x="1149" y="994"/>
                    <a:pt x="1152" y="996"/>
                  </a:cubicBezTo>
                  <a:cubicBezTo>
                    <a:pt x="1160" y="994"/>
                    <a:pt x="1158" y="988"/>
                    <a:pt x="1160" y="978"/>
                  </a:cubicBezTo>
                  <a:cubicBezTo>
                    <a:pt x="1161" y="969"/>
                    <a:pt x="1164" y="958"/>
                    <a:pt x="1166" y="946"/>
                  </a:cubicBezTo>
                  <a:cubicBezTo>
                    <a:pt x="1167" y="939"/>
                    <a:pt x="1166" y="930"/>
                    <a:pt x="1168" y="923"/>
                  </a:cubicBezTo>
                  <a:cubicBezTo>
                    <a:pt x="1175" y="899"/>
                    <a:pt x="1174" y="868"/>
                    <a:pt x="1177" y="842"/>
                  </a:cubicBezTo>
                  <a:cubicBezTo>
                    <a:pt x="1169" y="840"/>
                    <a:pt x="1154" y="843"/>
                    <a:pt x="1148" y="841"/>
                  </a:cubicBezTo>
                  <a:cubicBezTo>
                    <a:pt x="1150" y="837"/>
                    <a:pt x="1158" y="838"/>
                    <a:pt x="1163" y="836"/>
                  </a:cubicBezTo>
                  <a:cubicBezTo>
                    <a:pt x="1169" y="834"/>
                    <a:pt x="1174" y="832"/>
                    <a:pt x="1179" y="830"/>
                  </a:cubicBezTo>
                  <a:cubicBezTo>
                    <a:pt x="1179" y="820"/>
                    <a:pt x="1179" y="810"/>
                    <a:pt x="1180" y="801"/>
                  </a:cubicBezTo>
                  <a:cubicBezTo>
                    <a:pt x="1170" y="801"/>
                    <a:pt x="1155" y="800"/>
                    <a:pt x="1142" y="801"/>
                  </a:cubicBezTo>
                  <a:cubicBezTo>
                    <a:pt x="1140" y="810"/>
                    <a:pt x="1143" y="818"/>
                    <a:pt x="1142" y="826"/>
                  </a:cubicBezTo>
                  <a:cubicBezTo>
                    <a:pt x="1136" y="822"/>
                    <a:pt x="1142" y="808"/>
                    <a:pt x="1139" y="798"/>
                  </a:cubicBezTo>
                  <a:cubicBezTo>
                    <a:pt x="1154" y="795"/>
                    <a:pt x="1166" y="790"/>
                    <a:pt x="1180" y="786"/>
                  </a:cubicBezTo>
                  <a:cubicBezTo>
                    <a:pt x="1182" y="777"/>
                    <a:pt x="1180" y="761"/>
                    <a:pt x="1182" y="752"/>
                  </a:cubicBezTo>
                  <a:cubicBezTo>
                    <a:pt x="1176" y="749"/>
                    <a:pt x="1166" y="753"/>
                    <a:pt x="1158" y="751"/>
                  </a:cubicBezTo>
                  <a:cubicBezTo>
                    <a:pt x="1156" y="753"/>
                    <a:pt x="1158" y="755"/>
                    <a:pt x="1157" y="757"/>
                  </a:cubicBezTo>
                  <a:cubicBezTo>
                    <a:pt x="1157" y="759"/>
                    <a:pt x="1157" y="764"/>
                    <a:pt x="1156" y="762"/>
                  </a:cubicBezTo>
                  <a:cubicBezTo>
                    <a:pt x="1157" y="759"/>
                    <a:pt x="1155" y="757"/>
                    <a:pt x="1156" y="755"/>
                  </a:cubicBezTo>
                  <a:cubicBezTo>
                    <a:pt x="1156" y="753"/>
                    <a:pt x="1155" y="752"/>
                    <a:pt x="1155" y="749"/>
                  </a:cubicBezTo>
                  <a:cubicBezTo>
                    <a:pt x="1163" y="746"/>
                    <a:pt x="1174" y="745"/>
                    <a:pt x="1183" y="740"/>
                  </a:cubicBezTo>
                  <a:cubicBezTo>
                    <a:pt x="1185" y="734"/>
                    <a:pt x="1181" y="726"/>
                    <a:pt x="1189" y="725"/>
                  </a:cubicBezTo>
                  <a:cubicBezTo>
                    <a:pt x="1190" y="730"/>
                    <a:pt x="1192" y="733"/>
                    <a:pt x="1192" y="739"/>
                  </a:cubicBezTo>
                  <a:cubicBezTo>
                    <a:pt x="1195" y="741"/>
                    <a:pt x="1200" y="742"/>
                    <a:pt x="1204" y="744"/>
                  </a:cubicBezTo>
                  <a:cubicBezTo>
                    <a:pt x="1201" y="749"/>
                    <a:pt x="1196" y="743"/>
                    <a:pt x="1192" y="744"/>
                  </a:cubicBezTo>
                  <a:cubicBezTo>
                    <a:pt x="1193" y="750"/>
                    <a:pt x="1200" y="745"/>
                    <a:pt x="1205" y="747"/>
                  </a:cubicBezTo>
                  <a:cubicBezTo>
                    <a:pt x="1207" y="746"/>
                    <a:pt x="1204" y="745"/>
                    <a:pt x="1205" y="744"/>
                  </a:cubicBezTo>
                  <a:cubicBezTo>
                    <a:pt x="1211" y="745"/>
                    <a:pt x="1216" y="747"/>
                    <a:pt x="1221" y="748"/>
                  </a:cubicBezTo>
                  <a:cubicBezTo>
                    <a:pt x="1219" y="755"/>
                    <a:pt x="1222" y="766"/>
                    <a:pt x="1221" y="775"/>
                  </a:cubicBezTo>
                  <a:cubicBezTo>
                    <a:pt x="1214" y="773"/>
                    <a:pt x="1221" y="757"/>
                    <a:pt x="1219" y="750"/>
                  </a:cubicBezTo>
                  <a:cubicBezTo>
                    <a:pt x="1212" y="749"/>
                    <a:pt x="1203" y="750"/>
                    <a:pt x="1194" y="751"/>
                  </a:cubicBezTo>
                  <a:cubicBezTo>
                    <a:pt x="1195" y="759"/>
                    <a:pt x="1196" y="774"/>
                    <a:pt x="1197" y="785"/>
                  </a:cubicBezTo>
                  <a:cubicBezTo>
                    <a:pt x="1206" y="788"/>
                    <a:pt x="1217" y="792"/>
                    <a:pt x="1226" y="792"/>
                  </a:cubicBezTo>
                  <a:cubicBezTo>
                    <a:pt x="1229" y="796"/>
                    <a:pt x="1237" y="794"/>
                    <a:pt x="1239" y="798"/>
                  </a:cubicBezTo>
                  <a:cubicBezTo>
                    <a:pt x="1227" y="799"/>
                    <a:pt x="1210" y="798"/>
                    <a:pt x="1197" y="800"/>
                  </a:cubicBezTo>
                  <a:cubicBezTo>
                    <a:pt x="1198" y="810"/>
                    <a:pt x="1201" y="820"/>
                    <a:pt x="1199" y="829"/>
                  </a:cubicBezTo>
                  <a:cubicBezTo>
                    <a:pt x="1202" y="834"/>
                    <a:pt x="1217" y="831"/>
                    <a:pt x="1217" y="837"/>
                  </a:cubicBezTo>
                  <a:cubicBezTo>
                    <a:pt x="1222" y="835"/>
                    <a:pt x="1226" y="838"/>
                    <a:pt x="1231" y="838"/>
                  </a:cubicBezTo>
                  <a:cubicBezTo>
                    <a:pt x="1228" y="847"/>
                    <a:pt x="1234" y="859"/>
                    <a:pt x="1229" y="866"/>
                  </a:cubicBezTo>
                  <a:cubicBezTo>
                    <a:pt x="1227" y="861"/>
                    <a:pt x="1230" y="849"/>
                    <a:pt x="1229" y="841"/>
                  </a:cubicBezTo>
                  <a:cubicBezTo>
                    <a:pt x="1221" y="838"/>
                    <a:pt x="1210" y="842"/>
                    <a:pt x="1203" y="840"/>
                  </a:cubicBezTo>
                  <a:cubicBezTo>
                    <a:pt x="1201" y="849"/>
                    <a:pt x="1204" y="866"/>
                    <a:pt x="1207" y="874"/>
                  </a:cubicBezTo>
                  <a:cubicBezTo>
                    <a:pt x="1206" y="884"/>
                    <a:pt x="1212" y="917"/>
                    <a:pt x="1216" y="929"/>
                  </a:cubicBezTo>
                  <a:cubicBezTo>
                    <a:pt x="1218" y="952"/>
                    <a:pt x="1223" y="973"/>
                    <a:pt x="1227" y="995"/>
                  </a:cubicBezTo>
                  <a:cubicBezTo>
                    <a:pt x="1231" y="991"/>
                    <a:pt x="1235" y="997"/>
                    <a:pt x="1235" y="992"/>
                  </a:cubicBezTo>
                  <a:cubicBezTo>
                    <a:pt x="1240" y="996"/>
                    <a:pt x="1249" y="994"/>
                    <a:pt x="1253" y="996"/>
                  </a:cubicBezTo>
                  <a:cubicBezTo>
                    <a:pt x="1261" y="982"/>
                    <a:pt x="1259" y="959"/>
                    <a:pt x="1261" y="942"/>
                  </a:cubicBezTo>
                  <a:cubicBezTo>
                    <a:pt x="1258" y="938"/>
                    <a:pt x="1249" y="943"/>
                    <a:pt x="1244" y="941"/>
                  </a:cubicBezTo>
                  <a:cubicBezTo>
                    <a:pt x="1247" y="936"/>
                    <a:pt x="1256" y="939"/>
                    <a:pt x="1259" y="934"/>
                  </a:cubicBezTo>
                  <a:cubicBezTo>
                    <a:pt x="1260" y="933"/>
                    <a:pt x="1261" y="934"/>
                    <a:pt x="1261" y="936"/>
                  </a:cubicBezTo>
                  <a:cubicBezTo>
                    <a:pt x="1264" y="930"/>
                    <a:pt x="1262" y="923"/>
                    <a:pt x="1264" y="917"/>
                  </a:cubicBezTo>
                  <a:cubicBezTo>
                    <a:pt x="1257" y="913"/>
                    <a:pt x="1247" y="917"/>
                    <a:pt x="1239" y="915"/>
                  </a:cubicBezTo>
                  <a:cubicBezTo>
                    <a:pt x="1241" y="912"/>
                    <a:pt x="1246" y="913"/>
                    <a:pt x="1250" y="911"/>
                  </a:cubicBezTo>
                  <a:cubicBezTo>
                    <a:pt x="1253" y="912"/>
                    <a:pt x="1262" y="915"/>
                    <a:pt x="1264" y="910"/>
                  </a:cubicBezTo>
                  <a:cubicBezTo>
                    <a:pt x="1262" y="906"/>
                    <a:pt x="1258" y="914"/>
                    <a:pt x="1254" y="910"/>
                  </a:cubicBezTo>
                  <a:cubicBezTo>
                    <a:pt x="1257" y="908"/>
                    <a:pt x="1262" y="908"/>
                    <a:pt x="1264" y="906"/>
                  </a:cubicBezTo>
                  <a:cubicBezTo>
                    <a:pt x="1263" y="897"/>
                    <a:pt x="1264" y="893"/>
                    <a:pt x="1265" y="886"/>
                  </a:cubicBezTo>
                  <a:cubicBezTo>
                    <a:pt x="1261" y="886"/>
                    <a:pt x="1253" y="884"/>
                    <a:pt x="1248" y="887"/>
                  </a:cubicBezTo>
                  <a:cubicBezTo>
                    <a:pt x="1252" y="880"/>
                    <a:pt x="1264" y="879"/>
                    <a:pt x="1270" y="878"/>
                  </a:cubicBezTo>
                  <a:cubicBezTo>
                    <a:pt x="1270" y="877"/>
                    <a:pt x="1269" y="877"/>
                    <a:pt x="1268" y="877"/>
                  </a:cubicBezTo>
                  <a:cubicBezTo>
                    <a:pt x="1270" y="875"/>
                    <a:pt x="1272" y="879"/>
                    <a:pt x="1273" y="880"/>
                  </a:cubicBezTo>
                  <a:cubicBezTo>
                    <a:pt x="1277" y="882"/>
                    <a:pt x="1286" y="880"/>
                    <a:pt x="1288" y="885"/>
                  </a:cubicBezTo>
                  <a:cubicBezTo>
                    <a:pt x="1286" y="887"/>
                    <a:pt x="1277" y="884"/>
                    <a:pt x="1272" y="886"/>
                  </a:cubicBezTo>
                  <a:cubicBezTo>
                    <a:pt x="1274" y="894"/>
                    <a:pt x="1273" y="900"/>
                    <a:pt x="1273" y="906"/>
                  </a:cubicBezTo>
                  <a:cubicBezTo>
                    <a:pt x="1275" y="908"/>
                    <a:pt x="1280" y="907"/>
                    <a:pt x="1281" y="910"/>
                  </a:cubicBezTo>
                  <a:cubicBezTo>
                    <a:pt x="1279" y="914"/>
                    <a:pt x="1276" y="906"/>
                    <a:pt x="1274" y="910"/>
                  </a:cubicBezTo>
                  <a:cubicBezTo>
                    <a:pt x="1276" y="915"/>
                    <a:pt x="1291" y="914"/>
                    <a:pt x="1290" y="907"/>
                  </a:cubicBezTo>
                  <a:cubicBezTo>
                    <a:pt x="1293" y="910"/>
                    <a:pt x="1294" y="913"/>
                    <a:pt x="1298" y="914"/>
                  </a:cubicBezTo>
                  <a:cubicBezTo>
                    <a:pt x="1292" y="918"/>
                    <a:pt x="1279" y="912"/>
                    <a:pt x="1274" y="916"/>
                  </a:cubicBezTo>
                  <a:cubicBezTo>
                    <a:pt x="1276" y="920"/>
                    <a:pt x="1275" y="929"/>
                    <a:pt x="1277" y="936"/>
                  </a:cubicBezTo>
                  <a:cubicBezTo>
                    <a:pt x="1278" y="938"/>
                    <a:pt x="1279" y="934"/>
                    <a:pt x="1281" y="935"/>
                  </a:cubicBezTo>
                  <a:cubicBezTo>
                    <a:pt x="1285" y="938"/>
                    <a:pt x="1295" y="936"/>
                    <a:pt x="1298" y="938"/>
                  </a:cubicBezTo>
                  <a:cubicBezTo>
                    <a:pt x="1300" y="936"/>
                    <a:pt x="1300" y="932"/>
                    <a:pt x="1297" y="930"/>
                  </a:cubicBezTo>
                  <a:cubicBezTo>
                    <a:pt x="1298" y="928"/>
                    <a:pt x="1297" y="925"/>
                    <a:pt x="1299" y="924"/>
                  </a:cubicBezTo>
                  <a:cubicBezTo>
                    <a:pt x="1298" y="922"/>
                    <a:pt x="1295" y="922"/>
                    <a:pt x="1295" y="919"/>
                  </a:cubicBezTo>
                  <a:cubicBezTo>
                    <a:pt x="1293" y="920"/>
                    <a:pt x="1294" y="923"/>
                    <a:pt x="1290" y="922"/>
                  </a:cubicBezTo>
                  <a:cubicBezTo>
                    <a:pt x="1290" y="918"/>
                    <a:pt x="1294" y="918"/>
                    <a:pt x="1297" y="917"/>
                  </a:cubicBezTo>
                  <a:cubicBezTo>
                    <a:pt x="1301" y="914"/>
                    <a:pt x="1305" y="905"/>
                    <a:pt x="1300" y="900"/>
                  </a:cubicBezTo>
                  <a:cubicBezTo>
                    <a:pt x="1301" y="899"/>
                    <a:pt x="1302" y="897"/>
                    <a:pt x="1302" y="895"/>
                  </a:cubicBezTo>
                  <a:cubicBezTo>
                    <a:pt x="1305" y="895"/>
                    <a:pt x="1305" y="899"/>
                    <a:pt x="1309" y="899"/>
                  </a:cubicBezTo>
                  <a:cubicBezTo>
                    <a:pt x="1308" y="900"/>
                    <a:pt x="1306" y="900"/>
                    <a:pt x="1307" y="902"/>
                  </a:cubicBezTo>
                  <a:cubicBezTo>
                    <a:pt x="1308" y="917"/>
                    <a:pt x="1309" y="923"/>
                    <a:pt x="1310" y="935"/>
                  </a:cubicBezTo>
                  <a:cubicBezTo>
                    <a:pt x="1313" y="939"/>
                    <a:pt x="1317" y="937"/>
                    <a:pt x="1321" y="936"/>
                  </a:cubicBezTo>
                  <a:cubicBezTo>
                    <a:pt x="1322" y="933"/>
                    <a:pt x="1318" y="935"/>
                    <a:pt x="1319" y="932"/>
                  </a:cubicBezTo>
                  <a:cubicBezTo>
                    <a:pt x="1320" y="933"/>
                    <a:pt x="1320" y="934"/>
                    <a:pt x="1322" y="933"/>
                  </a:cubicBezTo>
                  <a:cubicBezTo>
                    <a:pt x="1323" y="930"/>
                    <a:pt x="1318" y="930"/>
                    <a:pt x="1320" y="929"/>
                  </a:cubicBezTo>
                  <a:cubicBezTo>
                    <a:pt x="1326" y="923"/>
                    <a:pt x="1322" y="940"/>
                    <a:pt x="1326" y="941"/>
                  </a:cubicBezTo>
                  <a:cubicBezTo>
                    <a:pt x="1325" y="942"/>
                    <a:pt x="1324" y="943"/>
                    <a:pt x="1324" y="945"/>
                  </a:cubicBezTo>
                  <a:cubicBezTo>
                    <a:pt x="1326" y="948"/>
                    <a:pt x="1325" y="954"/>
                    <a:pt x="1329" y="956"/>
                  </a:cubicBezTo>
                  <a:cubicBezTo>
                    <a:pt x="1328" y="956"/>
                    <a:pt x="1327" y="956"/>
                    <a:pt x="1326" y="956"/>
                  </a:cubicBezTo>
                  <a:cubicBezTo>
                    <a:pt x="1329" y="962"/>
                    <a:pt x="1328" y="966"/>
                    <a:pt x="1328" y="973"/>
                  </a:cubicBezTo>
                  <a:cubicBezTo>
                    <a:pt x="1332" y="970"/>
                    <a:pt x="1331" y="962"/>
                    <a:pt x="1334" y="958"/>
                  </a:cubicBezTo>
                  <a:cubicBezTo>
                    <a:pt x="1333" y="958"/>
                    <a:pt x="1332" y="956"/>
                    <a:pt x="1330" y="956"/>
                  </a:cubicBezTo>
                  <a:cubicBezTo>
                    <a:pt x="1331" y="954"/>
                    <a:pt x="1333" y="954"/>
                    <a:pt x="1333" y="953"/>
                  </a:cubicBezTo>
                  <a:cubicBezTo>
                    <a:pt x="1333" y="949"/>
                    <a:pt x="1329" y="950"/>
                    <a:pt x="1328" y="947"/>
                  </a:cubicBezTo>
                  <a:cubicBezTo>
                    <a:pt x="1333" y="947"/>
                    <a:pt x="1336" y="946"/>
                    <a:pt x="1340" y="947"/>
                  </a:cubicBezTo>
                  <a:cubicBezTo>
                    <a:pt x="1340" y="951"/>
                    <a:pt x="1337" y="949"/>
                    <a:pt x="1335" y="950"/>
                  </a:cubicBezTo>
                  <a:cubicBezTo>
                    <a:pt x="1338" y="954"/>
                    <a:pt x="1335" y="958"/>
                    <a:pt x="1338" y="963"/>
                  </a:cubicBezTo>
                  <a:cubicBezTo>
                    <a:pt x="1342" y="961"/>
                    <a:pt x="1340" y="954"/>
                    <a:pt x="1343" y="952"/>
                  </a:cubicBezTo>
                  <a:cubicBezTo>
                    <a:pt x="1346" y="954"/>
                    <a:pt x="1344" y="957"/>
                    <a:pt x="1343" y="959"/>
                  </a:cubicBezTo>
                  <a:cubicBezTo>
                    <a:pt x="1346" y="962"/>
                    <a:pt x="1353" y="962"/>
                    <a:pt x="1355" y="966"/>
                  </a:cubicBezTo>
                  <a:cubicBezTo>
                    <a:pt x="1355" y="969"/>
                    <a:pt x="1353" y="965"/>
                    <a:pt x="1351" y="966"/>
                  </a:cubicBezTo>
                  <a:cubicBezTo>
                    <a:pt x="1349" y="971"/>
                    <a:pt x="1352" y="977"/>
                    <a:pt x="1354" y="981"/>
                  </a:cubicBezTo>
                  <a:cubicBezTo>
                    <a:pt x="1354" y="982"/>
                    <a:pt x="1351" y="982"/>
                    <a:pt x="1351" y="983"/>
                  </a:cubicBezTo>
                  <a:cubicBezTo>
                    <a:pt x="1352" y="985"/>
                    <a:pt x="1353" y="989"/>
                    <a:pt x="1354" y="992"/>
                  </a:cubicBezTo>
                  <a:cubicBezTo>
                    <a:pt x="1358" y="995"/>
                    <a:pt x="1363" y="994"/>
                    <a:pt x="1364" y="990"/>
                  </a:cubicBezTo>
                  <a:cubicBezTo>
                    <a:pt x="1366" y="990"/>
                    <a:pt x="1365" y="994"/>
                    <a:pt x="1366" y="995"/>
                  </a:cubicBezTo>
                  <a:cubicBezTo>
                    <a:pt x="1375" y="995"/>
                    <a:pt x="1378" y="989"/>
                    <a:pt x="1382" y="984"/>
                  </a:cubicBezTo>
                  <a:cubicBezTo>
                    <a:pt x="1386" y="984"/>
                    <a:pt x="1384" y="989"/>
                    <a:pt x="1383" y="991"/>
                  </a:cubicBezTo>
                  <a:cubicBezTo>
                    <a:pt x="1385" y="995"/>
                    <a:pt x="1390" y="994"/>
                    <a:pt x="1394" y="993"/>
                  </a:cubicBezTo>
                  <a:cubicBezTo>
                    <a:pt x="1394" y="991"/>
                    <a:pt x="1391" y="989"/>
                    <a:pt x="1393" y="987"/>
                  </a:cubicBezTo>
                  <a:cubicBezTo>
                    <a:pt x="1398" y="986"/>
                    <a:pt x="1396" y="991"/>
                    <a:pt x="1398" y="993"/>
                  </a:cubicBezTo>
                  <a:cubicBezTo>
                    <a:pt x="1401" y="993"/>
                    <a:pt x="1399" y="988"/>
                    <a:pt x="1401" y="987"/>
                  </a:cubicBezTo>
                  <a:cubicBezTo>
                    <a:pt x="1404" y="987"/>
                    <a:pt x="1403" y="991"/>
                    <a:pt x="1404" y="993"/>
                  </a:cubicBezTo>
                  <a:cubicBezTo>
                    <a:pt x="1408" y="993"/>
                    <a:pt x="1411" y="992"/>
                    <a:pt x="1415" y="991"/>
                  </a:cubicBezTo>
                  <a:cubicBezTo>
                    <a:pt x="1414" y="986"/>
                    <a:pt x="1414" y="979"/>
                    <a:pt x="1412" y="975"/>
                  </a:cubicBezTo>
                  <a:cubicBezTo>
                    <a:pt x="1416" y="966"/>
                    <a:pt x="1411" y="947"/>
                    <a:pt x="1417" y="937"/>
                  </a:cubicBezTo>
                  <a:cubicBezTo>
                    <a:pt x="1418" y="942"/>
                    <a:pt x="1422" y="948"/>
                    <a:pt x="1419" y="952"/>
                  </a:cubicBezTo>
                  <a:cubicBezTo>
                    <a:pt x="1421" y="955"/>
                    <a:pt x="1422" y="957"/>
                    <a:pt x="1424" y="959"/>
                  </a:cubicBezTo>
                  <a:cubicBezTo>
                    <a:pt x="1424" y="961"/>
                    <a:pt x="1423" y="961"/>
                    <a:pt x="1422" y="962"/>
                  </a:cubicBezTo>
                  <a:cubicBezTo>
                    <a:pt x="1426" y="966"/>
                    <a:pt x="1430" y="962"/>
                    <a:pt x="1431" y="958"/>
                  </a:cubicBezTo>
                  <a:cubicBezTo>
                    <a:pt x="1433" y="967"/>
                    <a:pt x="1429" y="981"/>
                    <a:pt x="1434" y="988"/>
                  </a:cubicBezTo>
                  <a:cubicBezTo>
                    <a:pt x="1434" y="1012"/>
                    <a:pt x="1434" y="1036"/>
                    <a:pt x="1434" y="1059"/>
                  </a:cubicBezTo>
                  <a:cubicBezTo>
                    <a:pt x="1349" y="1059"/>
                    <a:pt x="1253" y="1059"/>
                    <a:pt x="1165" y="1059"/>
                  </a:cubicBezTo>
                  <a:cubicBezTo>
                    <a:pt x="1155" y="1059"/>
                    <a:pt x="1131" y="1062"/>
                    <a:pt x="1127" y="1059"/>
                  </a:cubicBezTo>
                  <a:cubicBezTo>
                    <a:pt x="1124" y="1057"/>
                    <a:pt x="1130" y="1054"/>
                    <a:pt x="1127" y="1052"/>
                  </a:cubicBezTo>
                  <a:cubicBezTo>
                    <a:pt x="1128" y="1052"/>
                    <a:pt x="1129" y="1055"/>
                    <a:pt x="1129" y="1053"/>
                  </a:cubicBezTo>
                  <a:cubicBezTo>
                    <a:pt x="1130" y="1051"/>
                    <a:pt x="1129" y="1046"/>
                    <a:pt x="1125" y="1046"/>
                  </a:cubicBezTo>
                  <a:cubicBezTo>
                    <a:pt x="1127" y="1048"/>
                    <a:pt x="1123" y="1056"/>
                    <a:pt x="1122" y="1051"/>
                  </a:cubicBezTo>
                  <a:cubicBezTo>
                    <a:pt x="1120" y="1056"/>
                    <a:pt x="1126" y="1054"/>
                    <a:pt x="1125" y="1058"/>
                  </a:cubicBezTo>
                  <a:cubicBezTo>
                    <a:pt x="1125" y="1058"/>
                    <a:pt x="1125" y="1059"/>
                    <a:pt x="1125" y="1059"/>
                  </a:cubicBezTo>
                  <a:cubicBezTo>
                    <a:pt x="1115" y="1059"/>
                    <a:pt x="1102" y="1060"/>
                    <a:pt x="1093" y="1059"/>
                  </a:cubicBezTo>
                  <a:cubicBezTo>
                    <a:pt x="1093" y="1048"/>
                    <a:pt x="1108" y="1052"/>
                    <a:pt x="1112" y="1046"/>
                  </a:cubicBezTo>
                  <a:cubicBezTo>
                    <a:pt x="1112" y="1049"/>
                    <a:pt x="1118" y="1046"/>
                    <a:pt x="1118" y="1049"/>
                  </a:cubicBezTo>
                  <a:cubicBezTo>
                    <a:pt x="1120" y="1047"/>
                    <a:pt x="1122" y="1046"/>
                    <a:pt x="1123" y="1043"/>
                  </a:cubicBezTo>
                  <a:cubicBezTo>
                    <a:pt x="1126" y="1043"/>
                    <a:pt x="1131" y="1045"/>
                    <a:pt x="1134" y="1041"/>
                  </a:cubicBezTo>
                  <a:cubicBezTo>
                    <a:pt x="1135" y="1041"/>
                    <a:pt x="1135" y="1042"/>
                    <a:pt x="1135" y="1044"/>
                  </a:cubicBezTo>
                  <a:cubicBezTo>
                    <a:pt x="1137" y="1043"/>
                    <a:pt x="1139" y="1039"/>
                    <a:pt x="1138" y="1044"/>
                  </a:cubicBezTo>
                  <a:cubicBezTo>
                    <a:pt x="1141" y="1044"/>
                    <a:pt x="1139" y="1039"/>
                    <a:pt x="1141" y="1038"/>
                  </a:cubicBezTo>
                  <a:cubicBezTo>
                    <a:pt x="1143" y="1039"/>
                    <a:pt x="1142" y="1041"/>
                    <a:pt x="1143" y="1042"/>
                  </a:cubicBezTo>
                  <a:cubicBezTo>
                    <a:pt x="1145" y="1041"/>
                    <a:pt x="1145" y="1039"/>
                    <a:pt x="1147" y="1038"/>
                  </a:cubicBezTo>
                  <a:cubicBezTo>
                    <a:pt x="1148" y="1040"/>
                    <a:pt x="1148" y="1042"/>
                    <a:pt x="1149" y="1042"/>
                  </a:cubicBezTo>
                  <a:cubicBezTo>
                    <a:pt x="1151" y="1041"/>
                    <a:pt x="1147" y="1038"/>
                    <a:pt x="1150" y="1038"/>
                  </a:cubicBezTo>
                  <a:cubicBezTo>
                    <a:pt x="1153" y="1038"/>
                    <a:pt x="1150" y="1042"/>
                    <a:pt x="1153" y="1041"/>
                  </a:cubicBezTo>
                  <a:cubicBezTo>
                    <a:pt x="1154" y="1038"/>
                    <a:pt x="1154" y="1037"/>
                    <a:pt x="1157" y="1035"/>
                  </a:cubicBezTo>
                  <a:cubicBezTo>
                    <a:pt x="1154" y="1036"/>
                    <a:pt x="1148" y="1033"/>
                    <a:pt x="1146" y="1038"/>
                  </a:cubicBezTo>
                  <a:cubicBezTo>
                    <a:pt x="1145" y="1037"/>
                    <a:pt x="1145" y="1035"/>
                    <a:pt x="1143" y="1036"/>
                  </a:cubicBezTo>
                  <a:cubicBezTo>
                    <a:pt x="1126" y="1038"/>
                    <a:pt x="1111" y="1039"/>
                    <a:pt x="1090" y="1039"/>
                  </a:cubicBezTo>
                  <a:cubicBezTo>
                    <a:pt x="1090" y="1043"/>
                    <a:pt x="1088" y="1044"/>
                    <a:pt x="1089" y="1048"/>
                  </a:cubicBezTo>
                  <a:cubicBezTo>
                    <a:pt x="1082" y="1050"/>
                    <a:pt x="1074" y="1049"/>
                    <a:pt x="1069" y="1044"/>
                  </a:cubicBezTo>
                  <a:cubicBezTo>
                    <a:pt x="1074" y="1044"/>
                    <a:pt x="1076" y="1042"/>
                    <a:pt x="1078" y="1040"/>
                  </a:cubicBezTo>
                  <a:cubicBezTo>
                    <a:pt x="1065" y="1041"/>
                    <a:pt x="1059" y="1039"/>
                    <a:pt x="1048" y="1043"/>
                  </a:cubicBezTo>
                  <a:cubicBezTo>
                    <a:pt x="1043" y="1039"/>
                    <a:pt x="1028" y="1046"/>
                    <a:pt x="1022" y="1040"/>
                  </a:cubicBezTo>
                  <a:cubicBezTo>
                    <a:pt x="1016" y="1043"/>
                    <a:pt x="1008" y="1037"/>
                    <a:pt x="1000" y="1041"/>
                  </a:cubicBezTo>
                  <a:cubicBezTo>
                    <a:pt x="998" y="1036"/>
                    <a:pt x="992" y="1039"/>
                    <a:pt x="990" y="1036"/>
                  </a:cubicBezTo>
                  <a:cubicBezTo>
                    <a:pt x="984" y="1041"/>
                    <a:pt x="974" y="1037"/>
                    <a:pt x="965" y="1038"/>
                  </a:cubicBezTo>
                  <a:cubicBezTo>
                    <a:pt x="960" y="1038"/>
                    <a:pt x="956" y="1040"/>
                    <a:pt x="951" y="1038"/>
                  </a:cubicBezTo>
                  <a:cubicBezTo>
                    <a:pt x="950" y="1039"/>
                    <a:pt x="950" y="1040"/>
                    <a:pt x="948" y="1040"/>
                  </a:cubicBezTo>
                  <a:cubicBezTo>
                    <a:pt x="935" y="1038"/>
                    <a:pt x="925" y="1043"/>
                    <a:pt x="913" y="1040"/>
                  </a:cubicBezTo>
                  <a:cubicBezTo>
                    <a:pt x="903" y="1041"/>
                    <a:pt x="888" y="1045"/>
                    <a:pt x="877" y="1038"/>
                  </a:cubicBezTo>
                  <a:cubicBezTo>
                    <a:pt x="872" y="1039"/>
                    <a:pt x="866" y="1038"/>
                    <a:pt x="863" y="1036"/>
                  </a:cubicBezTo>
                  <a:cubicBezTo>
                    <a:pt x="861" y="1039"/>
                    <a:pt x="854" y="1036"/>
                    <a:pt x="851" y="1034"/>
                  </a:cubicBezTo>
                  <a:cubicBezTo>
                    <a:pt x="845" y="1036"/>
                    <a:pt x="839" y="1032"/>
                    <a:pt x="834" y="1034"/>
                  </a:cubicBezTo>
                  <a:cubicBezTo>
                    <a:pt x="830" y="1032"/>
                    <a:pt x="826" y="1030"/>
                    <a:pt x="821" y="1031"/>
                  </a:cubicBezTo>
                  <a:cubicBezTo>
                    <a:pt x="820" y="1029"/>
                    <a:pt x="819" y="1028"/>
                    <a:pt x="818" y="1027"/>
                  </a:cubicBezTo>
                  <a:cubicBezTo>
                    <a:pt x="821" y="1025"/>
                    <a:pt x="824" y="1024"/>
                    <a:pt x="826" y="1021"/>
                  </a:cubicBezTo>
                  <a:cubicBezTo>
                    <a:pt x="821" y="1020"/>
                    <a:pt x="815" y="1022"/>
                    <a:pt x="809" y="1021"/>
                  </a:cubicBezTo>
                  <a:cubicBezTo>
                    <a:pt x="808" y="1018"/>
                    <a:pt x="805" y="1013"/>
                    <a:pt x="802" y="1014"/>
                  </a:cubicBezTo>
                  <a:cubicBezTo>
                    <a:pt x="800" y="1016"/>
                    <a:pt x="803" y="1017"/>
                    <a:pt x="803" y="1020"/>
                  </a:cubicBezTo>
                  <a:cubicBezTo>
                    <a:pt x="800" y="1024"/>
                    <a:pt x="798" y="1019"/>
                    <a:pt x="797" y="1021"/>
                  </a:cubicBezTo>
                  <a:cubicBezTo>
                    <a:pt x="799" y="1022"/>
                    <a:pt x="801" y="1025"/>
                    <a:pt x="800" y="1027"/>
                  </a:cubicBezTo>
                  <a:cubicBezTo>
                    <a:pt x="792" y="1023"/>
                    <a:pt x="779" y="1029"/>
                    <a:pt x="772" y="1027"/>
                  </a:cubicBezTo>
                  <a:cubicBezTo>
                    <a:pt x="770" y="1029"/>
                    <a:pt x="773" y="1031"/>
                    <a:pt x="771" y="1031"/>
                  </a:cubicBezTo>
                  <a:cubicBezTo>
                    <a:pt x="753" y="1027"/>
                    <a:pt x="739" y="1032"/>
                    <a:pt x="722" y="1035"/>
                  </a:cubicBezTo>
                  <a:cubicBezTo>
                    <a:pt x="721" y="1038"/>
                    <a:pt x="717" y="1042"/>
                    <a:pt x="718" y="1044"/>
                  </a:cubicBezTo>
                  <a:cubicBezTo>
                    <a:pt x="721" y="1045"/>
                    <a:pt x="718" y="1041"/>
                    <a:pt x="721" y="1042"/>
                  </a:cubicBezTo>
                  <a:cubicBezTo>
                    <a:pt x="726" y="1047"/>
                    <a:pt x="713" y="1048"/>
                    <a:pt x="711" y="1044"/>
                  </a:cubicBezTo>
                  <a:cubicBezTo>
                    <a:pt x="712" y="1042"/>
                    <a:pt x="713" y="1043"/>
                    <a:pt x="714" y="1040"/>
                  </a:cubicBezTo>
                  <a:cubicBezTo>
                    <a:pt x="712" y="1040"/>
                    <a:pt x="712" y="1042"/>
                    <a:pt x="709" y="1042"/>
                  </a:cubicBezTo>
                  <a:cubicBezTo>
                    <a:pt x="708" y="1041"/>
                    <a:pt x="709" y="1038"/>
                    <a:pt x="707" y="1038"/>
                  </a:cubicBezTo>
                  <a:cubicBezTo>
                    <a:pt x="698" y="1041"/>
                    <a:pt x="691" y="1037"/>
                    <a:pt x="686" y="1036"/>
                  </a:cubicBezTo>
                  <a:cubicBezTo>
                    <a:pt x="688" y="1037"/>
                    <a:pt x="685" y="1037"/>
                    <a:pt x="684" y="1038"/>
                  </a:cubicBezTo>
                  <a:cubicBezTo>
                    <a:pt x="672" y="1034"/>
                    <a:pt x="663" y="1034"/>
                    <a:pt x="649" y="1031"/>
                  </a:cubicBezTo>
                  <a:cubicBezTo>
                    <a:pt x="638" y="1023"/>
                    <a:pt x="618" y="1032"/>
                    <a:pt x="608" y="1025"/>
                  </a:cubicBezTo>
                  <a:cubicBezTo>
                    <a:pt x="609" y="1022"/>
                    <a:pt x="612" y="1021"/>
                    <a:pt x="612" y="1018"/>
                  </a:cubicBezTo>
                  <a:cubicBezTo>
                    <a:pt x="610" y="1017"/>
                    <a:pt x="608" y="1020"/>
                    <a:pt x="609" y="1016"/>
                  </a:cubicBezTo>
                  <a:cubicBezTo>
                    <a:pt x="611" y="1014"/>
                    <a:pt x="612" y="1018"/>
                    <a:pt x="614" y="1016"/>
                  </a:cubicBezTo>
                  <a:cubicBezTo>
                    <a:pt x="613" y="1015"/>
                    <a:pt x="613" y="1012"/>
                    <a:pt x="616" y="1010"/>
                  </a:cubicBezTo>
                  <a:cubicBezTo>
                    <a:pt x="614" y="1009"/>
                    <a:pt x="611" y="1010"/>
                    <a:pt x="610" y="1008"/>
                  </a:cubicBezTo>
                  <a:cubicBezTo>
                    <a:pt x="613" y="1003"/>
                    <a:pt x="606" y="1003"/>
                    <a:pt x="606" y="999"/>
                  </a:cubicBezTo>
                  <a:cubicBezTo>
                    <a:pt x="607" y="998"/>
                    <a:pt x="608" y="998"/>
                    <a:pt x="610" y="997"/>
                  </a:cubicBezTo>
                  <a:cubicBezTo>
                    <a:pt x="612" y="999"/>
                    <a:pt x="613" y="1003"/>
                    <a:pt x="614" y="1005"/>
                  </a:cubicBezTo>
                  <a:cubicBezTo>
                    <a:pt x="618" y="1005"/>
                    <a:pt x="623" y="1006"/>
                    <a:pt x="623" y="1010"/>
                  </a:cubicBezTo>
                  <a:cubicBezTo>
                    <a:pt x="621" y="1012"/>
                    <a:pt x="619" y="1007"/>
                    <a:pt x="617" y="1010"/>
                  </a:cubicBezTo>
                  <a:cubicBezTo>
                    <a:pt x="619" y="1016"/>
                    <a:pt x="622" y="1017"/>
                    <a:pt x="621" y="1025"/>
                  </a:cubicBezTo>
                  <a:cubicBezTo>
                    <a:pt x="627" y="1019"/>
                    <a:pt x="636" y="1026"/>
                    <a:pt x="642" y="1023"/>
                  </a:cubicBezTo>
                  <a:cubicBezTo>
                    <a:pt x="643" y="1021"/>
                    <a:pt x="640" y="1023"/>
                    <a:pt x="640" y="1021"/>
                  </a:cubicBezTo>
                  <a:cubicBezTo>
                    <a:pt x="642" y="1021"/>
                    <a:pt x="647" y="1018"/>
                    <a:pt x="647" y="1022"/>
                  </a:cubicBezTo>
                  <a:cubicBezTo>
                    <a:pt x="650" y="1022"/>
                    <a:pt x="648" y="1019"/>
                    <a:pt x="651" y="1019"/>
                  </a:cubicBezTo>
                  <a:cubicBezTo>
                    <a:pt x="653" y="1022"/>
                    <a:pt x="655" y="1025"/>
                    <a:pt x="657" y="1028"/>
                  </a:cubicBezTo>
                  <a:cubicBezTo>
                    <a:pt x="657" y="1024"/>
                    <a:pt x="658" y="1022"/>
                    <a:pt x="659" y="1021"/>
                  </a:cubicBezTo>
                  <a:cubicBezTo>
                    <a:pt x="663" y="1019"/>
                    <a:pt x="665" y="1024"/>
                    <a:pt x="666" y="1021"/>
                  </a:cubicBezTo>
                  <a:cubicBezTo>
                    <a:pt x="665" y="1019"/>
                    <a:pt x="662" y="1020"/>
                    <a:pt x="662" y="1018"/>
                  </a:cubicBezTo>
                  <a:cubicBezTo>
                    <a:pt x="661" y="1014"/>
                    <a:pt x="661" y="1011"/>
                    <a:pt x="665" y="1012"/>
                  </a:cubicBezTo>
                  <a:cubicBezTo>
                    <a:pt x="667" y="1012"/>
                    <a:pt x="668" y="1016"/>
                    <a:pt x="666" y="1017"/>
                  </a:cubicBezTo>
                  <a:cubicBezTo>
                    <a:pt x="668" y="1017"/>
                    <a:pt x="668" y="1014"/>
                    <a:pt x="670" y="1016"/>
                  </a:cubicBezTo>
                  <a:cubicBezTo>
                    <a:pt x="670" y="1012"/>
                    <a:pt x="666" y="1010"/>
                    <a:pt x="663" y="1009"/>
                  </a:cubicBezTo>
                  <a:cubicBezTo>
                    <a:pt x="660" y="1010"/>
                    <a:pt x="657" y="1015"/>
                    <a:pt x="653" y="1012"/>
                  </a:cubicBezTo>
                  <a:cubicBezTo>
                    <a:pt x="652" y="1011"/>
                    <a:pt x="653" y="1008"/>
                    <a:pt x="652" y="1008"/>
                  </a:cubicBezTo>
                  <a:cubicBezTo>
                    <a:pt x="652" y="1009"/>
                    <a:pt x="652" y="1010"/>
                    <a:pt x="651" y="1010"/>
                  </a:cubicBezTo>
                  <a:cubicBezTo>
                    <a:pt x="651" y="1009"/>
                    <a:pt x="649" y="1008"/>
                    <a:pt x="648" y="1007"/>
                  </a:cubicBezTo>
                  <a:cubicBezTo>
                    <a:pt x="653" y="1006"/>
                    <a:pt x="656" y="1008"/>
                    <a:pt x="660" y="1005"/>
                  </a:cubicBezTo>
                  <a:cubicBezTo>
                    <a:pt x="662" y="1006"/>
                    <a:pt x="664" y="1007"/>
                    <a:pt x="667" y="1008"/>
                  </a:cubicBezTo>
                  <a:cubicBezTo>
                    <a:pt x="666" y="1005"/>
                    <a:pt x="669" y="1006"/>
                    <a:pt x="671" y="1005"/>
                  </a:cubicBezTo>
                  <a:cubicBezTo>
                    <a:pt x="670" y="1001"/>
                    <a:pt x="664" y="1002"/>
                    <a:pt x="662" y="999"/>
                  </a:cubicBezTo>
                  <a:cubicBezTo>
                    <a:pt x="665" y="999"/>
                    <a:pt x="675" y="996"/>
                    <a:pt x="676" y="1001"/>
                  </a:cubicBezTo>
                  <a:cubicBezTo>
                    <a:pt x="676" y="1004"/>
                    <a:pt x="673" y="1002"/>
                    <a:pt x="673" y="1005"/>
                  </a:cubicBezTo>
                  <a:cubicBezTo>
                    <a:pt x="681" y="1012"/>
                    <a:pt x="692" y="1004"/>
                    <a:pt x="700" y="1012"/>
                  </a:cubicBezTo>
                  <a:cubicBezTo>
                    <a:pt x="694" y="1013"/>
                    <a:pt x="691" y="1011"/>
                    <a:pt x="687" y="1010"/>
                  </a:cubicBezTo>
                  <a:cubicBezTo>
                    <a:pt x="686" y="1011"/>
                    <a:pt x="686" y="1013"/>
                    <a:pt x="685" y="1014"/>
                  </a:cubicBezTo>
                  <a:cubicBezTo>
                    <a:pt x="679" y="1015"/>
                    <a:pt x="679" y="1006"/>
                    <a:pt x="673" y="1009"/>
                  </a:cubicBezTo>
                  <a:cubicBezTo>
                    <a:pt x="679" y="1010"/>
                    <a:pt x="676" y="1019"/>
                    <a:pt x="683" y="1020"/>
                  </a:cubicBezTo>
                  <a:cubicBezTo>
                    <a:pt x="685" y="1019"/>
                    <a:pt x="684" y="1015"/>
                    <a:pt x="687" y="1014"/>
                  </a:cubicBezTo>
                  <a:cubicBezTo>
                    <a:pt x="689" y="1014"/>
                    <a:pt x="689" y="1016"/>
                    <a:pt x="690" y="1017"/>
                  </a:cubicBezTo>
                  <a:cubicBezTo>
                    <a:pt x="689" y="1018"/>
                    <a:pt x="687" y="1018"/>
                    <a:pt x="688" y="1020"/>
                  </a:cubicBezTo>
                  <a:cubicBezTo>
                    <a:pt x="692" y="1016"/>
                    <a:pt x="696" y="1025"/>
                    <a:pt x="698" y="1020"/>
                  </a:cubicBezTo>
                  <a:cubicBezTo>
                    <a:pt x="695" y="1019"/>
                    <a:pt x="692" y="1019"/>
                    <a:pt x="691" y="1016"/>
                  </a:cubicBezTo>
                  <a:cubicBezTo>
                    <a:pt x="693" y="1015"/>
                    <a:pt x="696" y="1016"/>
                    <a:pt x="698" y="1014"/>
                  </a:cubicBezTo>
                  <a:cubicBezTo>
                    <a:pt x="700" y="1016"/>
                    <a:pt x="703" y="1017"/>
                    <a:pt x="705" y="1020"/>
                  </a:cubicBezTo>
                  <a:cubicBezTo>
                    <a:pt x="706" y="1017"/>
                    <a:pt x="702" y="1017"/>
                    <a:pt x="704" y="1015"/>
                  </a:cubicBezTo>
                  <a:cubicBezTo>
                    <a:pt x="710" y="1014"/>
                    <a:pt x="711" y="1019"/>
                    <a:pt x="717" y="1021"/>
                  </a:cubicBezTo>
                  <a:cubicBezTo>
                    <a:pt x="717" y="1014"/>
                    <a:pt x="707" y="1015"/>
                    <a:pt x="704" y="1011"/>
                  </a:cubicBezTo>
                  <a:cubicBezTo>
                    <a:pt x="705" y="1010"/>
                    <a:pt x="709" y="1011"/>
                    <a:pt x="709" y="1009"/>
                  </a:cubicBezTo>
                  <a:cubicBezTo>
                    <a:pt x="707" y="1007"/>
                    <a:pt x="701" y="1009"/>
                    <a:pt x="700" y="1007"/>
                  </a:cubicBezTo>
                  <a:cubicBezTo>
                    <a:pt x="703" y="1005"/>
                    <a:pt x="710" y="1005"/>
                    <a:pt x="712" y="1008"/>
                  </a:cubicBezTo>
                  <a:cubicBezTo>
                    <a:pt x="711" y="1009"/>
                    <a:pt x="711" y="1010"/>
                    <a:pt x="712" y="1012"/>
                  </a:cubicBezTo>
                  <a:cubicBezTo>
                    <a:pt x="714" y="1014"/>
                    <a:pt x="715" y="1011"/>
                    <a:pt x="718" y="1012"/>
                  </a:cubicBezTo>
                  <a:cubicBezTo>
                    <a:pt x="720" y="1015"/>
                    <a:pt x="724" y="1015"/>
                    <a:pt x="724" y="1019"/>
                  </a:cubicBezTo>
                  <a:cubicBezTo>
                    <a:pt x="728" y="1019"/>
                    <a:pt x="732" y="1016"/>
                    <a:pt x="735" y="1014"/>
                  </a:cubicBezTo>
                  <a:cubicBezTo>
                    <a:pt x="732" y="1013"/>
                    <a:pt x="731" y="1010"/>
                    <a:pt x="729" y="1009"/>
                  </a:cubicBezTo>
                  <a:cubicBezTo>
                    <a:pt x="730" y="1011"/>
                    <a:pt x="727" y="1010"/>
                    <a:pt x="726" y="1010"/>
                  </a:cubicBezTo>
                  <a:cubicBezTo>
                    <a:pt x="725" y="1012"/>
                    <a:pt x="727" y="1015"/>
                    <a:pt x="725" y="1015"/>
                  </a:cubicBezTo>
                  <a:cubicBezTo>
                    <a:pt x="722" y="1012"/>
                    <a:pt x="717" y="1011"/>
                    <a:pt x="713" y="1009"/>
                  </a:cubicBezTo>
                  <a:cubicBezTo>
                    <a:pt x="720" y="1003"/>
                    <a:pt x="731" y="1006"/>
                    <a:pt x="739" y="1007"/>
                  </a:cubicBezTo>
                  <a:cubicBezTo>
                    <a:pt x="740" y="1002"/>
                    <a:pt x="734" y="1003"/>
                    <a:pt x="733" y="1000"/>
                  </a:cubicBezTo>
                  <a:cubicBezTo>
                    <a:pt x="735" y="1000"/>
                    <a:pt x="734" y="997"/>
                    <a:pt x="735" y="997"/>
                  </a:cubicBezTo>
                  <a:cubicBezTo>
                    <a:pt x="739" y="996"/>
                    <a:pt x="739" y="1000"/>
                    <a:pt x="741" y="999"/>
                  </a:cubicBezTo>
                  <a:cubicBezTo>
                    <a:pt x="741" y="1000"/>
                    <a:pt x="740" y="1004"/>
                    <a:pt x="741" y="1005"/>
                  </a:cubicBezTo>
                  <a:cubicBezTo>
                    <a:pt x="745" y="1005"/>
                    <a:pt x="751" y="1007"/>
                    <a:pt x="750" y="1012"/>
                  </a:cubicBezTo>
                  <a:cubicBezTo>
                    <a:pt x="753" y="1008"/>
                    <a:pt x="762" y="1007"/>
                    <a:pt x="764" y="1012"/>
                  </a:cubicBezTo>
                  <a:cubicBezTo>
                    <a:pt x="761" y="1015"/>
                    <a:pt x="756" y="1009"/>
                    <a:pt x="755" y="1012"/>
                  </a:cubicBezTo>
                  <a:cubicBezTo>
                    <a:pt x="758" y="1014"/>
                    <a:pt x="757" y="1016"/>
                    <a:pt x="759" y="1017"/>
                  </a:cubicBezTo>
                  <a:cubicBezTo>
                    <a:pt x="764" y="1016"/>
                    <a:pt x="764" y="1015"/>
                    <a:pt x="769" y="1015"/>
                  </a:cubicBezTo>
                  <a:cubicBezTo>
                    <a:pt x="771" y="1017"/>
                    <a:pt x="771" y="1019"/>
                    <a:pt x="770" y="1021"/>
                  </a:cubicBezTo>
                  <a:cubicBezTo>
                    <a:pt x="772" y="1021"/>
                    <a:pt x="771" y="1018"/>
                    <a:pt x="773" y="1019"/>
                  </a:cubicBezTo>
                  <a:cubicBezTo>
                    <a:pt x="776" y="1023"/>
                    <a:pt x="780" y="1021"/>
                    <a:pt x="785" y="1023"/>
                  </a:cubicBezTo>
                  <a:cubicBezTo>
                    <a:pt x="783" y="1019"/>
                    <a:pt x="780" y="1016"/>
                    <a:pt x="774" y="1016"/>
                  </a:cubicBezTo>
                  <a:cubicBezTo>
                    <a:pt x="772" y="1014"/>
                    <a:pt x="769" y="1012"/>
                    <a:pt x="767" y="1012"/>
                  </a:cubicBezTo>
                  <a:cubicBezTo>
                    <a:pt x="769" y="1009"/>
                    <a:pt x="764" y="1009"/>
                    <a:pt x="765" y="1008"/>
                  </a:cubicBezTo>
                  <a:cubicBezTo>
                    <a:pt x="769" y="1007"/>
                    <a:pt x="770" y="1010"/>
                    <a:pt x="772" y="1012"/>
                  </a:cubicBezTo>
                  <a:cubicBezTo>
                    <a:pt x="778" y="1012"/>
                    <a:pt x="787" y="1016"/>
                    <a:pt x="792" y="1020"/>
                  </a:cubicBezTo>
                  <a:cubicBezTo>
                    <a:pt x="792" y="1018"/>
                    <a:pt x="794" y="1014"/>
                    <a:pt x="793" y="1013"/>
                  </a:cubicBezTo>
                  <a:cubicBezTo>
                    <a:pt x="788" y="1016"/>
                    <a:pt x="784" y="1013"/>
                    <a:pt x="783" y="1008"/>
                  </a:cubicBezTo>
                  <a:cubicBezTo>
                    <a:pt x="786" y="1006"/>
                    <a:pt x="792" y="1008"/>
                    <a:pt x="789" y="1012"/>
                  </a:cubicBezTo>
                  <a:cubicBezTo>
                    <a:pt x="792" y="1008"/>
                    <a:pt x="797" y="1013"/>
                    <a:pt x="798" y="1008"/>
                  </a:cubicBezTo>
                  <a:cubicBezTo>
                    <a:pt x="796" y="1007"/>
                    <a:pt x="791" y="1008"/>
                    <a:pt x="792" y="1004"/>
                  </a:cubicBezTo>
                  <a:cubicBezTo>
                    <a:pt x="796" y="1004"/>
                    <a:pt x="802" y="1003"/>
                    <a:pt x="803" y="1007"/>
                  </a:cubicBezTo>
                  <a:cubicBezTo>
                    <a:pt x="803" y="1008"/>
                    <a:pt x="801" y="1008"/>
                    <a:pt x="802" y="1010"/>
                  </a:cubicBezTo>
                  <a:cubicBezTo>
                    <a:pt x="808" y="1009"/>
                    <a:pt x="811" y="1017"/>
                    <a:pt x="818" y="1018"/>
                  </a:cubicBezTo>
                  <a:cubicBezTo>
                    <a:pt x="818" y="1014"/>
                    <a:pt x="824" y="1017"/>
                    <a:pt x="825" y="1013"/>
                  </a:cubicBezTo>
                  <a:cubicBezTo>
                    <a:pt x="823" y="1013"/>
                    <a:pt x="821" y="1015"/>
                    <a:pt x="819" y="1013"/>
                  </a:cubicBezTo>
                  <a:cubicBezTo>
                    <a:pt x="820" y="1010"/>
                    <a:pt x="824" y="1010"/>
                    <a:pt x="825" y="1008"/>
                  </a:cubicBezTo>
                  <a:cubicBezTo>
                    <a:pt x="821" y="1008"/>
                    <a:pt x="815" y="1009"/>
                    <a:pt x="809" y="1011"/>
                  </a:cubicBezTo>
                  <a:cubicBezTo>
                    <a:pt x="810" y="1009"/>
                    <a:pt x="808" y="1008"/>
                    <a:pt x="808" y="1007"/>
                  </a:cubicBezTo>
                  <a:cubicBezTo>
                    <a:pt x="815" y="1005"/>
                    <a:pt x="824" y="1003"/>
                    <a:pt x="829" y="1008"/>
                  </a:cubicBezTo>
                  <a:cubicBezTo>
                    <a:pt x="829" y="1012"/>
                    <a:pt x="834" y="1012"/>
                    <a:pt x="834" y="1016"/>
                  </a:cubicBezTo>
                  <a:cubicBezTo>
                    <a:pt x="833" y="1017"/>
                    <a:pt x="828" y="1016"/>
                    <a:pt x="830" y="1018"/>
                  </a:cubicBezTo>
                  <a:cubicBezTo>
                    <a:pt x="834" y="1021"/>
                    <a:pt x="834" y="1014"/>
                    <a:pt x="837" y="1018"/>
                  </a:cubicBezTo>
                  <a:cubicBezTo>
                    <a:pt x="838" y="1015"/>
                    <a:pt x="841" y="1015"/>
                    <a:pt x="839" y="1012"/>
                  </a:cubicBezTo>
                  <a:cubicBezTo>
                    <a:pt x="837" y="1012"/>
                    <a:pt x="837" y="1016"/>
                    <a:pt x="835" y="1014"/>
                  </a:cubicBezTo>
                  <a:cubicBezTo>
                    <a:pt x="838" y="1011"/>
                    <a:pt x="836" y="1010"/>
                    <a:pt x="835" y="1006"/>
                  </a:cubicBezTo>
                  <a:cubicBezTo>
                    <a:pt x="840" y="1010"/>
                    <a:pt x="844" y="1005"/>
                    <a:pt x="850" y="1005"/>
                  </a:cubicBezTo>
                  <a:cubicBezTo>
                    <a:pt x="852" y="1008"/>
                    <a:pt x="856" y="1013"/>
                    <a:pt x="862" y="1010"/>
                  </a:cubicBezTo>
                  <a:cubicBezTo>
                    <a:pt x="860" y="1008"/>
                    <a:pt x="855" y="1009"/>
                    <a:pt x="855" y="1005"/>
                  </a:cubicBezTo>
                  <a:cubicBezTo>
                    <a:pt x="862" y="1009"/>
                    <a:pt x="869" y="1007"/>
                    <a:pt x="877" y="1005"/>
                  </a:cubicBezTo>
                  <a:cubicBezTo>
                    <a:pt x="878" y="1006"/>
                    <a:pt x="877" y="1008"/>
                    <a:pt x="879" y="1008"/>
                  </a:cubicBezTo>
                  <a:cubicBezTo>
                    <a:pt x="880" y="1007"/>
                    <a:pt x="882" y="1005"/>
                    <a:pt x="884" y="1004"/>
                  </a:cubicBezTo>
                  <a:cubicBezTo>
                    <a:pt x="891" y="1007"/>
                    <a:pt x="897" y="1004"/>
                    <a:pt x="905" y="1007"/>
                  </a:cubicBezTo>
                  <a:cubicBezTo>
                    <a:pt x="906" y="1003"/>
                    <a:pt x="906" y="1000"/>
                    <a:pt x="910" y="999"/>
                  </a:cubicBezTo>
                  <a:cubicBezTo>
                    <a:pt x="911" y="999"/>
                    <a:pt x="912" y="999"/>
                    <a:pt x="912" y="1000"/>
                  </a:cubicBezTo>
                  <a:cubicBezTo>
                    <a:pt x="911" y="1003"/>
                    <a:pt x="910" y="1004"/>
                    <a:pt x="912" y="1006"/>
                  </a:cubicBezTo>
                  <a:cubicBezTo>
                    <a:pt x="917" y="1004"/>
                    <a:pt x="927" y="1008"/>
                    <a:pt x="929" y="1001"/>
                  </a:cubicBezTo>
                  <a:cubicBezTo>
                    <a:pt x="926" y="999"/>
                    <a:pt x="926" y="994"/>
                    <a:pt x="918" y="995"/>
                  </a:cubicBezTo>
                  <a:cubicBezTo>
                    <a:pt x="916" y="995"/>
                    <a:pt x="917" y="998"/>
                    <a:pt x="915" y="997"/>
                  </a:cubicBezTo>
                  <a:cubicBezTo>
                    <a:pt x="912" y="998"/>
                    <a:pt x="913" y="994"/>
                    <a:pt x="910" y="995"/>
                  </a:cubicBezTo>
                  <a:cubicBezTo>
                    <a:pt x="907" y="998"/>
                    <a:pt x="902" y="998"/>
                    <a:pt x="899" y="995"/>
                  </a:cubicBezTo>
                  <a:cubicBezTo>
                    <a:pt x="898" y="998"/>
                    <a:pt x="896" y="996"/>
                    <a:pt x="892" y="997"/>
                  </a:cubicBezTo>
                  <a:cubicBezTo>
                    <a:pt x="890" y="999"/>
                    <a:pt x="895" y="999"/>
                    <a:pt x="893" y="1000"/>
                  </a:cubicBezTo>
                  <a:cubicBezTo>
                    <a:pt x="892" y="1000"/>
                    <a:pt x="890" y="1000"/>
                    <a:pt x="889" y="1000"/>
                  </a:cubicBezTo>
                  <a:cubicBezTo>
                    <a:pt x="889" y="998"/>
                    <a:pt x="889" y="997"/>
                    <a:pt x="888" y="997"/>
                  </a:cubicBezTo>
                  <a:cubicBezTo>
                    <a:pt x="876" y="994"/>
                    <a:pt x="861" y="994"/>
                    <a:pt x="845" y="996"/>
                  </a:cubicBezTo>
                  <a:cubicBezTo>
                    <a:pt x="843" y="987"/>
                    <a:pt x="837" y="982"/>
                    <a:pt x="830" y="977"/>
                  </a:cubicBezTo>
                  <a:cubicBezTo>
                    <a:pt x="826" y="983"/>
                    <a:pt x="820" y="988"/>
                    <a:pt x="817" y="996"/>
                  </a:cubicBezTo>
                  <a:cubicBezTo>
                    <a:pt x="820" y="996"/>
                    <a:pt x="822" y="998"/>
                    <a:pt x="824" y="999"/>
                  </a:cubicBezTo>
                  <a:cubicBezTo>
                    <a:pt x="821" y="1002"/>
                    <a:pt x="815" y="998"/>
                    <a:pt x="813" y="1003"/>
                  </a:cubicBezTo>
                  <a:cubicBezTo>
                    <a:pt x="814" y="1001"/>
                    <a:pt x="811" y="1001"/>
                    <a:pt x="811" y="1000"/>
                  </a:cubicBezTo>
                  <a:cubicBezTo>
                    <a:pt x="813" y="999"/>
                    <a:pt x="815" y="999"/>
                    <a:pt x="816" y="997"/>
                  </a:cubicBezTo>
                  <a:cubicBezTo>
                    <a:pt x="811" y="995"/>
                    <a:pt x="797" y="995"/>
                    <a:pt x="793" y="998"/>
                  </a:cubicBezTo>
                  <a:cubicBezTo>
                    <a:pt x="793" y="999"/>
                    <a:pt x="797" y="998"/>
                    <a:pt x="797" y="999"/>
                  </a:cubicBezTo>
                  <a:cubicBezTo>
                    <a:pt x="795" y="1004"/>
                    <a:pt x="788" y="998"/>
                    <a:pt x="789" y="995"/>
                  </a:cubicBezTo>
                  <a:cubicBezTo>
                    <a:pt x="777" y="998"/>
                    <a:pt x="759" y="993"/>
                    <a:pt x="748" y="996"/>
                  </a:cubicBezTo>
                  <a:cubicBezTo>
                    <a:pt x="751" y="997"/>
                    <a:pt x="753" y="998"/>
                    <a:pt x="757" y="999"/>
                  </a:cubicBezTo>
                  <a:cubicBezTo>
                    <a:pt x="753" y="1000"/>
                    <a:pt x="750" y="1001"/>
                    <a:pt x="748" y="1003"/>
                  </a:cubicBezTo>
                  <a:cubicBezTo>
                    <a:pt x="748" y="1002"/>
                    <a:pt x="746" y="1002"/>
                    <a:pt x="746" y="1001"/>
                  </a:cubicBezTo>
                  <a:cubicBezTo>
                    <a:pt x="744" y="999"/>
                    <a:pt x="747" y="1000"/>
                    <a:pt x="747" y="998"/>
                  </a:cubicBezTo>
                  <a:cubicBezTo>
                    <a:pt x="744" y="995"/>
                    <a:pt x="737" y="995"/>
                    <a:pt x="730" y="996"/>
                  </a:cubicBezTo>
                  <a:cubicBezTo>
                    <a:pt x="729" y="999"/>
                    <a:pt x="733" y="997"/>
                    <a:pt x="733" y="1000"/>
                  </a:cubicBezTo>
                  <a:cubicBezTo>
                    <a:pt x="729" y="1000"/>
                    <a:pt x="730" y="1003"/>
                    <a:pt x="726" y="1001"/>
                  </a:cubicBezTo>
                  <a:cubicBezTo>
                    <a:pt x="726" y="1000"/>
                    <a:pt x="726" y="997"/>
                    <a:pt x="725" y="996"/>
                  </a:cubicBezTo>
                  <a:cubicBezTo>
                    <a:pt x="722" y="995"/>
                    <a:pt x="718" y="996"/>
                    <a:pt x="718" y="991"/>
                  </a:cubicBezTo>
                  <a:cubicBezTo>
                    <a:pt x="719" y="989"/>
                    <a:pt x="722" y="993"/>
                    <a:pt x="722" y="990"/>
                  </a:cubicBezTo>
                  <a:cubicBezTo>
                    <a:pt x="725" y="962"/>
                    <a:pt x="731" y="936"/>
                    <a:pt x="736" y="908"/>
                  </a:cubicBezTo>
                  <a:cubicBezTo>
                    <a:pt x="746" y="853"/>
                    <a:pt x="755" y="797"/>
                    <a:pt x="764" y="742"/>
                  </a:cubicBezTo>
                  <a:cubicBezTo>
                    <a:pt x="768" y="719"/>
                    <a:pt x="774" y="695"/>
                    <a:pt x="775" y="673"/>
                  </a:cubicBezTo>
                  <a:cubicBezTo>
                    <a:pt x="775" y="666"/>
                    <a:pt x="777" y="662"/>
                    <a:pt x="778" y="656"/>
                  </a:cubicBezTo>
                  <a:cubicBezTo>
                    <a:pt x="781" y="636"/>
                    <a:pt x="782" y="617"/>
                    <a:pt x="785" y="598"/>
                  </a:cubicBezTo>
                  <a:cubicBezTo>
                    <a:pt x="770" y="583"/>
                    <a:pt x="754" y="568"/>
                    <a:pt x="740" y="552"/>
                  </a:cubicBezTo>
                  <a:cubicBezTo>
                    <a:pt x="744" y="552"/>
                    <a:pt x="746" y="555"/>
                    <a:pt x="747" y="559"/>
                  </a:cubicBezTo>
                  <a:cubicBezTo>
                    <a:pt x="761" y="569"/>
                    <a:pt x="771" y="584"/>
                    <a:pt x="785" y="596"/>
                  </a:cubicBezTo>
                  <a:cubicBezTo>
                    <a:pt x="788" y="581"/>
                    <a:pt x="788" y="564"/>
                    <a:pt x="791" y="550"/>
                  </a:cubicBezTo>
                  <a:cubicBezTo>
                    <a:pt x="775" y="549"/>
                    <a:pt x="753" y="548"/>
                    <a:pt x="738" y="550"/>
                  </a:cubicBezTo>
                  <a:cubicBezTo>
                    <a:pt x="732" y="548"/>
                    <a:pt x="724" y="549"/>
                    <a:pt x="719" y="551"/>
                  </a:cubicBezTo>
                  <a:cubicBezTo>
                    <a:pt x="724" y="564"/>
                    <a:pt x="717" y="586"/>
                    <a:pt x="722" y="600"/>
                  </a:cubicBezTo>
                  <a:cubicBezTo>
                    <a:pt x="721" y="601"/>
                    <a:pt x="721" y="603"/>
                    <a:pt x="720" y="604"/>
                  </a:cubicBezTo>
                  <a:cubicBezTo>
                    <a:pt x="722" y="606"/>
                    <a:pt x="724" y="607"/>
                    <a:pt x="723" y="611"/>
                  </a:cubicBezTo>
                  <a:cubicBezTo>
                    <a:pt x="721" y="613"/>
                    <a:pt x="719" y="607"/>
                    <a:pt x="719" y="611"/>
                  </a:cubicBezTo>
                  <a:cubicBezTo>
                    <a:pt x="721" y="616"/>
                    <a:pt x="728" y="621"/>
                    <a:pt x="732" y="627"/>
                  </a:cubicBezTo>
                  <a:cubicBezTo>
                    <a:pt x="730" y="627"/>
                    <a:pt x="729" y="626"/>
                    <a:pt x="727" y="626"/>
                  </a:cubicBezTo>
                  <a:cubicBezTo>
                    <a:pt x="724" y="623"/>
                    <a:pt x="721" y="619"/>
                    <a:pt x="717" y="616"/>
                  </a:cubicBezTo>
                  <a:cubicBezTo>
                    <a:pt x="714" y="617"/>
                    <a:pt x="713" y="618"/>
                    <a:pt x="712" y="614"/>
                  </a:cubicBezTo>
                  <a:cubicBezTo>
                    <a:pt x="714" y="613"/>
                    <a:pt x="717" y="617"/>
                    <a:pt x="717" y="613"/>
                  </a:cubicBezTo>
                  <a:cubicBezTo>
                    <a:pt x="717" y="611"/>
                    <a:pt x="713" y="612"/>
                    <a:pt x="714" y="608"/>
                  </a:cubicBezTo>
                  <a:cubicBezTo>
                    <a:pt x="720" y="591"/>
                    <a:pt x="715" y="570"/>
                    <a:pt x="717" y="551"/>
                  </a:cubicBezTo>
                  <a:cubicBezTo>
                    <a:pt x="717" y="549"/>
                    <a:pt x="714" y="550"/>
                    <a:pt x="714" y="548"/>
                  </a:cubicBezTo>
                  <a:cubicBezTo>
                    <a:pt x="719" y="544"/>
                    <a:pt x="727" y="545"/>
                    <a:pt x="730" y="539"/>
                  </a:cubicBezTo>
                  <a:cubicBezTo>
                    <a:pt x="746" y="536"/>
                    <a:pt x="758" y="528"/>
                    <a:pt x="773" y="523"/>
                  </a:cubicBezTo>
                  <a:cubicBezTo>
                    <a:pt x="773" y="520"/>
                    <a:pt x="767" y="520"/>
                    <a:pt x="768" y="518"/>
                  </a:cubicBezTo>
                  <a:cubicBezTo>
                    <a:pt x="773" y="518"/>
                    <a:pt x="773" y="523"/>
                    <a:pt x="778" y="521"/>
                  </a:cubicBezTo>
                  <a:cubicBezTo>
                    <a:pt x="778" y="519"/>
                    <a:pt x="775" y="520"/>
                    <a:pt x="776" y="518"/>
                  </a:cubicBezTo>
                  <a:cubicBezTo>
                    <a:pt x="778" y="518"/>
                    <a:pt x="780" y="521"/>
                    <a:pt x="782" y="519"/>
                  </a:cubicBezTo>
                  <a:cubicBezTo>
                    <a:pt x="785" y="518"/>
                    <a:pt x="780" y="516"/>
                    <a:pt x="782" y="516"/>
                  </a:cubicBezTo>
                  <a:cubicBezTo>
                    <a:pt x="787" y="519"/>
                    <a:pt x="789" y="516"/>
                    <a:pt x="793" y="515"/>
                  </a:cubicBezTo>
                  <a:cubicBezTo>
                    <a:pt x="796" y="503"/>
                    <a:pt x="796" y="488"/>
                    <a:pt x="797" y="475"/>
                  </a:cubicBezTo>
                  <a:cubicBezTo>
                    <a:pt x="797" y="468"/>
                    <a:pt x="800" y="453"/>
                    <a:pt x="799" y="449"/>
                  </a:cubicBezTo>
                  <a:cubicBezTo>
                    <a:pt x="798" y="443"/>
                    <a:pt x="790" y="440"/>
                    <a:pt x="788" y="435"/>
                  </a:cubicBezTo>
                  <a:cubicBezTo>
                    <a:pt x="755" y="435"/>
                    <a:pt x="724" y="437"/>
                    <a:pt x="696" y="438"/>
                  </a:cubicBezTo>
                  <a:cubicBezTo>
                    <a:pt x="699" y="447"/>
                    <a:pt x="694" y="458"/>
                    <a:pt x="698" y="464"/>
                  </a:cubicBezTo>
                  <a:cubicBezTo>
                    <a:pt x="705" y="467"/>
                    <a:pt x="712" y="471"/>
                    <a:pt x="717" y="476"/>
                  </a:cubicBezTo>
                  <a:cubicBezTo>
                    <a:pt x="736" y="487"/>
                    <a:pt x="755" y="499"/>
                    <a:pt x="774" y="511"/>
                  </a:cubicBezTo>
                  <a:cubicBezTo>
                    <a:pt x="777" y="511"/>
                    <a:pt x="780" y="514"/>
                    <a:pt x="779" y="515"/>
                  </a:cubicBezTo>
                  <a:cubicBezTo>
                    <a:pt x="772" y="512"/>
                    <a:pt x="766" y="507"/>
                    <a:pt x="759" y="504"/>
                  </a:cubicBezTo>
                  <a:cubicBezTo>
                    <a:pt x="756" y="499"/>
                    <a:pt x="748" y="499"/>
                    <a:pt x="746" y="494"/>
                  </a:cubicBezTo>
                  <a:cubicBezTo>
                    <a:pt x="733" y="489"/>
                    <a:pt x="726" y="480"/>
                    <a:pt x="713" y="476"/>
                  </a:cubicBezTo>
                  <a:cubicBezTo>
                    <a:pt x="709" y="472"/>
                    <a:pt x="703" y="466"/>
                    <a:pt x="697" y="466"/>
                  </a:cubicBezTo>
                  <a:cubicBezTo>
                    <a:pt x="694" y="472"/>
                    <a:pt x="706" y="472"/>
                    <a:pt x="705" y="476"/>
                  </a:cubicBezTo>
                  <a:cubicBezTo>
                    <a:pt x="702" y="476"/>
                    <a:pt x="701" y="473"/>
                    <a:pt x="698" y="472"/>
                  </a:cubicBezTo>
                  <a:cubicBezTo>
                    <a:pt x="697" y="475"/>
                    <a:pt x="697" y="480"/>
                    <a:pt x="697" y="486"/>
                  </a:cubicBezTo>
                  <a:cubicBezTo>
                    <a:pt x="699" y="487"/>
                    <a:pt x="701" y="488"/>
                    <a:pt x="702" y="490"/>
                  </a:cubicBezTo>
                  <a:cubicBezTo>
                    <a:pt x="700" y="493"/>
                    <a:pt x="698" y="497"/>
                    <a:pt x="700" y="501"/>
                  </a:cubicBezTo>
                  <a:cubicBezTo>
                    <a:pt x="699" y="500"/>
                    <a:pt x="697" y="497"/>
                    <a:pt x="694" y="498"/>
                  </a:cubicBezTo>
                  <a:cubicBezTo>
                    <a:pt x="703" y="512"/>
                    <a:pt x="719" y="525"/>
                    <a:pt x="729" y="539"/>
                  </a:cubicBezTo>
                  <a:cubicBezTo>
                    <a:pt x="718" y="531"/>
                    <a:pt x="710" y="519"/>
                    <a:pt x="699" y="511"/>
                  </a:cubicBezTo>
                  <a:cubicBezTo>
                    <a:pt x="699" y="510"/>
                    <a:pt x="698" y="508"/>
                    <a:pt x="698" y="507"/>
                  </a:cubicBezTo>
                  <a:cubicBezTo>
                    <a:pt x="695" y="503"/>
                    <a:pt x="690" y="505"/>
                    <a:pt x="689" y="501"/>
                  </a:cubicBezTo>
                  <a:cubicBezTo>
                    <a:pt x="691" y="500"/>
                    <a:pt x="693" y="505"/>
                    <a:pt x="693" y="501"/>
                  </a:cubicBezTo>
                  <a:cubicBezTo>
                    <a:pt x="689" y="497"/>
                    <a:pt x="690" y="494"/>
                    <a:pt x="693" y="490"/>
                  </a:cubicBezTo>
                  <a:cubicBezTo>
                    <a:pt x="691" y="481"/>
                    <a:pt x="695" y="471"/>
                    <a:pt x="690" y="467"/>
                  </a:cubicBezTo>
                  <a:cubicBezTo>
                    <a:pt x="692" y="466"/>
                    <a:pt x="694" y="466"/>
                    <a:pt x="693" y="464"/>
                  </a:cubicBezTo>
                  <a:cubicBezTo>
                    <a:pt x="685" y="454"/>
                    <a:pt x="671" y="450"/>
                    <a:pt x="662" y="441"/>
                  </a:cubicBezTo>
                  <a:cubicBezTo>
                    <a:pt x="641" y="431"/>
                    <a:pt x="625" y="416"/>
                    <a:pt x="605" y="406"/>
                  </a:cubicBezTo>
                  <a:cubicBezTo>
                    <a:pt x="604" y="407"/>
                    <a:pt x="604" y="407"/>
                    <a:pt x="603" y="408"/>
                  </a:cubicBezTo>
                  <a:cubicBezTo>
                    <a:pt x="626" y="427"/>
                    <a:pt x="653" y="439"/>
                    <a:pt x="677" y="458"/>
                  </a:cubicBezTo>
                  <a:cubicBezTo>
                    <a:pt x="652" y="445"/>
                    <a:pt x="627" y="426"/>
                    <a:pt x="601" y="411"/>
                  </a:cubicBezTo>
                  <a:cubicBezTo>
                    <a:pt x="610" y="422"/>
                    <a:pt x="626" y="427"/>
                    <a:pt x="636" y="437"/>
                  </a:cubicBezTo>
                  <a:cubicBezTo>
                    <a:pt x="637" y="437"/>
                    <a:pt x="639" y="437"/>
                    <a:pt x="640" y="437"/>
                  </a:cubicBezTo>
                  <a:cubicBezTo>
                    <a:pt x="644" y="444"/>
                    <a:pt x="656" y="446"/>
                    <a:pt x="659" y="452"/>
                  </a:cubicBezTo>
                  <a:cubicBezTo>
                    <a:pt x="637" y="439"/>
                    <a:pt x="614" y="425"/>
                    <a:pt x="593" y="410"/>
                  </a:cubicBezTo>
                  <a:cubicBezTo>
                    <a:pt x="595" y="408"/>
                    <a:pt x="593" y="408"/>
                    <a:pt x="593" y="406"/>
                  </a:cubicBezTo>
                  <a:cubicBezTo>
                    <a:pt x="564" y="385"/>
                    <a:pt x="533" y="367"/>
                    <a:pt x="504" y="345"/>
                  </a:cubicBezTo>
                  <a:cubicBezTo>
                    <a:pt x="476" y="329"/>
                    <a:pt x="451" y="309"/>
                    <a:pt x="423" y="292"/>
                  </a:cubicBezTo>
                  <a:cubicBezTo>
                    <a:pt x="415" y="286"/>
                    <a:pt x="407" y="279"/>
                    <a:pt x="397" y="274"/>
                  </a:cubicBezTo>
                  <a:cubicBezTo>
                    <a:pt x="395" y="271"/>
                    <a:pt x="392" y="269"/>
                    <a:pt x="388" y="268"/>
                  </a:cubicBezTo>
                  <a:cubicBezTo>
                    <a:pt x="314" y="216"/>
                    <a:pt x="240" y="164"/>
                    <a:pt x="165" y="112"/>
                  </a:cubicBezTo>
                  <a:cubicBezTo>
                    <a:pt x="143" y="96"/>
                    <a:pt x="121" y="79"/>
                    <a:pt x="99" y="64"/>
                  </a:cubicBezTo>
                  <a:cubicBezTo>
                    <a:pt x="91" y="59"/>
                    <a:pt x="84" y="52"/>
                    <a:pt x="75" y="49"/>
                  </a:cubicBezTo>
                  <a:cubicBezTo>
                    <a:pt x="128" y="89"/>
                    <a:pt x="184" y="128"/>
                    <a:pt x="239" y="166"/>
                  </a:cubicBezTo>
                  <a:cubicBezTo>
                    <a:pt x="308" y="217"/>
                    <a:pt x="381" y="264"/>
                    <a:pt x="451" y="314"/>
                  </a:cubicBezTo>
                  <a:cubicBezTo>
                    <a:pt x="471" y="325"/>
                    <a:pt x="487" y="339"/>
                    <a:pt x="506" y="350"/>
                  </a:cubicBezTo>
                  <a:cubicBezTo>
                    <a:pt x="513" y="355"/>
                    <a:pt x="520" y="360"/>
                    <a:pt x="528" y="364"/>
                  </a:cubicBezTo>
                  <a:cubicBezTo>
                    <a:pt x="528" y="366"/>
                    <a:pt x="530" y="366"/>
                    <a:pt x="530" y="367"/>
                  </a:cubicBezTo>
                  <a:cubicBezTo>
                    <a:pt x="540" y="372"/>
                    <a:pt x="549" y="378"/>
                    <a:pt x="557" y="385"/>
                  </a:cubicBezTo>
                  <a:cubicBezTo>
                    <a:pt x="568" y="391"/>
                    <a:pt x="578" y="398"/>
                    <a:pt x="588" y="406"/>
                  </a:cubicBezTo>
                  <a:cubicBezTo>
                    <a:pt x="590" y="405"/>
                    <a:pt x="593" y="408"/>
                    <a:pt x="592" y="409"/>
                  </a:cubicBezTo>
                  <a:cubicBezTo>
                    <a:pt x="489" y="344"/>
                    <a:pt x="392" y="274"/>
                    <a:pt x="291" y="207"/>
                  </a:cubicBezTo>
                  <a:cubicBezTo>
                    <a:pt x="220" y="155"/>
                    <a:pt x="146" y="106"/>
                    <a:pt x="75" y="54"/>
                  </a:cubicBezTo>
                  <a:cubicBezTo>
                    <a:pt x="73" y="53"/>
                    <a:pt x="71" y="53"/>
                    <a:pt x="69" y="52"/>
                  </a:cubicBezTo>
                  <a:cubicBezTo>
                    <a:pt x="69" y="51"/>
                    <a:pt x="68" y="51"/>
                    <a:pt x="68" y="49"/>
                  </a:cubicBezTo>
                  <a:cubicBezTo>
                    <a:pt x="60" y="44"/>
                    <a:pt x="52" y="39"/>
                    <a:pt x="45" y="34"/>
                  </a:cubicBezTo>
                  <a:cubicBezTo>
                    <a:pt x="38" y="30"/>
                    <a:pt x="32" y="23"/>
                    <a:pt x="25" y="18"/>
                  </a:cubicBezTo>
                  <a:cubicBezTo>
                    <a:pt x="17" y="13"/>
                    <a:pt x="5" y="6"/>
                    <a:pt x="0" y="0"/>
                  </a:cubicBezTo>
                  <a:close/>
                  <a:moveTo>
                    <a:pt x="918" y="593"/>
                  </a:moveTo>
                  <a:cubicBezTo>
                    <a:pt x="917" y="595"/>
                    <a:pt x="919" y="595"/>
                    <a:pt x="920" y="596"/>
                  </a:cubicBezTo>
                  <a:cubicBezTo>
                    <a:pt x="921" y="595"/>
                    <a:pt x="921" y="594"/>
                    <a:pt x="921" y="593"/>
                  </a:cubicBezTo>
                  <a:cubicBezTo>
                    <a:pt x="920" y="593"/>
                    <a:pt x="919" y="593"/>
                    <a:pt x="918" y="593"/>
                  </a:cubicBezTo>
                  <a:close/>
                  <a:moveTo>
                    <a:pt x="721" y="1021"/>
                  </a:moveTo>
                  <a:cubicBezTo>
                    <a:pt x="723" y="1021"/>
                    <a:pt x="724" y="1022"/>
                    <a:pt x="726" y="1021"/>
                  </a:cubicBezTo>
                  <a:cubicBezTo>
                    <a:pt x="725" y="1019"/>
                    <a:pt x="722" y="1019"/>
                    <a:pt x="721" y="1021"/>
                  </a:cubicBezTo>
                  <a:close/>
                  <a:moveTo>
                    <a:pt x="586" y="393"/>
                  </a:moveTo>
                  <a:cubicBezTo>
                    <a:pt x="548" y="366"/>
                    <a:pt x="509" y="340"/>
                    <a:pt x="471" y="313"/>
                  </a:cubicBezTo>
                  <a:cubicBezTo>
                    <a:pt x="361" y="238"/>
                    <a:pt x="252" y="160"/>
                    <a:pt x="145" y="82"/>
                  </a:cubicBezTo>
                  <a:cubicBezTo>
                    <a:pt x="123" y="67"/>
                    <a:pt x="102" y="50"/>
                    <a:pt x="80" y="36"/>
                  </a:cubicBezTo>
                  <a:cubicBezTo>
                    <a:pt x="80" y="36"/>
                    <a:pt x="79" y="36"/>
                    <a:pt x="79" y="36"/>
                  </a:cubicBezTo>
                  <a:cubicBezTo>
                    <a:pt x="79" y="40"/>
                    <a:pt x="78" y="42"/>
                    <a:pt x="77" y="45"/>
                  </a:cubicBezTo>
                  <a:cubicBezTo>
                    <a:pt x="229" y="153"/>
                    <a:pt x="379" y="261"/>
                    <a:pt x="535" y="364"/>
                  </a:cubicBezTo>
                  <a:cubicBezTo>
                    <a:pt x="553" y="376"/>
                    <a:pt x="573" y="391"/>
                    <a:pt x="593" y="402"/>
                  </a:cubicBezTo>
                  <a:cubicBezTo>
                    <a:pt x="594" y="403"/>
                    <a:pt x="599" y="408"/>
                    <a:pt x="601" y="404"/>
                  </a:cubicBezTo>
                  <a:cubicBezTo>
                    <a:pt x="598" y="398"/>
                    <a:pt x="591" y="396"/>
                    <a:pt x="586" y="393"/>
                  </a:cubicBezTo>
                  <a:close/>
                  <a:moveTo>
                    <a:pt x="75" y="42"/>
                  </a:moveTo>
                  <a:cubicBezTo>
                    <a:pt x="75" y="39"/>
                    <a:pt x="73" y="38"/>
                    <a:pt x="70" y="38"/>
                  </a:cubicBezTo>
                  <a:cubicBezTo>
                    <a:pt x="70" y="41"/>
                    <a:pt x="72" y="42"/>
                    <a:pt x="75" y="42"/>
                  </a:cubicBezTo>
                  <a:close/>
                  <a:moveTo>
                    <a:pt x="825" y="236"/>
                  </a:moveTo>
                  <a:cubicBezTo>
                    <a:pt x="824" y="235"/>
                    <a:pt x="826" y="232"/>
                    <a:pt x="824" y="231"/>
                  </a:cubicBezTo>
                  <a:cubicBezTo>
                    <a:pt x="822" y="232"/>
                    <a:pt x="822" y="236"/>
                    <a:pt x="825" y="236"/>
                  </a:cubicBezTo>
                  <a:close/>
                  <a:moveTo>
                    <a:pt x="819" y="257"/>
                  </a:moveTo>
                  <a:cubicBezTo>
                    <a:pt x="825" y="255"/>
                    <a:pt x="822" y="262"/>
                    <a:pt x="827" y="261"/>
                  </a:cubicBezTo>
                  <a:cubicBezTo>
                    <a:pt x="828" y="253"/>
                    <a:pt x="826" y="247"/>
                    <a:pt x="820" y="242"/>
                  </a:cubicBezTo>
                  <a:cubicBezTo>
                    <a:pt x="820" y="239"/>
                    <a:pt x="821" y="235"/>
                    <a:pt x="819" y="234"/>
                  </a:cubicBezTo>
                  <a:cubicBezTo>
                    <a:pt x="818" y="242"/>
                    <a:pt x="819" y="249"/>
                    <a:pt x="819" y="257"/>
                  </a:cubicBezTo>
                  <a:close/>
                  <a:moveTo>
                    <a:pt x="817" y="270"/>
                  </a:moveTo>
                  <a:cubicBezTo>
                    <a:pt x="818" y="270"/>
                    <a:pt x="818" y="270"/>
                    <a:pt x="819" y="270"/>
                  </a:cubicBezTo>
                  <a:cubicBezTo>
                    <a:pt x="820" y="268"/>
                    <a:pt x="819" y="267"/>
                    <a:pt x="819" y="266"/>
                  </a:cubicBezTo>
                  <a:cubicBezTo>
                    <a:pt x="818" y="266"/>
                    <a:pt x="817" y="266"/>
                    <a:pt x="817" y="266"/>
                  </a:cubicBezTo>
                  <a:cubicBezTo>
                    <a:pt x="817" y="268"/>
                    <a:pt x="817" y="269"/>
                    <a:pt x="817" y="270"/>
                  </a:cubicBezTo>
                  <a:close/>
                  <a:moveTo>
                    <a:pt x="826" y="270"/>
                  </a:moveTo>
                  <a:cubicBezTo>
                    <a:pt x="827" y="267"/>
                    <a:pt x="826" y="267"/>
                    <a:pt x="823" y="267"/>
                  </a:cubicBezTo>
                  <a:cubicBezTo>
                    <a:pt x="823" y="269"/>
                    <a:pt x="825" y="269"/>
                    <a:pt x="826" y="270"/>
                  </a:cubicBezTo>
                  <a:close/>
                  <a:moveTo>
                    <a:pt x="789" y="282"/>
                  </a:moveTo>
                  <a:cubicBezTo>
                    <a:pt x="797" y="280"/>
                    <a:pt x="805" y="280"/>
                    <a:pt x="809" y="275"/>
                  </a:cubicBezTo>
                  <a:cubicBezTo>
                    <a:pt x="801" y="275"/>
                    <a:pt x="795" y="279"/>
                    <a:pt x="789" y="282"/>
                  </a:cubicBezTo>
                  <a:close/>
                  <a:moveTo>
                    <a:pt x="830" y="281"/>
                  </a:moveTo>
                  <a:cubicBezTo>
                    <a:pt x="830" y="280"/>
                    <a:pt x="830" y="278"/>
                    <a:pt x="828" y="278"/>
                  </a:cubicBezTo>
                  <a:cubicBezTo>
                    <a:pt x="827" y="279"/>
                    <a:pt x="828" y="281"/>
                    <a:pt x="830" y="281"/>
                  </a:cubicBezTo>
                  <a:close/>
                  <a:moveTo>
                    <a:pt x="817" y="287"/>
                  </a:moveTo>
                  <a:cubicBezTo>
                    <a:pt x="818" y="284"/>
                    <a:pt x="820" y="282"/>
                    <a:pt x="821" y="278"/>
                  </a:cubicBezTo>
                  <a:cubicBezTo>
                    <a:pt x="816" y="277"/>
                    <a:pt x="813" y="285"/>
                    <a:pt x="817" y="287"/>
                  </a:cubicBezTo>
                  <a:close/>
                  <a:moveTo>
                    <a:pt x="836" y="279"/>
                  </a:moveTo>
                  <a:cubicBezTo>
                    <a:pt x="836" y="282"/>
                    <a:pt x="838" y="283"/>
                    <a:pt x="841" y="284"/>
                  </a:cubicBezTo>
                  <a:cubicBezTo>
                    <a:pt x="842" y="281"/>
                    <a:pt x="845" y="281"/>
                    <a:pt x="847" y="279"/>
                  </a:cubicBezTo>
                  <a:cubicBezTo>
                    <a:pt x="843" y="280"/>
                    <a:pt x="838" y="278"/>
                    <a:pt x="836" y="279"/>
                  </a:cubicBezTo>
                  <a:close/>
                  <a:moveTo>
                    <a:pt x="820" y="287"/>
                  </a:moveTo>
                  <a:cubicBezTo>
                    <a:pt x="822" y="288"/>
                    <a:pt x="825" y="287"/>
                    <a:pt x="828" y="287"/>
                  </a:cubicBezTo>
                  <a:cubicBezTo>
                    <a:pt x="828" y="283"/>
                    <a:pt x="826" y="282"/>
                    <a:pt x="824" y="280"/>
                  </a:cubicBezTo>
                  <a:cubicBezTo>
                    <a:pt x="822" y="282"/>
                    <a:pt x="821" y="285"/>
                    <a:pt x="820" y="287"/>
                  </a:cubicBezTo>
                  <a:close/>
                  <a:moveTo>
                    <a:pt x="842" y="285"/>
                  </a:moveTo>
                  <a:cubicBezTo>
                    <a:pt x="846" y="286"/>
                    <a:pt x="853" y="285"/>
                    <a:pt x="855" y="281"/>
                  </a:cubicBezTo>
                  <a:cubicBezTo>
                    <a:pt x="849" y="280"/>
                    <a:pt x="846" y="284"/>
                    <a:pt x="842" y="285"/>
                  </a:cubicBezTo>
                  <a:close/>
                  <a:moveTo>
                    <a:pt x="794" y="287"/>
                  </a:moveTo>
                  <a:cubicBezTo>
                    <a:pt x="798" y="287"/>
                    <a:pt x="801" y="288"/>
                    <a:pt x="807" y="288"/>
                  </a:cubicBezTo>
                  <a:cubicBezTo>
                    <a:pt x="807" y="285"/>
                    <a:pt x="807" y="283"/>
                    <a:pt x="808" y="281"/>
                  </a:cubicBezTo>
                  <a:cubicBezTo>
                    <a:pt x="802" y="283"/>
                    <a:pt x="797" y="282"/>
                    <a:pt x="794" y="287"/>
                  </a:cubicBezTo>
                  <a:close/>
                  <a:moveTo>
                    <a:pt x="861" y="285"/>
                  </a:moveTo>
                  <a:cubicBezTo>
                    <a:pt x="866" y="285"/>
                    <a:pt x="871" y="286"/>
                    <a:pt x="873" y="283"/>
                  </a:cubicBezTo>
                  <a:cubicBezTo>
                    <a:pt x="870" y="282"/>
                    <a:pt x="865" y="283"/>
                    <a:pt x="862" y="282"/>
                  </a:cubicBezTo>
                  <a:cubicBezTo>
                    <a:pt x="861" y="283"/>
                    <a:pt x="861" y="284"/>
                    <a:pt x="861" y="285"/>
                  </a:cubicBezTo>
                  <a:close/>
                  <a:moveTo>
                    <a:pt x="854" y="285"/>
                  </a:moveTo>
                  <a:cubicBezTo>
                    <a:pt x="855" y="287"/>
                    <a:pt x="860" y="284"/>
                    <a:pt x="856" y="283"/>
                  </a:cubicBezTo>
                  <a:cubicBezTo>
                    <a:pt x="856" y="285"/>
                    <a:pt x="854" y="284"/>
                    <a:pt x="854" y="285"/>
                  </a:cubicBezTo>
                  <a:close/>
                  <a:moveTo>
                    <a:pt x="787" y="288"/>
                  </a:moveTo>
                  <a:cubicBezTo>
                    <a:pt x="787" y="289"/>
                    <a:pt x="788" y="290"/>
                    <a:pt x="788" y="290"/>
                  </a:cubicBezTo>
                  <a:cubicBezTo>
                    <a:pt x="791" y="290"/>
                    <a:pt x="795" y="290"/>
                    <a:pt x="795" y="288"/>
                  </a:cubicBezTo>
                  <a:cubicBezTo>
                    <a:pt x="792" y="288"/>
                    <a:pt x="790" y="286"/>
                    <a:pt x="787" y="288"/>
                  </a:cubicBezTo>
                  <a:close/>
                  <a:moveTo>
                    <a:pt x="772" y="291"/>
                  </a:moveTo>
                  <a:cubicBezTo>
                    <a:pt x="775" y="293"/>
                    <a:pt x="783" y="293"/>
                    <a:pt x="783" y="289"/>
                  </a:cubicBezTo>
                  <a:cubicBezTo>
                    <a:pt x="779" y="289"/>
                    <a:pt x="775" y="290"/>
                    <a:pt x="772" y="291"/>
                  </a:cubicBezTo>
                  <a:close/>
                  <a:moveTo>
                    <a:pt x="854" y="290"/>
                  </a:moveTo>
                  <a:cubicBezTo>
                    <a:pt x="856" y="291"/>
                    <a:pt x="857" y="291"/>
                    <a:pt x="858" y="289"/>
                  </a:cubicBezTo>
                  <a:cubicBezTo>
                    <a:pt x="857" y="288"/>
                    <a:pt x="854" y="288"/>
                    <a:pt x="854" y="290"/>
                  </a:cubicBezTo>
                  <a:close/>
                  <a:moveTo>
                    <a:pt x="847" y="291"/>
                  </a:moveTo>
                  <a:cubicBezTo>
                    <a:pt x="847" y="292"/>
                    <a:pt x="850" y="291"/>
                    <a:pt x="851" y="291"/>
                  </a:cubicBezTo>
                  <a:cubicBezTo>
                    <a:pt x="853" y="289"/>
                    <a:pt x="847" y="288"/>
                    <a:pt x="847" y="291"/>
                  </a:cubicBezTo>
                  <a:close/>
                  <a:moveTo>
                    <a:pt x="902" y="291"/>
                  </a:moveTo>
                  <a:cubicBezTo>
                    <a:pt x="885" y="288"/>
                    <a:pt x="870" y="295"/>
                    <a:pt x="852" y="295"/>
                  </a:cubicBezTo>
                  <a:cubicBezTo>
                    <a:pt x="851" y="298"/>
                    <a:pt x="856" y="299"/>
                    <a:pt x="858" y="301"/>
                  </a:cubicBezTo>
                  <a:cubicBezTo>
                    <a:pt x="865" y="308"/>
                    <a:pt x="872" y="317"/>
                    <a:pt x="880" y="325"/>
                  </a:cubicBezTo>
                  <a:cubicBezTo>
                    <a:pt x="888" y="333"/>
                    <a:pt x="896" y="341"/>
                    <a:pt x="905" y="347"/>
                  </a:cubicBezTo>
                  <a:cubicBezTo>
                    <a:pt x="906" y="342"/>
                    <a:pt x="902" y="343"/>
                    <a:pt x="902" y="339"/>
                  </a:cubicBezTo>
                  <a:cubicBezTo>
                    <a:pt x="911" y="331"/>
                    <a:pt x="905" y="306"/>
                    <a:pt x="905" y="289"/>
                  </a:cubicBezTo>
                  <a:cubicBezTo>
                    <a:pt x="903" y="289"/>
                    <a:pt x="903" y="290"/>
                    <a:pt x="902" y="291"/>
                  </a:cubicBezTo>
                  <a:close/>
                  <a:moveTo>
                    <a:pt x="817" y="294"/>
                  </a:moveTo>
                  <a:cubicBezTo>
                    <a:pt x="820" y="294"/>
                    <a:pt x="826" y="296"/>
                    <a:pt x="826" y="292"/>
                  </a:cubicBezTo>
                  <a:cubicBezTo>
                    <a:pt x="823" y="292"/>
                    <a:pt x="817" y="290"/>
                    <a:pt x="817" y="294"/>
                  </a:cubicBezTo>
                  <a:close/>
                  <a:moveTo>
                    <a:pt x="823" y="300"/>
                  </a:moveTo>
                  <a:cubicBezTo>
                    <a:pt x="824" y="302"/>
                    <a:pt x="825" y="303"/>
                    <a:pt x="827" y="303"/>
                  </a:cubicBezTo>
                  <a:cubicBezTo>
                    <a:pt x="828" y="301"/>
                    <a:pt x="831" y="301"/>
                    <a:pt x="831" y="297"/>
                  </a:cubicBezTo>
                  <a:cubicBezTo>
                    <a:pt x="827" y="297"/>
                    <a:pt x="823" y="297"/>
                    <a:pt x="823" y="300"/>
                  </a:cubicBezTo>
                  <a:close/>
                  <a:moveTo>
                    <a:pt x="741" y="303"/>
                  </a:moveTo>
                  <a:cubicBezTo>
                    <a:pt x="741" y="315"/>
                    <a:pt x="741" y="334"/>
                    <a:pt x="741" y="350"/>
                  </a:cubicBezTo>
                  <a:cubicBezTo>
                    <a:pt x="742" y="351"/>
                    <a:pt x="746" y="353"/>
                    <a:pt x="744" y="356"/>
                  </a:cubicBezTo>
                  <a:cubicBezTo>
                    <a:pt x="742" y="355"/>
                    <a:pt x="744" y="352"/>
                    <a:pt x="741" y="352"/>
                  </a:cubicBezTo>
                  <a:cubicBezTo>
                    <a:pt x="739" y="356"/>
                    <a:pt x="745" y="358"/>
                    <a:pt x="742" y="363"/>
                  </a:cubicBezTo>
                  <a:cubicBezTo>
                    <a:pt x="740" y="362"/>
                    <a:pt x="739" y="360"/>
                    <a:pt x="737" y="362"/>
                  </a:cubicBezTo>
                  <a:cubicBezTo>
                    <a:pt x="748" y="376"/>
                    <a:pt x="757" y="392"/>
                    <a:pt x="769" y="405"/>
                  </a:cubicBezTo>
                  <a:cubicBezTo>
                    <a:pt x="781" y="401"/>
                    <a:pt x="791" y="397"/>
                    <a:pt x="802" y="393"/>
                  </a:cubicBezTo>
                  <a:cubicBezTo>
                    <a:pt x="801" y="382"/>
                    <a:pt x="805" y="368"/>
                    <a:pt x="801" y="360"/>
                  </a:cubicBezTo>
                  <a:cubicBezTo>
                    <a:pt x="805" y="353"/>
                    <a:pt x="803" y="341"/>
                    <a:pt x="804" y="332"/>
                  </a:cubicBezTo>
                  <a:cubicBezTo>
                    <a:pt x="804" y="321"/>
                    <a:pt x="807" y="310"/>
                    <a:pt x="806" y="299"/>
                  </a:cubicBezTo>
                  <a:cubicBezTo>
                    <a:pt x="786" y="299"/>
                    <a:pt x="770" y="299"/>
                    <a:pt x="752" y="302"/>
                  </a:cubicBezTo>
                  <a:cubicBezTo>
                    <a:pt x="764" y="311"/>
                    <a:pt x="773" y="323"/>
                    <a:pt x="786" y="332"/>
                  </a:cubicBezTo>
                  <a:cubicBezTo>
                    <a:pt x="789" y="339"/>
                    <a:pt x="800" y="342"/>
                    <a:pt x="801" y="349"/>
                  </a:cubicBezTo>
                  <a:cubicBezTo>
                    <a:pt x="800" y="346"/>
                    <a:pt x="796" y="346"/>
                    <a:pt x="796" y="343"/>
                  </a:cubicBezTo>
                  <a:cubicBezTo>
                    <a:pt x="779" y="332"/>
                    <a:pt x="767" y="315"/>
                    <a:pt x="751" y="304"/>
                  </a:cubicBezTo>
                  <a:cubicBezTo>
                    <a:pt x="751" y="303"/>
                    <a:pt x="751" y="302"/>
                    <a:pt x="751" y="301"/>
                  </a:cubicBezTo>
                  <a:cubicBezTo>
                    <a:pt x="749" y="302"/>
                    <a:pt x="744" y="300"/>
                    <a:pt x="744" y="302"/>
                  </a:cubicBezTo>
                  <a:cubicBezTo>
                    <a:pt x="750" y="307"/>
                    <a:pt x="755" y="313"/>
                    <a:pt x="760" y="317"/>
                  </a:cubicBezTo>
                  <a:cubicBezTo>
                    <a:pt x="756" y="318"/>
                    <a:pt x="756" y="315"/>
                    <a:pt x="753" y="314"/>
                  </a:cubicBezTo>
                  <a:cubicBezTo>
                    <a:pt x="753" y="315"/>
                    <a:pt x="753" y="317"/>
                    <a:pt x="752" y="317"/>
                  </a:cubicBezTo>
                  <a:cubicBezTo>
                    <a:pt x="750" y="313"/>
                    <a:pt x="744" y="312"/>
                    <a:pt x="743" y="307"/>
                  </a:cubicBezTo>
                  <a:cubicBezTo>
                    <a:pt x="747" y="308"/>
                    <a:pt x="749" y="314"/>
                    <a:pt x="752" y="313"/>
                  </a:cubicBezTo>
                  <a:cubicBezTo>
                    <a:pt x="748" y="310"/>
                    <a:pt x="746" y="305"/>
                    <a:pt x="741" y="303"/>
                  </a:cubicBezTo>
                  <a:close/>
                  <a:moveTo>
                    <a:pt x="823" y="306"/>
                  </a:moveTo>
                  <a:cubicBezTo>
                    <a:pt x="822" y="301"/>
                    <a:pt x="811" y="305"/>
                    <a:pt x="815" y="315"/>
                  </a:cubicBezTo>
                  <a:cubicBezTo>
                    <a:pt x="816" y="312"/>
                    <a:pt x="823" y="309"/>
                    <a:pt x="823" y="306"/>
                  </a:cubicBezTo>
                  <a:close/>
                  <a:moveTo>
                    <a:pt x="831" y="306"/>
                  </a:moveTo>
                  <a:cubicBezTo>
                    <a:pt x="831" y="306"/>
                    <a:pt x="831" y="305"/>
                    <a:pt x="831" y="304"/>
                  </a:cubicBezTo>
                  <a:cubicBezTo>
                    <a:pt x="828" y="303"/>
                    <a:pt x="828" y="307"/>
                    <a:pt x="831" y="306"/>
                  </a:cubicBezTo>
                  <a:close/>
                  <a:moveTo>
                    <a:pt x="817" y="319"/>
                  </a:moveTo>
                  <a:cubicBezTo>
                    <a:pt x="823" y="321"/>
                    <a:pt x="825" y="314"/>
                    <a:pt x="829" y="313"/>
                  </a:cubicBezTo>
                  <a:cubicBezTo>
                    <a:pt x="829" y="310"/>
                    <a:pt x="827" y="310"/>
                    <a:pt x="826" y="309"/>
                  </a:cubicBezTo>
                  <a:cubicBezTo>
                    <a:pt x="823" y="312"/>
                    <a:pt x="818" y="313"/>
                    <a:pt x="817" y="319"/>
                  </a:cubicBezTo>
                  <a:close/>
                  <a:moveTo>
                    <a:pt x="823" y="322"/>
                  </a:moveTo>
                  <a:cubicBezTo>
                    <a:pt x="825" y="323"/>
                    <a:pt x="826" y="325"/>
                    <a:pt x="829" y="324"/>
                  </a:cubicBezTo>
                  <a:cubicBezTo>
                    <a:pt x="832" y="322"/>
                    <a:pt x="831" y="318"/>
                    <a:pt x="832" y="315"/>
                  </a:cubicBezTo>
                  <a:cubicBezTo>
                    <a:pt x="828" y="316"/>
                    <a:pt x="825" y="319"/>
                    <a:pt x="823" y="322"/>
                  </a:cubicBezTo>
                  <a:close/>
                  <a:moveTo>
                    <a:pt x="814" y="337"/>
                  </a:moveTo>
                  <a:cubicBezTo>
                    <a:pt x="818" y="335"/>
                    <a:pt x="819" y="331"/>
                    <a:pt x="823" y="330"/>
                  </a:cubicBezTo>
                  <a:cubicBezTo>
                    <a:pt x="822" y="327"/>
                    <a:pt x="820" y="326"/>
                    <a:pt x="818" y="325"/>
                  </a:cubicBezTo>
                  <a:cubicBezTo>
                    <a:pt x="814" y="328"/>
                    <a:pt x="813" y="330"/>
                    <a:pt x="814" y="337"/>
                  </a:cubicBezTo>
                  <a:close/>
                  <a:moveTo>
                    <a:pt x="830" y="326"/>
                  </a:moveTo>
                  <a:cubicBezTo>
                    <a:pt x="830" y="327"/>
                    <a:pt x="830" y="328"/>
                    <a:pt x="830" y="328"/>
                  </a:cubicBezTo>
                  <a:cubicBezTo>
                    <a:pt x="832" y="329"/>
                    <a:pt x="833" y="327"/>
                    <a:pt x="832" y="326"/>
                  </a:cubicBezTo>
                  <a:cubicBezTo>
                    <a:pt x="831" y="326"/>
                    <a:pt x="830" y="326"/>
                    <a:pt x="830" y="326"/>
                  </a:cubicBezTo>
                  <a:close/>
                  <a:moveTo>
                    <a:pt x="838" y="332"/>
                  </a:moveTo>
                  <a:cubicBezTo>
                    <a:pt x="838" y="330"/>
                    <a:pt x="838" y="328"/>
                    <a:pt x="836" y="328"/>
                  </a:cubicBezTo>
                  <a:cubicBezTo>
                    <a:pt x="835" y="329"/>
                    <a:pt x="835" y="332"/>
                    <a:pt x="838" y="332"/>
                  </a:cubicBezTo>
                  <a:close/>
                  <a:moveTo>
                    <a:pt x="817" y="339"/>
                  </a:moveTo>
                  <a:cubicBezTo>
                    <a:pt x="818" y="339"/>
                    <a:pt x="818" y="342"/>
                    <a:pt x="820" y="341"/>
                  </a:cubicBezTo>
                  <a:cubicBezTo>
                    <a:pt x="823" y="338"/>
                    <a:pt x="828" y="336"/>
                    <a:pt x="830" y="332"/>
                  </a:cubicBezTo>
                  <a:cubicBezTo>
                    <a:pt x="824" y="329"/>
                    <a:pt x="820" y="335"/>
                    <a:pt x="817" y="339"/>
                  </a:cubicBezTo>
                  <a:close/>
                  <a:moveTo>
                    <a:pt x="823" y="343"/>
                  </a:moveTo>
                  <a:cubicBezTo>
                    <a:pt x="825" y="344"/>
                    <a:pt x="826" y="346"/>
                    <a:pt x="829" y="346"/>
                  </a:cubicBezTo>
                  <a:cubicBezTo>
                    <a:pt x="832" y="345"/>
                    <a:pt x="835" y="340"/>
                    <a:pt x="832" y="336"/>
                  </a:cubicBezTo>
                  <a:cubicBezTo>
                    <a:pt x="828" y="337"/>
                    <a:pt x="825" y="340"/>
                    <a:pt x="823" y="343"/>
                  </a:cubicBezTo>
                  <a:close/>
                  <a:moveTo>
                    <a:pt x="809" y="341"/>
                  </a:moveTo>
                  <a:cubicBezTo>
                    <a:pt x="810" y="340"/>
                    <a:pt x="810" y="337"/>
                    <a:pt x="808" y="337"/>
                  </a:cubicBezTo>
                  <a:cubicBezTo>
                    <a:pt x="808" y="339"/>
                    <a:pt x="807" y="340"/>
                    <a:pt x="809" y="341"/>
                  </a:cubicBezTo>
                  <a:close/>
                  <a:moveTo>
                    <a:pt x="814" y="357"/>
                  </a:moveTo>
                  <a:cubicBezTo>
                    <a:pt x="817" y="357"/>
                    <a:pt x="821" y="352"/>
                    <a:pt x="823" y="350"/>
                  </a:cubicBezTo>
                  <a:cubicBezTo>
                    <a:pt x="822" y="349"/>
                    <a:pt x="820" y="347"/>
                    <a:pt x="818" y="346"/>
                  </a:cubicBezTo>
                  <a:cubicBezTo>
                    <a:pt x="814" y="347"/>
                    <a:pt x="813" y="353"/>
                    <a:pt x="814" y="357"/>
                  </a:cubicBezTo>
                  <a:close/>
                  <a:moveTo>
                    <a:pt x="831" y="350"/>
                  </a:moveTo>
                  <a:cubicBezTo>
                    <a:pt x="834" y="351"/>
                    <a:pt x="835" y="346"/>
                    <a:pt x="832" y="346"/>
                  </a:cubicBezTo>
                  <a:cubicBezTo>
                    <a:pt x="832" y="348"/>
                    <a:pt x="830" y="348"/>
                    <a:pt x="831" y="350"/>
                  </a:cubicBezTo>
                  <a:close/>
                  <a:moveTo>
                    <a:pt x="839" y="354"/>
                  </a:moveTo>
                  <a:cubicBezTo>
                    <a:pt x="840" y="353"/>
                    <a:pt x="839" y="350"/>
                    <a:pt x="838" y="350"/>
                  </a:cubicBezTo>
                  <a:cubicBezTo>
                    <a:pt x="838" y="351"/>
                    <a:pt x="837" y="354"/>
                    <a:pt x="839" y="354"/>
                  </a:cubicBezTo>
                  <a:close/>
                  <a:moveTo>
                    <a:pt x="817" y="361"/>
                  </a:moveTo>
                  <a:cubicBezTo>
                    <a:pt x="819" y="361"/>
                    <a:pt x="819" y="362"/>
                    <a:pt x="821" y="362"/>
                  </a:cubicBezTo>
                  <a:cubicBezTo>
                    <a:pt x="823" y="359"/>
                    <a:pt x="828" y="358"/>
                    <a:pt x="830" y="354"/>
                  </a:cubicBezTo>
                  <a:cubicBezTo>
                    <a:pt x="826" y="350"/>
                    <a:pt x="819" y="356"/>
                    <a:pt x="817" y="361"/>
                  </a:cubicBezTo>
                  <a:close/>
                  <a:moveTo>
                    <a:pt x="824" y="364"/>
                  </a:moveTo>
                  <a:cubicBezTo>
                    <a:pt x="829" y="371"/>
                    <a:pt x="836" y="364"/>
                    <a:pt x="834" y="356"/>
                  </a:cubicBezTo>
                  <a:cubicBezTo>
                    <a:pt x="830" y="358"/>
                    <a:pt x="826" y="360"/>
                    <a:pt x="824" y="364"/>
                  </a:cubicBezTo>
                  <a:close/>
                  <a:moveTo>
                    <a:pt x="819" y="374"/>
                  </a:moveTo>
                  <a:cubicBezTo>
                    <a:pt x="818" y="371"/>
                    <a:pt x="821" y="373"/>
                    <a:pt x="823" y="372"/>
                  </a:cubicBezTo>
                  <a:cubicBezTo>
                    <a:pt x="823" y="370"/>
                    <a:pt x="820" y="368"/>
                    <a:pt x="818" y="367"/>
                  </a:cubicBezTo>
                  <a:cubicBezTo>
                    <a:pt x="815" y="370"/>
                    <a:pt x="811" y="372"/>
                    <a:pt x="813" y="378"/>
                  </a:cubicBezTo>
                  <a:cubicBezTo>
                    <a:pt x="815" y="378"/>
                    <a:pt x="817" y="378"/>
                    <a:pt x="817" y="375"/>
                  </a:cubicBezTo>
                  <a:cubicBezTo>
                    <a:pt x="818" y="373"/>
                    <a:pt x="815" y="374"/>
                    <a:pt x="815" y="371"/>
                  </a:cubicBezTo>
                  <a:cubicBezTo>
                    <a:pt x="818" y="372"/>
                    <a:pt x="818" y="368"/>
                    <a:pt x="819" y="371"/>
                  </a:cubicBezTo>
                  <a:cubicBezTo>
                    <a:pt x="819" y="371"/>
                    <a:pt x="816" y="375"/>
                    <a:pt x="819" y="374"/>
                  </a:cubicBezTo>
                  <a:close/>
                  <a:moveTo>
                    <a:pt x="841" y="377"/>
                  </a:moveTo>
                  <a:cubicBezTo>
                    <a:pt x="841" y="374"/>
                    <a:pt x="842" y="371"/>
                    <a:pt x="839" y="371"/>
                  </a:cubicBezTo>
                  <a:cubicBezTo>
                    <a:pt x="839" y="374"/>
                    <a:pt x="839" y="377"/>
                    <a:pt x="841" y="377"/>
                  </a:cubicBezTo>
                  <a:close/>
                  <a:moveTo>
                    <a:pt x="825" y="374"/>
                  </a:moveTo>
                  <a:cubicBezTo>
                    <a:pt x="825" y="375"/>
                    <a:pt x="825" y="375"/>
                    <a:pt x="825" y="376"/>
                  </a:cubicBezTo>
                  <a:cubicBezTo>
                    <a:pt x="826" y="377"/>
                    <a:pt x="830" y="378"/>
                    <a:pt x="830" y="376"/>
                  </a:cubicBezTo>
                  <a:cubicBezTo>
                    <a:pt x="829" y="375"/>
                    <a:pt x="827" y="372"/>
                    <a:pt x="825" y="374"/>
                  </a:cubicBezTo>
                  <a:close/>
                  <a:moveTo>
                    <a:pt x="817" y="381"/>
                  </a:moveTo>
                  <a:cubicBezTo>
                    <a:pt x="822" y="384"/>
                    <a:pt x="821" y="377"/>
                    <a:pt x="825" y="379"/>
                  </a:cubicBezTo>
                  <a:cubicBezTo>
                    <a:pt x="825" y="377"/>
                    <a:pt x="824" y="376"/>
                    <a:pt x="822" y="376"/>
                  </a:cubicBezTo>
                  <a:cubicBezTo>
                    <a:pt x="823" y="380"/>
                    <a:pt x="816" y="377"/>
                    <a:pt x="817" y="381"/>
                  </a:cubicBezTo>
                  <a:close/>
                  <a:moveTo>
                    <a:pt x="824" y="383"/>
                  </a:moveTo>
                  <a:cubicBezTo>
                    <a:pt x="827" y="389"/>
                    <a:pt x="838" y="386"/>
                    <a:pt x="834" y="378"/>
                  </a:cubicBezTo>
                  <a:cubicBezTo>
                    <a:pt x="829" y="378"/>
                    <a:pt x="830" y="383"/>
                    <a:pt x="824" y="383"/>
                  </a:cubicBezTo>
                  <a:close/>
                  <a:moveTo>
                    <a:pt x="809" y="382"/>
                  </a:moveTo>
                  <a:cubicBezTo>
                    <a:pt x="810" y="380"/>
                    <a:pt x="808" y="379"/>
                    <a:pt x="806" y="379"/>
                  </a:cubicBezTo>
                  <a:cubicBezTo>
                    <a:pt x="806" y="381"/>
                    <a:pt x="807" y="383"/>
                    <a:pt x="809" y="382"/>
                  </a:cubicBezTo>
                  <a:close/>
                  <a:moveTo>
                    <a:pt x="813" y="393"/>
                  </a:moveTo>
                  <a:cubicBezTo>
                    <a:pt x="815" y="391"/>
                    <a:pt x="821" y="392"/>
                    <a:pt x="823" y="390"/>
                  </a:cubicBezTo>
                  <a:cubicBezTo>
                    <a:pt x="819" y="389"/>
                    <a:pt x="812" y="385"/>
                    <a:pt x="813" y="393"/>
                  </a:cubicBezTo>
                  <a:close/>
                  <a:moveTo>
                    <a:pt x="817" y="401"/>
                  </a:moveTo>
                  <a:cubicBezTo>
                    <a:pt x="823" y="399"/>
                    <a:pt x="829" y="401"/>
                    <a:pt x="832" y="395"/>
                  </a:cubicBezTo>
                  <a:cubicBezTo>
                    <a:pt x="826" y="393"/>
                    <a:pt x="819" y="397"/>
                    <a:pt x="817" y="401"/>
                  </a:cubicBezTo>
                  <a:close/>
                  <a:moveTo>
                    <a:pt x="812" y="396"/>
                  </a:moveTo>
                  <a:cubicBezTo>
                    <a:pt x="812" y="397"/>
                    <a:pt x="812" y="398"/>
                    <a:pt x="812" y="399"/>
                  </a:cubicBezTo>
                  <a:cubicBezTo>
                    <a:pt x="815" y="399"/>
                    <a:pt x="816" y="397"/>
                    <a:pt x="817" y="396"/>
                  </a:cubicBezTo>
                  <a:cubicBezTo>
                    <a:pt x="816" y="395"/>
                    <a:pt x="813" y="395"/>
                    <a:pt x="812" y="396"/>
                  </a:cubicBezTo>
                  <a:close/>
                  <a:moveTo>
                    <a:pt x="865" y="400"/>
                  </a:moveTo>
                  <a:cubicBezTo>
                    <a:pt x="858" y="400"/>
                    <a:pt x="856" y="397"/>
                    <a:pt x="849" y="397"/>
                  </a:cubicBezTo>
                  <a:cubicBezTo>
                    <a:pt x="851" y="400"/>
                    <a:pt x="861" y="403"/>
                    <a:pt x="865" y="400"/>
                  </a:cubicBezTo>
                  <a:close/>
                  <a:moveTo>
                    <a:pt x="778" y="407"/>
                  </a:moveTo>
                  <a:cubicBezTo>
                    <a:pt x="784" y="411"/>
                    <a:pt x="793" y="404"/>
                    <a:pt x="801" y="403"/>
                  </a:cubicBezTo>
                  <a:cubicBezTo>
                    <a:pt x="801" y="400"/>
                    <a:pt x="802" y="400"/>
                    <a:pt x="801" y="397"/>
                  </a:cubicBezTo>
                  <a:cubicBezTo>
                    <a:pt x="792" y="400"/>
                    <a:pt x="784" y="402"/>
                    <a:pt x="778" y="407"/>
                  </a:cubicBezTo>
                  <a:close/>
                  <a:moveTo>
                    <a:pt x="823" y="404"/>
                  </a:moveTo>
                  <a:cubicBezTo>
                    <a:pt x="822" y="402"/>
                    <a:pt x="819" y="403"/>
                    <a:pt x="817" y="403"/>
                  </a:cubicBezTo>
                  <a:cubicBezTo>
                    <a:pt x="817" y="406"/>
                    <a:pt x="823" y="406"/>
                    <a:pt x="823" y="404"/>
                  </a:cubicBezTo>
                  <a:close/>
                  <a:moveTo>
                    <a:pt x="822" y="408"/>
                  </a:moveTo>
                  <a:cubicBezTo>
                    <a:pt x="825" y="409"/>
                    <a:pt x="826" y="412"/>
                    <a:pt x="830" y="412"/>
                  </a:cubicBezTo>
                  <a:cubicBezTo>
                    <a:pt x="832" y="410"/>
                    <a:pt x="835" y="408"/>
                    <a:pt x="836" y="404"/>
                  </a:cubicBezTo>
                  <a:cubicBezTo>
                    <a:pt x="831" y="400"/>
                    <a:pt x="825" y="405"/>
                    <a:pt x="822" y="408"/>
                  </a:cubicBezTo>
                  <a:close/>
                  <a:moveTo>
                    <a:pt x="846" y="404"/>
                  </a:moveTo>
                  <a:cubicBezTo>
                    <a:pt x="847" y="408"/>
                    <a:pt x="845" y="414"/>
                    <a:pt x="849" y="415"/>
                  </a:cubicBezTo>
                  <a:cubicBezTo>
                    <a:pt x="851" y="412"/>
                    <a:pt x="857" y="410"/>
                    <a:pt x="856" y="405"/>
                  </a:cubicBezTo>
                  <a:cubicBezTo>
                    <a:pt x="853" y="404"/>
                    <a:pt x="849" y="403"/>
                    <a:pt x="846" y="404"/>
                  </a:cubicBezTo>
                  <a:close/>
                  <a:moveTo>
                    <a:pt x="883" y="404"/>
                  </a:moveTo>
                  <a:cubicBezTo>
                    <a:pt x="881" y="404"/>
                    <a:pt x="877" y="403"/>
                    <a:pt x="875" y="404"/>
                  </a:cubicBezTo>
                  <a:cubicBezTo>
                    <a:pt x="877" y="405"/>
                    <a:pt x="882" y="406"/>
                    <a:pt x="883" y="404"/>
                  </a:cubicBezTo>
                  <a:close/>
                  <a:moveTo>
                    <a:pt x="812" y="412"/>
                  </a:moveTo>
                  <a:cubicBezTo>
                    <a:pt x="813" y="414"/>
                    <a:pt x="816" y="411"/>
                    <a:pt x="816" y="409"/>
                  </a:cubicBezTo>
                  <a:cubicBezTo>
                    <a:pt x="814" y="409"/>
                    <a:pt x="814" y="406"/>
                    <a:pt x="812" y="406"/>
                  </a:cubicBezTo>
                  <a:cubicBezTo>
                    <a:pt x="812" y="408"/>
                    <a:pt x="812" y="410"/>
                    <a:pt x="812" y="412"/>
                  </a:cubicBezTo>
                  <a:close/>
                  <a:moveTo>
                    <a:pt x="841" y="412"/>
                  </a:moveTo>
                  <a:cubicBezTo>
                    <a:pt x="841" y="410"/>
                    <a:pt x="842" y="407"/>
                    <a:pt x="840" y="406"/>
                  </a:cubicBezTo>
                  <a:cubicBezTo>
                    <a:pt x="840" y="408"/>
                    <a:pt x="839" y="411"/>
                    <a:pt x="841" y="412"/>
                  </a:cubicBezTo>
                  <a:close/>
                  <a:moveTo>
                    <a:pt x="864" y="410"/>
                  </a:moveTo>
                  <a:cubicBezTo>
                    <a:pt x="867" y="411"/>
                    <a:pt x="867" y="409"/>
                    <a:pt x="867" y="406"/>
                  </a:cubicBezTo>
                  <a:cubicBezTo>
                    <a:pt x="863" y="406"/>
                    <a:pt x="863" y="407"/>
                    <a:pt x="864" y="410"/>
                  </a:cubicBezTo>
                  <a:close/>
                  <a:moveTo>
                    <a:pt x="785" y="411"/>
                  </a:moveTo>
                  <a:cubicBezTo>
                    <a:pt x="789" y="416"/>
                    <a:pt x="794" y="420"/>
                    <a:pt x="800" y="423"/>
                  </a:cubicBezTo>
                  <a:cubicBezTo>
                    <a:pt x="799" y="417"/>
                    <a:pt x="801" y="411"/>
                    <a:pt x="800" y="407"/>
                  </a:cubicBezTo>
                  <a:cubicBezTo>
                    <a:pt x="795" y="408"/>
                    <a:pt x="791" y="410"/>
                    <a:pt x="785" y="411"/>
                  </a:cubicBezTo>
                  <a:close/>
                  <a:moveTo>
                    <a:pt x="871" y="409"/>
                  </a:moveTo>
                  <a:cubicBezTo>
                    <a:pt x="874" y="409"/>
                    <a:pt x="876" y="413"/>
                    <a:pt x="879" y="415"/>
                  </a:cubicBezTo>
                  <a:cubicBezTo>
                    <a:pt x="882" y="413"/>
                    <a:pt x="886" y="413"/>
                    <a:pt x="888" y="410"/>
                  </a:cubicBezTo>
                  <a:cubicBezTo>
                    <a:pt x="882" y="409"/>
                    <a:pt x="876" y="405"/>
                    <a:pt x="871" y="409"/>
                  </a:cubicBezTo>
                  <a:close/>
                  <a:moveTo>
                    <a:pt x="776" y="410"/>
                  </a:moveTo>
                  <a:cubicBezTo>
                    <a:pt x="776" y="408"/>
                    <a:pt x="775" y="407"/>
                    <a:pt x="772" y="408"/>
                  </a:cubicBezTo>
                  <a:cubicBezTo>
                    <a:pt x="772" y="410"/>
                    <a:pt x="774" y="410"/>
                    <a:pt x="776" y="410"/>
                  </a:cubicBezTo>
                  <a:close/>
                  <a:moveTo>
                    <a:pt x="751" y="416"/>
                  </a:moveTo>
                  <a:cubicBezTo>
                    <a:pt x="759" y="416"/>
                    <a:pt x="766" y="414"/>
                    <a:pt x="770" y="410"/>
                  </a:cubicBezTo>
                  <a:cubicBezTo>
                    <a:pt x="763" y="409"/>
                    <a:pt x="756" y="413"/>
                    <a:pt x="751" y="416"/>
                  </a:cubicBezTo>
                  <a:close/>
                  <a:moveTo>
                    <a:pt x="848" y="416"/>
                  </a:moveTo>
                  <a:cubicBezTo>
                    <a:pt x="849" y="418"/>
                    <a:pt x="847" y="418"/>
                    <a:pt x="847" y="420"/>
                  </a:cubicBezTo>
                  <a:cubicBezTo>
                    <a:pt x="857" y="421"/>
                    <a:pt x="861" y="417"/>
                    <a:pt x="863" y="412"/>
                  </a:cubicBezTo>
                  <a:cubicBezTo>
                    <a:pt x="860" y="414"/>
                    <a:pt x="859" y="411"/>
                    <a:pt x="857" y="410"/>
                  </a:cubicBezTo>
                  <a:cubicBezTo>
                    <a:pt x="854" y="413"/>
                    <a:pt x="853" y="416"/>
                    <a:pt x="848" y="416"/>
                  </a:cubicBezTo>
                  <a:close/>
                  <a:moveTo>
                    <a:pt x="881" y="418"/>
                  </a:moveTo>
                  <a:cubicBezTo>
                    <a:pt x="888" y="421"/>
                    <a:pt x="892" y="414"/>
                    <a:pt x="897" y="412"/>
                  </a:cubicBezTo>
                  <a:cubicBezTo>
                    <a:pt x="891" y="409"/>
                    <a:pt x="885" y="415"/>
                    <a:pt x="881" y="418"/>
                  </a:cubicBezTo>
                  <a:close/>
                  <a:moveTo>
                    <a:pt x="832" y="414"/>
                  </a:moveTo>
                  <a:cubicBezTo>
                    <a:pt x="833" y="417"/>
                    <a:pt x="834" y="418"/>
                    <a:pt x="837" y="419"/>
                  </a:cubicBezTo>
                  <a:cubicBezTo>
                    <a:pt x="838" y="412"/>
                    <a:pt x="835" y="409"/>
                    <a:pt x="832" y="414"/>
                  </a:cubicBezTo>
                  <a:close/>
                  <a:moveTo>
                    <a:pt x="871" y="418"/>
                  </a:moveTo>
                  <a:cubicBezTo>
                    <a:pt x="873" y="417"/>
                    <a:pt x="877" y="418"/>
                    <a:pt x="877" y="416"/>
                  </a:cubicBezTo>
                  <a:cubicBezTo>
                    <a:pt x="873" y="416"/>
                    <a:pt x="874" y="411"/>
                    <a:pt x="870" y="411"/>
                  </a:cubicBezTo>
                  <a:cubicBezTo>
                    <a:pt x="869" y="413"/>
                    <a:pt x="872" y="414"/>
                    <a:pt x="871" y="418"/>
                  </a:cubicBezTo>
                  <a:close/>
                  <a:moveTo>
                    <a:pt x="811" y="421"/>
                  </a:moveTo>
                  <a:cubicBezTo>
                    <a:pt x="819" y="426"/>
                    <a:pt x="821" y="417"/>
                    <a:pt x="820" y="412"/>
                  </a:cubicBezTo>
                  <a:cubicBezTo>
                    <a:pt x="816" y="412"/>
                    <a:pt x="812" y="417"/>
                    <a:pt x="811" y="421"/>
                  </a:cubicBezTo>
                  <a:close/>
                  <a:moveTo>
                    <a:pt x="891" y="418"/>
                  </a:moveTo>
                  <a:cubicBezTo>
                    <a:pt x="899" y="419"/>
                    <a:pt x="906" y="419"/>
                    <a:pt x="913" y="416"/>
                  </a:cubicBezTo>
                  <a:cubicBezTo>
                    <a:pt x="915" y="418"/>
                    <a:pt x="919" y="420"/>
                    <a:pt x="920" y="416"/>
                  </a:cubicBezTo>
                  <a:cubicBezTo>
                    <a:pt x="912" y="411"/>
                    <a:pt x="897" y="411"/>
                    <a:pt x="891" y="418"/>
                  </a:cubicBezTo>
                  <a:close/>
                  <a:moveTo>
                    <a:pt x="776" y="416"/>
                  </a:moveTo>
                  <a:cubicBezTo>
                    <a:pt x="780" y="417"/>
                    <a:pt x="779" y="413"/>
                    <a:pt x="776" y="413"/>
                  </a:cubicBezTo>
                  <a:cubicBezTo>
                    <a:pt x="776" y="414"/>
                    <a:pt x="776" y="415"/>
                    <a:pt x="776" y="416"/>
                  </a:cubicBezTo>
                  <a:close/>
                  <a:moveTo>
                    <a:pt x="781" y="414"/>
                  </a:moveTo>
                  <a:cubicBezTo>
                    <a:pt x="781" y="415"/>
                    <a:pt x="780" y="421"/>
                    <a:pt x="782" y="424"/>
                  </a:cubicBezTo>
                  <a:cubicBezTo>
                    <a:pt x="786" y="424"/>
                    <a:pt x="788" y="423"/>
                    <a:pt x="792" y="423"/>
                  </a:cubicBezTo>
                  <a:cubicBezTo>
                    <a:pt x="790" y="419"/>
                    <a:pt x="784" y="415"/>
                    <a:pt x="781" y="414"/>
                  </a:cubicBezTo>
                  <a:close/>
                  <a:moveTo>
                    <a:pt x="822" y="419"/>
                  </a:moveTo>
                  <a:cubicBezTo>
                    <a:pt x="823" y="418"/>
                    <a:pt x="825" y="418"/>
                    <a:pt x="825" y="416"/>
                  </a:cubicBezTo>
                  <a:cubicBezTo>
                    <a:pt x="824" y="414"/>
                    <a:pt x="823" y="413"/>
                    <a:pt x="821" y="414"/>
                  </a:cubicBezTo>
                  <a:cubicBezTo>
                    <a:pt x="822" y="416"/>
                    <a:pt x="820" y="418"/>
                    <a:pt x="822" y="419"/>
                  </a:cubicBezTo>
                  <a:close/>
                  <a:moveTo>
                    <a:pt x="759" y="420"/>
                  </a:moveTo>
                  <a:cubicBezTo>
                    <a:pt x="763" y="422"/>
                    <a:pt x="767" y="424"/>
                    <a:pt x="772" y="426"/>
                  </a:cubicBezTo>
                  <a:cubicBezTo>
                    <a:pt x="774" y="424"/>
                    <a:pt x="772" y="420"/>
                    <a:pt x="773" y="416"/>
                  </a:cubicBezTo>
                  <a:cubicBezTo>
                    <a:pt x="769" y="416"/>
                    <a:pt x="761" y="416"/>
                    <a:pt x="759" y="420"/>
                  </a:cubicBezTo>
                  <a:close/>
                  <a:moveTo>
                    <a:pt x="843" y="420"/>
                  </a:moveTo>
                  <a:cubicBezTo>
                    <a:pt x="844" y="419"/>
                    <a:pt x="844" y="416"/>
                    <a:pt x="842" y="416"/>
                  </a:cubicBezTo>
                  <a:cubicBezTo>
                    <a:pt x="842" y="418"/>
                    <a:pt x="840" y="419"/>
                    <a:pt x="843" y="420"/>
                  </a:cubicBezTo>
                  <a:close/>
                  <a:moveTo>
                    <a:pt x="862" y="419"/>
                  </a:moveTo>
                  <a:cubicBezTo>
                    <a:pt x="864" y="419"/>
                    <a:pt x="866" y="420"/>
                    <a:pt x="867" y="419"/>
                  </a:cubicBezTo>
                  <a:cubicBezTo>
                    <a:pt x="867" y="418"/>
                    <a:pt x="867" y="417"/>
                    <a:pt x="867" y="416"/>
                  </a:cubicBezTo>
                  <a:cubicBezTo>
                    <a:pt x="865" y="416"/>
                    <a:pt x="862" y="416"/>
                    <a:pt x="862" y="419"/>
                  </a:cubicBezTo>
                  <a:close/>
                  <a:moveTo>
                    <a:pt x="805" y="421"/>
                  </a:moveTo>
                  <a:cubicBezTo>
                    <a:pt x="806" y="420"/>
                    <a:pt x="807" y="417"/>
                    <a:pt x="805" y="416"/>
                  </a:cubicBezTo>
                  <a:cubicBezTo>
                    <a:pt x="804" y="418"/>
                    <a:pt x="803" y="420"/>
                    <a:pt x="805" y="421"/>
                  </a:cubicBezTo>
                  <a:close/>
                  <a:moveTo>
                    <a:pt x="744" y="419"/>
                  </a:moveTo>
                  <a:cubicBezTo>
                    <a:pt x="746" y="418"/>
                    <a:pt x="750" y="419"/>
                    <a:pt x="750" y="417"/>
                  </a:cubicBezTo>
                  <a:cubicBezTo>
                    <a:pt x="748" y="418"/>
                    <a:pt x="744" y="416"/>
                    <a:pt x="744" y="419"/>
                  </a:cubicBezTo>
                  <a:close/>
                  <a:moveTo>
                    <a:pt x="936" y="418"/>
                  </a:moveTo>
                  <a:cubicBezTo>
                    <a:pt x="935" y="417"/>
                    <a:pt x="933" y="417"/>
                    <a:pt x="931" y="417"/>
                  </a:cubicBezTo>
                  <a:cubicBezTo>
                    <a:pt x="930" y="420"/>
                    <a:pt x="936" y="419"/>
                    <a:pt x="936" y="418"/>
                  </a:cubicBezTo>
                  <a:close/>
                  <a:moveTo>
                    <a:pt x="775" y="425"/>
                  </a:moveTo>
                  <a:cubicBezTo>
                    <a:pt x="776" y="425"/>
                    <a:pt x="779" y="425"/>
                    <a:pt x="779" y="423"/>
                  </a:cubicBezTo>
                  <a:cubicBezTo>
                    <a:pt x="777" y="422"/>
                    <a:pt x="778" y="418"/>
                    <a:pt x="774" y="418"/>
                  </a:cubicBezTo>
                  <a:cubicBezTo>
                    <a:pt x="775" y="420"/>
                    <a:pt x="774" y="424"/>
                    <a:pt x="775" y="425"/>
                  </a:cubicBezTo>
                  <a:close/>
                  <a:moveTo>
                    <a:pt x="739" y="421"/>
                  </a:moveTo>
                  <a:cubicBezTo>
                    <a:pt x="741" y="421"/>
                    <a:pt x="744" y="419"/>
                    <a:pt x="743" y="419"/>
                  </a:cubicBezTo>
                  <a:cubicBezTo>
                    <a:pt x="743" y="421"/>
                    <a:pt x="738" y="418"/>
                    <a:pt x="739" y="421"/>
                  </a:cubicBezTo>
                  <a:close/>
                  <a:moveTo>
                    <a:pt x="825" y="422"/>
                  </a:moveTo>
                  <a:cubicBezTo>
                    <a:pt x="827" y="420"/>
                    <a:pt x="830" y="422"/>
                    <a:pt x="831" y="420"/>
                  </a:cubicBezTo>
                  <a:cubicBezTo>
                    <a:pt x="829" y="419"/>
                    <a:pt x="825" y="419"/>
                    <a:pt x="825" y="422"/>
                  </a:cubicBezTo>
                  <a:close/>
                  <a:moveTo>
                    <a:pt x="733" y="428"/>
                  </a:moveTo>
                  <a:cubicBezTo>
                    <a:pt x="743" y="429"/>
                    <a:pt x="754" y="428"/>
                    <a:pt x="762" y="425"/>
                  </a:cubicBezTo>
                  <a:cubicBezTo>
                    <a:pt x="754" y="419"/>
                    <a:pt x="740" y="422"/>
                    <a:pt x="733" y="428"/>
                  </a:cubicBezTo>
                  <a:close/>
                  <a:moveTo>
                    <a:pt x="854" y="427"/>
                  </a:moveTo>
                  <a:cubicBezTo>
                    <a:pt x="859" y="426"/>
                    <a:pt x="872" y="428"/>
                    <a:pt x="871" y="423"/>
                  </a:cubicBezTo>
                  <a:cubicBezTo>
                    <a:pt x="868" y="427"/>
                    <a:pt x="855" y="420"/>
                    <a:pt x="854" y="427"/>
                  </a:cubicBezTo>
                  <a:close/>
                  <a:moveTo>
                    <a:pt x="953" y="427"/>
                  </a:moveTo>
                  <a:cubicBezTo>
                    <a:pt x="953" y="425"/>
                    <a:pt x="953" y="424"/>
                    <a:pt x="952" y="423"/>
                  </a:cubicBezTo>
                  <a:cubicBezTo>
                    <a:pt x="950" y="423"/>
                    <a:pt x="950" y="425"/>
                    <a:pt x="948" y="424"/>
                  </a:cubicBezTo>
                  <a:cubicBezTo>
                    <a:pt x="950" y="428"/>
                    <a:pt x="951" y="434"/>
                    <a:pt x="955" y="436"/>
                  </a:cubicBezTo>
                  <a:cubicBezTo>
                    <a:pt x="954" y="431"/>
                    <a:pt x="956" y="425"/>
                    <a:pt x="954" y="423"/>
                  </a:cubicBezTo>
                  <a:cubicBezTo>
                    <a:pt x="953" y="424"/>
                    <a:pt x="955" y="426"/>
                    <a:pt x="953" y="427"/>
                  </a:cubicBezTo>
                  <a:close/>
                  <a:moveTo>
                    <a:pt x="817" y="429"/>
                  </a:moveTo>
                  <a:cubicBezTo>
                    <a:pt x="821" y="429"/>
                    <a:pt x="827" y="433"/>
                    <a:pt x="828" y="427"/>
                  </a:cubicBezTo>
                  <a:cubicBezTo>
                    <a:pt x="824" y="425"/>
                    <a:pt x="817" y="424"/>
                    <a:pt x="817" y="429"/>
                  </a:cubicBezTo>
                  <a:close/>
                  <a:moveTo>
                    <a:pt x="783" y="430"/>
                  </a:moveTo>
                  <a:cubicBezTo>
                    <a:pt x="789" y="430"/>
                    <a:pt x="796" y="432"/>
                    <a:pt x="799" y="428"/>
                  </a:cubicBezTo>
                  <a:cubicBezTo>
                    <a:pt x="794" y="429"/>
                    <a:pt x="785" y="428"/>
                    <a:pt x="783" y="430"/>
                  </a:cubicBezTo>
                  <a:close/>
                  <a:moveTo>
                    <a:pt x="757" y="432"/>
                  </a:moveTo>
                  <a:cubicBezTo>
                    <a:pt x="762" y="433"/>
                    <a:pt x="766" y="431"/>
                    <a:pt x="770" y="432"/>
                  </a:cubicBezTo>
                  <a:cubicBezTo>
                    <a:pt x="768" y="429"/>
                    <a:pt x="759" y="431"/>
                    <a:pt x="757" y="432"/>
                  </a:cubicBezTo>
                  <a:close/>
                  <a:moveTo>
                    <a:pt x="824" y="436"/>
                  </a:moveTo>
                  <a:cubicBezTo>
                    <a:pt x="827" y="436"/>
                    <a:pt x="829" y="438"/>
                    <a:pt x="832" y="440"/>
                  </a:cubicBezTo>
                  <a:cubicBezTo>
                    <a:pt x="833" y="437"/>
                    <a:pt x="837" y="437"/>
                    <a:pt x="838" y="434"/>
                  </a:cubicBezTo>
                  <a:cubicBezTo>
                    <a:pt x="834" y="432"/>
                    <a:pt x="826" y="432"/>
                    <a:pt x="824" y="436"/>
                  </a:cubicBezTo>
                  <a:close/>
                  <a:moveTo>
                    <a:pt x="791" y="436"/>
                  </a:moveTo>
                  <a:cubicBezTo>
                    <a:pt x="795" y="438"/>
                    <a:pt x="795" y="443"/>
                    <a:pt x="799" y="445"/>
                  </a:cubicBezTo>
                  <a:cubicBezTo>
                    <a:pt x="799" y="442"/>
                    <a:pt x="798" y="438"/>
                    <a:pt x="800" y="435"/>
                  </a:cubicBezTo>
                  <a:cubicBezTo>
                    <a:pt x="796" y="436"/>
                    <a:pt x="793" y="434"/>
                    <a:pt x="791" y="436"/>
                  </a:cubicBezTo>
                  <a:close/>
                  <a:moveTo>
                    <a:pt x="810" y="452"/>
                  </a:moveTo>
                  <a:cubicBezTo>
                    <a:pt x="817" y="451"/>
                    <a:pt x="821" y="447"/>
                    <a:pt x="825" y="443"/>
                  </a:cubicBezTo>
                  <a:cubicBezTo>
                    <a:pt x="817" y="437"/>
                    <a:pt x="809" y="440"/>
                    <a:pt x="810" y="452"/>
                  </a:cubicBezTo>
                  <a:close/>
                  <a:moveTo>
                    <a:pt x="835" y="442"/>
                  </a:moveTo>
                  <a:cubicBezTo>
                    <a:pt x="836" y="442"/>
                    <a:pt x="837" y="443"/>
                    <a:pt x="839" y="442"/>
                  </a:cubicBezTo>
                  <a:cubicBezTo>
                    <a:pt x="839" y="441"/>
                    <a:pt x="838" y="440"/>
                    <a:pt x="838" y="439"/>
                  </a:cubicBezTo>
                  <a:cubicBezTo>
                    <a:pt x="837" y="439"/>
                    <a:pt x="836" y="439"/>
                    <a:pt x="836" y="439"/>
                  </a:cubicBezTo>
                  <a:cubicBezTo>
                    <a:pt x="836" y="440"/>
                    <a:pt x="835" y="441"/>
                    <a:pt x="835" y="442"/>
                  </a:cubicBezTo>
                  <a:close/>
                  <a:moveTo>
                    <a:pt x="847" y="451"/>
                  </a:moveTo>
                  <a:cubicBezTo>
                    <a:pt x="845" y="448"/>
                    <a:pt x="846" y="443"/>
                    <a:pt x="844" y="441"/>
                  </a:cubicBezTo>
                  <a:cubicBezTo>
                    <a:pt x="843" y="444"/>
                    <a:pt x="842" y="451"/>
                    <a:pt x="847" y="451"/>
                  </a:cubicBezTo>
                  <a:close/>
                  <a:moveTo>
                    <a:pt x="815" y="453"/>
                  </a:moveTo>
                  <a:cubicBezTo>
                    <a:pt x="815" y="456"/>
                    <a:pt x="818" y="456"/>
                    <a:pt x="820" y="457"/>
                  </a:cubicBezTo>
                  <a:cubicBezTo>
                    <a:pt x="824" y="454"/>
                    <a:pt x="830" y="453"/>
                    <a:pt x="833" y="449"/>
                  </a:cubicBezTo>
                  <a:cubicBezTo>
                    <a:pt x="828" y="440"/>
                    <a:pt x="823" y="453"/>
                    <a:pt x="815" y="453"/>
                  </a:cubicBezTo>
                  <a:close/>
                  <a:moveTo>
                    <a:pt x="825" y="459"/>
                  </a:moveTo>
                  <a:cubicBezTo>
                    <a:pt x="830" y="465"/>
                    <a:pt x="843" y="462"/>
                    <a:pt x="839" y="451"/>
                  </a:cubicBezTo>
                  <a:cubicBezTo>
                    <a:pt x="833" y="452"/>
                    <a:pt x="828" y="454"/>
                    <a:pt x="825" y="459"/>
                  </a:cubicBezTo>
                  <a:close/>
                  <a:moveTo>
                    <a:pt x="804" y="464"/>
                  </a:moveTo>
                  <a:cubicBezTo>
                    <a:pt x="805" y="465"/>
                    <a:pt x="807" y="466"/>
                    <a:pt x="807" y="464"/>
                  </a:cubicBezTo>
                  <a:cubicBezTo>
                    <a:pt x="805" y="464"/>
                    <a:pt x="808" y="463"/>
                    <a:pt x="807" y="462"/>
                  </a:cubicBezTo>
                  <a:cubicBezTo>
                    <a:pt x="805" y="462"/>
                    <a:pt x="804" y="463"/>
                    <a:pt x="804" y="464"/>
                  </a:cubicBezTo>
                  <a:close/>
                  <a:moveTo>
                    <a:pt x="836" y="466"/>
                  </a:moveTo>
                  <a:cubicBezTo>
                    <a:pt x="838" y="466"/>
                    <a:pt x="840" y="466"/>
                    <a:pt x="840" y="464"/>
                  </a:cubicBezTo>
                  <a:cubicBezTo>
                    <a:pt x="839" y="464"/>
                    <a:pt x="839" y="462"/>
                    <a:pt x="837" y="462"/>
                  </a:cubicBezTo>
                  <a:cubicBezTo>
                    <a:pt x="837" y="463"/>
                    <a:pt x="836" y="464"/>
                    <a:pt x="836" y="466"/>
                  </a:cubicBezTo>
                  <a:close/>
                  <a:moveTo>
                    <a:pt x="814" y="464"/>
                  </a:moveTo>
                  <a:cubicBezTo>
                    <a:pt x="813" y="468"/>
                    <a:pt x="818" y="466"/>
                    <a:pt x="817" y="471"/>
                  </a:cubicBezTo>
                  <a:cubicBezTo>
                    <a:pt x="821" y="471"/>
                    <a:pt x="823" y="468"/>
                    <a:pt x="826" y="467"/>
                  </a:cubicBezTo>
                  <a:cubicBezTo>
                    <a:pt x="822" y="466"/>
                    <a:pt x="818" y="462"/>
                    <a:pt x="814" y="464"/>
                  </a:cubicBezTo>
                  <a:close/>
                  <a:moveTo>
                    <a:pt x="849" y="475"/>
                  </a:moveTo>
                  <a:cubicBezTo>
                    <a:pt x="849" y="471"/>
                    <a:pt x="848" y="467"/>
                    <a:pt x="845" y="466"/>
                  </a:cubicBezTo>
                  <a:cubicBezTo>
                    <a:pt x="844" y="469"/>
                    <a:pt x="845" y="475"/>
                    <a:pt x="849" y="475"/>
                  </a:cubicBezTo>
                  <a:close/>
                  <a:moveTo>
                    <a:pt x="810" y="476"/>
                  </a:moveTo>
                  <a:cubicBezTo>
                    <a:pt x="818" y="476"/>
                    <a:pt x="816" y="467"/>
                    <a:pt x="810" y="466"/>
                  </a:cubicBezTo>
                  <a:cubicBezTo>
                    <a:pt x="810" y="469"/>
                    <a:pt x="809" y="473"/>
                    <a:pt x="810" y="476"/>
                  </a:cubicBezTo>
                  <a:close/>
                  <a:moveTo>
                    <a:pt x="821" y="473"/>
                  </a:moveTo>
                  <a:cubicBezTo>
                    <a:pt x="821" y="474"/>
                    <a:pt x="821" y="475"/>
                    <a:pt x="821" y="477"/>
                  </a:cubicBezTo>
                  <a:cubicBezTo>
                    <a:pt x="823" y="476"/>
                    <a:pt x="824" y="478"/>
                    <a:pt x="826" y="478"/>
                  </a:cubicBezTo>
                  <a:cubicBezTo>
                    <a:pt x="827" y="475"/>
                    <a:pt x="833" y="475"/>
                    <a:pt x="834" y="471"/>
                  </a:cubicBezTo>
                  <a:cubicBezTo>
                    <a:pt x="830" y="467"/>
                    <a:pt x="825" y="471"/>
                    <a:pt x="821" y="473"/>
                  </a:cubicBezTo>
                  <a:close/>
                  <a:moveTo>
                    <a:pt x="825" y="481"/>
                  </a:moveTo>
                  <a:cubicBezTo>
                    <a:pt x="829" y="485"/>
                    <a:pt x="836" y="487"/>
                    <a:pt x="841" y="483"/>
                  </a:cubicBezTo>
                  <a:cubicBezTo>
                    <a:pt x="841" y="480"/>
                    <a:pt x="840" y="478"/>
                    <a:pt x="841" y="475"/>
                  </a:cubicBezTo>
                  <a:cubicBezTo>
                    <a:pt x="834" y="473"/>
                    <a:pt x="830" y="480"/>
                    <a:pt x="825" y="481"/>
                  </a:cubicBezTo>
                  <a:close/>
                  <a:moveTo>
                    <a:pt x="802" y="481"/>
                  </a:moveTo>
                  <a:cubicBezTo>
                    <a:pt x="803" y="483"/>
                    <a:pt x="806" y="480"/>
                    <a:pt x="806" y="477"/>
                  </a:cubicBezTo>
                  <a:cubicBezTo>
                    <a:pt x="804" y="477"/>
                    <a:pt x="803" y="475"/>
                    <a:pt x="801" y="475"/>
                  </a:cubicBezTo>
                  <a:cubicBezTo>
                    <a:pt x="801" y="478"/>
                    <a:pt x="802" y="479"/>
                    <a:pt x="802" y="481"/>
                  </a:cubicBezTo>
                  <a:close/>
                  <a:moveTo>
                    <a:pt x="815" y="477"/>
                  </a:moveTo>
                  <a:cubicBezTo>
                    <a:pt x="816" y="479"/>
                    <a:pt x="818" y="480"/>
                    <a:pt x="821" y="479"/>
                  </a:cubicBezTo>
                  <a:cubicBezTo>
                    <a:pt x="821" y="475"/>
                    <a:pt x="819" y="475"/>
                    <a:pt x="815" y="477"/>
                  </a:cubicBezTo>
                  <a:close/>
                  <a:moveTo>
                    <a:pt x="813" y="481"/>
                  </a:moveTo>
                  <a:cubicBezTo>
                    <a:pt x="813" y="482"/>
                    <a:pt x="814" y="482"/>
                    <a:pt x="815" y="482"/>
                  </a:cubicBezTo>
                  <a:cubicBezTo>
                    <a:pt x="815" y="481"/>
                    <a:pt x="815" y="481"/>
                    <a:pt x="815" y="480"/>
                  </a:cubicBezTo>
                  <a:cubicBezTo>
                    <a:pt x="814" y="480"/>
                    <a:pt x="813" y="480"/>
                    <a:pt x="813" y="481"/>
                  </a:cubicBezTo>
                  <a:close/>
                  <a:moveTo>
                    <a:pt x="812" y="486"/>
                  </a:moveTo>
                  <a:cubicBezTo>
                    <a:pt x="813" y="485"/>
                    <a:pt x="812" y="484"/>
                    <a:pt x="810" y="483"/>
                  </a:cubicBezTo>
                  <a:cubicBezTo>
                    <a:pt x="809" y="484"/>
                    <a:pt x="810" y="487"/>
                    <a:pt x="812" y="486"/>
                  </a:cubicBezTo>
                  <a:close/>
                  <a:moveTo>
                    <a:pt x="805" y="490"/>
                  </a:moveTo>
                  <a:cubicBezTo>
                    <a:pt x="806" y="489"/>
                    <a:pt x="807" y="484"/>
                    <a:pt x="804" y="484"/>
                  </a:cubicBezTo>
                  <a:cubicBezTo>
                    <a:pt x="805" y="487"/>
                    <a:pt x="802" y="489"/>
                    <a:pt x="805" y="490"/>
                  </a:cubicBezTo>
                  <a:close/>
                  <a:moveTo>
                    <a:pt x="808" y="500"/>
                  </a:moveTo>
                  <a:cubicBezTo>
                    <a:pt x="814" y="500"/>
                    <a:pt x="820" y="493"/>
                    <a:pt x="826" y="491"/>
                  </a:cubicBezTo>
                  <a:cubicBezTo>
                    <a:pt x="818" y="483"/>
                    <a:pt x="806" y="487"/>
                    <a:pt x="808" y="500"/>
                  </a:cubicBezTo>
                  <a:close/>
                  <a:moveTo>
                    <a:pt x="838" y="487"/>
                  </a:moveTo>
                  <a:cubicBezTo>
                    <a:pt x="838" y="489"/>
                    <a:pt x="839" y="490"/>
                    <a:pt x="841" y="490"/>
                  </a:cubicBezTo>
                  <a:cubicBezTo>
                    <a:pt x="841" y="489"/>
                    <a:pt x="841" y="488"/>
                    <a:pt x="841" y="487"/>
                  </a:cubicBezTo>
                  <a:cubicBezTo>
                    <a:pt x="840" y="486"/>
                    <a:pt x="839" y="486"/>
                    <a:pt x="838" y="487"/>
                  </a:cubicBezTo>
                  <a:close/>
                  <a:moveTo>
                    <a:pt x="850" y="498"/>
                  </a:moveTo>
                  <a:cubicBezTo>
                    <a:pt x="850" y="496"/>
                    <a:pt x="849" y="490"/>
                    <a:pt x="847" y="488"/>
                  </a:cubicBezTo>
                  <a:cubicBezTo>
                    <a:pt x="846" y="490"/>
                    <a:pt x="846" y="497"/>
                    <a:pt x="850" y="498"/>
                  </a:cubicBezTo>
                  <a:close/>
                  <a:moveTo>
                    <a:pt x="697" y="493"/>
                  </a:moveTo>
                  <a:cubicBezTo>
                    <a:pt x="700" y="494"/>
                    <a:pt x="701" y="489"/>
                    <a:pt x="698" y="489"/>
                  </a:cubicBezTo>
                  <a:cubicBezTo>
                    <a:pt x="698" y="491"/>
                    <a:pt x="697" y="491"/>
                    <a:pt x="697" y="493"/>
                  </a:cubicBezTo>
                  <a:close/>
                  <a:moveTo>
                    <a:pt x="829" y="492"/>
                  </a:moveTo>
                  <a:cubicBezTo>
                    <a:pt x="823" y="497"/>
                    <a:pt x="814" y="500"/>
                    <a:pt x="810" y="504"/>
                  </a:cubicBezTo>
                  <a:cubicBezTo>
                    <a:pt x="818" y="519"/>
                    <a:pt x="830" y="505"/>
                    <a:pt x="836" y="497"/>
                  </a:cubicBezTo>
                  <a:cubicBezTo>
                    <a:pt x="834" y="495"/>
                    <a:pt x="832" y="493"/>
                    <a:pt x="829" y="492"/>
                  </a:cubicBezTo>
                  <a:close/>
                  <a:moveTo>
                    <a:pt x="803" y="498"/>
                  </a:moveTo>
                  <a:cubicBezTo>
                    <a:pt x="805" y="496"/>
                    <a:pt x="802" y="494"/>
                    <a:pt x="800" y="494"/>
                  </a:cubicBezTo>
                  <a:cubicBezTo>
                    <a:pt x="800" y="496"/>
                    <a:pt x="801" y="498"/>
                    <a:pt x="803" y="498"/>
                  </a:cubicBezTo>
                  <a:close/>
                  <a:moveTo>
                    <a:pt x="826" y="514"/>
                  </a:moveTo>
                  <a:cubicBezTo>
                    <a:pt x="835" y="512"/>
                    <a:pt x="848" y="512"/>
                    <a:pt x="840" y="501"/>
                  </a:cubicBezTo>
                  <a:cubicBezTo>
                    <a:pt x="840" y="500"/>
                    <a:pt x="843" y="498"/>
                    <a:pt x="840" y="498"/>
                  </a:cubicBezTo>
                  <a:cubicBezTo>
                    <a:pt x="836" y="504"/>
                    <a:pt x="827" y="507"/>
                    <a:pt x="826" y="514"/>
                  </a:cubicBezTo>
                  <a:close/>
                  <a:moveTo>
                    <a:pt x="800" y="509"/>
                  </a:moveTo>
                  <a:cubicBezTo>
                    <a:pt x="804" y="509"/>
                    <a:pt x="804" y="501"/>
                    <a:pt x="800" y="501"/>
                  </a:cubicBezTo>
                  <a:cubicBezTo>
                    <a:pt x="800" y="503"/>
                    <a:pt x="800" y="506"/>
                    <a:pt x="800" y="509"/>
                  </a:cubicBezTo>
                  <a:close/>
                  <a:moveTo>
                    <a:pt x="808" y="514"/>
                  </a:moveTo>
                  <a:cubicBezTo>
                    <a:pt x="812" y="513"/>
                    <a:pt x="813" y="514"/>
                    <a:pt x="815" y="514"/>
                  </a:cubicBezTo>
                  <a:cubicBezTo>
                    <a:pt x="814" y="511"/>
                    <a:pt x="811" y="509"/>
                    <a:pt x="808" y="508"/>
                  </a:cubicBezTo>
                  <a:cubicBezTo>
                    <a:pt x="807" y="509"/>
                    <a:pt x="809" y="511"/>
                    <a:pt x="808" y="514"/>
                  </a:cubicBezTo>
                  <a:close/>
                  <a:moveTo>
                    <a:pt x="835" y="521"/>
                  </a:moveTo>
                  <a:cubicBezTo>
                    <a:pt x="838" y="523"/>
                    <a:pt x="840" y="520"/>
                    <a:pt x="843" y="522"/>
                  </a:cubicBezTo>
                  <a:cubicBezTo>
                    <a:pt x="843" y="519"/>
                    <a:pt x="843" y="517"/>
                    <a:pt x="843" y="515"/>
                  </a:cubicBezTo>
                  <a:cubicBezTo>
                    <a:pt x="839" y="516"/>
                    <a:pt x="837" y="519"/>
                    <a:pt x="835" y="521"/>
                  </a:cubicBezTo>
                  <a:close/>
                  <a:moveTo>
                    <a:pt x="808" y="516"/>
                  </a:moveTo>
                  <a:cubicBezTo>
                    <a:pt x="809" y="519"/>
                    <a:pt x="807" y="523"/>
                    <a:pt x="809" y="523"/>
                  </a:cubicBezTo>
                  <a:cubicBezTo>
                    <a:pt x="810" y="520"/>
                    <a:pt x="816" y="518"/>
                    <a:pt x="815" y="516"/>
                  </a:cubicBezTo>
                  <a:cubicBezTo>
                    <a:pt x="813" y="517"/>
                    <a:pt x="810" y="515"/>
                    <a:pt x="808" y="516"/>
                  </a:cubicBezTo>
                  <a:close/>
                  <a:moveTo>
                    <a:pt x="831" y="520"/>
                  </a:moveTo>
                  <a:cubicBezTo>
                    <a:pt x="832" y="519"/>
                    <a:pt x="835" y="519"/>
                    <a:pt x="835" y="516"/>
                  </a:cubicBezTo>
                  <a:cubicBezTo>
                    <a:pt x="831" y="516"/>
                    <a:pt x="829" y="516"/>
                    <a:pt x="825" y="516"/>
                  </a:cubicBezTo>
                  <a:cubicBezTo>
                    <a:pt x="826" y="518"/>
                    <a:pt x="828" y="520"/>
                    <a:pt x="831" y="520"/>
                  </a:cubicBezTo>
                  <a:close/>
                  <a:moveTo>
                    <a:pt x="802" y="521"/>
                  </a:moveTo>
                  <a:cubicBezTo>
                    <a:pt x="805" y="521"/>
                    <a:pt x="805" y="516"/>
                    <a:pt x="803" y="516"/>
                  </a:cubicBezTo>
                  <a:cubicBezTo>
                    <a:pt x="802" y="517"/>
                    <a:pt x="802" y="519"/>
                    <a:pt x="802" y="521"/>
                  </a:cubicBezTo>
                  <a:close/>
                  <a:moveTo>
                    <a:pt x="848" y="520"/>
                  </a:moveTo>
                  <a:cubicBezTo>
                    <a:pt x="849" y="519"/>
                    <a:pt x="849" y="516"/>
                    <a:pt x="847" y="516"/>
                  </a:cubicBezTo>
                  <a:cubicBezTo>
                    <a:pt x="846" y="517"/>
                    <a:pt x="847" y="519"/>
                    <a:pt x="848" y="520"/>
                  </a:cubicBezTo>
                  <a:close/>
                  <a:moveTo>
                    <a:pt x="815" y="522"/>
                  </a:moveTo>
                  <a:cubicBezTo>
                    <a:pt x="818" y="522"/>
                    <a:pt x="821" y="521"/>
                    <a:pt x="825" y="522"/>
                  </a:cubicBezTo>
                  <a:cubicBezTo>
                    <a:pt x="824" y="517"/>
                    <a:pt x="815" y="516"/>
                    <a:pt x="815" y="522"/>
                  </a:cubicBezTo>
                  <a:close/>
                  <a:moveTo>
                    <a:pt x="779" y="526"/>
                  </a:moveTo>
                  <a:cubicBezTo>
                    <a:pt x="784" y="528"/>
                    <a:pt x="790" y="528"/>
                    <a:pt x="793" y="524"/>
                  </a:cubicBezTo>
                  <a:cubicBezTo>
                    <a:pt x="793" y="524"/>
                    <a:pt x="792" y="523"/>
                    <a:pt x="791" y="522"/>
                  </a:cubicBezTo>
                  <a:cubicBezTo>
                    <a:pt x="793" y="522"/>
                    <a:pt x="794" y="521"/>
                    <a:pt x="793" y="519"/>
                  </a:cubicBezTo>
                  <a:cubicBezTo>
                    <a:pt x="793" y="519"/>
                    <a:pt x="792" y="518"/>
                    <a:pt x="791" y="518"/>
                  </a:cubicBezTo>
                  <a:cubicBezTo>
                    <a:pt x="789" y="523"/>
                    <a:pt x="781" y="520"/>
                    <a:pt x="779" y="526"/>
                  </a:cubicBezTo>
                  <a:close/>
                  <a:moveTo>
                    <a:pt x="867" y="520"/>
                  </a:moveTo>
                  <a:cubicBezTo>
                    <a:pt x="863" y="519"/>
                    <a:pt x="861" y="519"/>
                    <a:pt x="856" y="518"/>
                  </a:cubicBezTo>
                  <a:cubicBezTo>
                    <a:pt x="856" y="522"/>
                    <a:pt x="865" y="522"/>
                    <a:pt x="867" y="520"/>
                  </a:cubicBezTo>
                  <a:close/>
                  <a:moveTo>
                    <a:pt x="884" y="524"/>
                  </a:moveTo>
                  <a:cubicBezTo>
                    <a:pt x="879" y="524"/>
                    <a:pt x="876" y="522"/>
                    <a:pt x="871" y="522"/>
                  </a:cubicBezTo>
                  <a:cubicBezTo>
                    <a:pt x="873" y="525"/>
                    <a:pt x="879" y="526"/>
                    <a:pt x="884" y="524"/>
                  </a:cubicBezTo>
                  <a:close/>
                  <a:moveTo>
                    <a:pt x="844" y="532"/>
                  </a:moveTo>
                  <a:cubicBezTo>
                    <a:pt x="844" y="529"/>
                    <a:pt x="844" y="526"/>
                    <a:pt x="843" y="524"/>
                  </a:cubicBezTo>
                  <a:cubicBezTo>
                    <a:pt x="840" y="524"/>
                    <a:pt x="837" y="524"/>
                    <a:pt x="834" y="524"/>
                  </a:cubicBezTo>
                  <a:cubicBezTo>
                    <a:pt x="837" y="527"/>
                    <a:pt x="840" y="530"/>
                    <a:pt x="844" y="532"/>
                  </a:cubicBezTo>
                  <a:close/>
                  <a:moveTo>
                    <a:pt x="852" y="533"/>
                  </a:moveTo>
                  <a:cubicBezTo>
                    <a:pt x="852" y="530"/>
                    <a:pt x="853" y="525"/>
                    <a:pt x="850" y="524"/>
                  </a:cubicBezTo>
                  <a:cubicBezTo>
                    <a:pt x="850" y="527"/>
                    <a:pt x="847" y="535"/>
                    <a:pt x="852" y="533"/>
                  </a:cubicBezTo>
                  <a:close/>
                  <a:moveTo>
                    <a:pt x="808" y="526"/>
                  </a:moveTo>
                  <a:cubicBezTo>
                    <a:pt x="808" y="527"/>
                    <a:pt x="809" y="528"/>
                    <a:pt x="808" y="529"/>
                  </a:cubicBezTo>
                  <a:cubicBezTo>
                    <a:pt x="808" y="531"/>
                    <a:pt x="809" y="532"/>
                    <a:pt x="810" y="533"/>
                  </a:cubicBezTo>
                  <a:cubicBezTo>
                    <a:pt x="809" y="533"/>
                    <a:pt x="807" y="534"/>
                    <a:pt x="808" y="535"/>
                  </a:cubicBezTo>
                  <a:cubicBezTo>
                    <a:pt x="816" y="535"/>
                    <a:pt x="822" y="532"/>
                    <a:pt x="825" y="525"/>
                  </a:cubicBezTo>
                  <a:cubicBezTo>
                    <a:pt x="820" y="527"/>
                    <a:pt x="813" y="525"/>
                    <a:pt x="808" y="526"/>
                  </a:cubicBezTo>
                  <a:close/>
                  <a:moveTo>
                    <a:pt x="856" y="526"/>
                  </a:moveTo>
                  <a:cubicBezTo>
                    <a:pt x="859" y="527"/>
                    <a:pt x="857" y="533"/>
                    <a:pt x="858" y="535"/>
                  </a:cubicBezTo>
                  <a:cubicBezTo>
                    <a:pt x="863" y="534"/>
                    <a:pt x="864" y="534"/>
                    <a:pt x="868" y="533"/>
                  </a:cubicBezTo>
                  <a:cubicBezTo>
                    <a:pt x="869" y="530"/>
                    <a:pt x="866" y="529"/>
                    <a:pt x="868" y="526"/>
                  </a:cubicBezTo>
                  <a:cubicBezTo>
                    <a:pt x="865" y="527"/>
                    <a:pt x="865" y="525"/>
                    <a:pt x="862" y="526"/>
                  </a:cubicBezTo>
                  <a:cubicBezTo>
                    <a:pt x="861" y="528"/>
                    <a:pt x="865" y="528"/>
                    <a:pt x="865" y="531"/>
                  </a:cubicBezTo>
                  <a:cubicBezTo>
                    <a:pt x="864" y="531"/>
                    <a:pt x="864" y="532"/>
                    <a:pt x="864" y="532"/>
                  </a:cubicBezTo>
                  <a:cubicBezTo>
                    <a:pt x="863" y="529"/>
                    <a:pt x="858" y="530"/>
                    <a:pt x="859" y="525"/>
                  </a:cubicBezTo>
                  <a:cubicBezTo>
                    <a:pt x="857" y="525"/>
                    <a:pt x="856" y="525"/>
                    <a:pt x="856" y="526"/>
                  </a:cubicBezTo>
                  <a:close/>
                  <a:moveTo>
                    <a:pt x="831" y="526"/>
                  </a:moveTo>
                  <a:cubicBezTo>
                    <a:pt x="826" y="528"/>
                    <a:pt x="823" y="532"/>
                    <a:pt x="821" y="535"/>
                  </a:cubicBezTo>
                  <a:cubicBezTo>
                    <a:pt x="829" y="535"/>
                    <a:pt x="834" y="535"/>
                    <a:pt x="841" y="535"/>
                  </a:cubicBezTo>
                  <a:cubicBezTo>
                    <a:pt x="839" y="531"/>
                    <a:pt x="835" y="529"/>
                    <a:pt x="831" y="526"/>
                  </a:cubicBezTo>
                  <a:close/>
                  <a:moveTo>
                    <a:pt x="744" y="539"/>
                  </a:moveTo>
                  <a:cubicBezTo>
                    <a:pt x="757" y="535"/>
                    <a:pt x="770" y="532"/>
                    <a:pt x="782" y="528"/>
                  </a:cubicBezTo>
                  <a:cubicBezTo>
                    <a:pt x="766" y="525"/>
                    <a:pt x="756" y="535"/>
                    <a:pt x="744" y="539"/>
                  </a:cubicBezTo>
                  <a:close/>
                  <a:moveTo>
                    <a:pt x="798" y="531"/>
                  </a:moveTo>
                  <a:cubicBezTo>
                    <a:pt x="801" y="532"/>
                    <a:pt x="801" y="527"/>
                    <a:pt x="798" y="528"/>
                  </a:cubicBezTo>
                  <a:cubicBezTo>
                    <a:pt x="797" y="529"/>
                    <a:pt x="798" y="530"/>
                    <a:pt x="798" y="531"/>
                  </a:cubicBezTo>
                  <a:close/>
                  <a:moveTo>
                    <a:pt x="871" y="533"/>
                  </a:moveTo>
                  <a:cubicBezTo>
                    <a:pt x="875" y="532"/>
                    <a:pt x="879" y="531"/>
                    <a:pt x="881" y="528"/>
                  </a:cubicBezTo>
                  <a:cubicBezTo>
                    <a:pt x="875" y="528"/>
                    <a:pt x="873" y="528"/>
                    <a:pt x="871" y="533"/>
                  </a:cubicBezTo>
                  <a:close/>
                  <a:moveTo>
                    <a:pt x="787" y="531"/>
                  </a:moveTo>
                  <a:cubicBezTo>
                    <a:pt x="787" y="534"/>
                    <a:pt x="790" y="535"/>
                    <a:pt x="792" y="536"/>
                  </a:cubicBezTo>
                  <a:cubicBezTo>
                    <a:pt x="791" y="532"/>
                    <a:pt x="791" y="533"/>
                    <a:pt x="793" y="530"/>
                  </a:cubicBezTo>
                  <a:cubicBezTo>
                    <a:pt x="790" y="530"/>
                    <a:pt x="790" y="532"/>
                    <a:pt x="787" y="531"/>
                  </a:cubicBezTo>
                  <a:close/>
                  <a:moveTo>
                    <a:pt x="878" y="535"/>
                  </a:moveTo>
                  <a:cubicBezTo>
                    <a:pt x="884" y="535"/>
                    <a:pt x="890" y="535"/>
                    <a:pt x="891" y="531"/>
                  </a:cubicBezTo>
                  <a:cubicBezTo>
                    <a:pt x="886" y="529"/>
                    <a:pt x="879" y="530"/>
                    <a:pt x="878" y="535"/>
                  </a:cubicBezTo>
                  <a:close/>
                  <a:moveTo>
                    <a:pt x="892" y="535"/>
                  </a:moveTo>
                  <a:cubicBezTo>
                    <a:pt x="894" y="535"/>
                    <a:pt x="900" y="534"/>
                    <a:pt x="902" y="533"/>
                  </a:cubicBezTo>
                  <a:cubicBezTo>
                    <a:pt x="900" y="531"/>
                    <a:pt x="893" y="530"/>
                    <a:pt x="892" y="535"/>
                  </a:cubicBezTo>
                  <a:close/>
                  <a:moveTo>
                    <a:pt x="776" y="534"/>
                  </a:moveTo>
                  <a:cubicBezTo>
                    <a:pt x="774" y="534"/>
                    <a:pt x="776" y="537"/>
                    <a:pt x="774" y="537"/>
                  </a:cubicBezTo>
                  <a:cubicBezTo>
                    <a:pt x="774" y="534"/>
                    <a:pt x="768" y="536"/>
                    <a:pt x="767" y="537"/>
                  </a:cubicBezTo>
                  <a:cubicBezTo>
                    <a:pt x="773" y="540"/>
                    <a:pt x="782" y="538"/>
                    <a:pt x="787" y="537"/>
                  </a:cubicBezTo>
                  <a:cubicBezTo>
                    <a:pt x="785" y="532"/>
                    <a:pt x="781" y="533"/>
                    <a:pt x="776" y="534"/>
                  </a:cubicBezTo>
                  <a:close/>
                  <a:moveTo>
                    <a:pt x="910" y="534"/>
                  </a:moveTo>
                  <a:cubicBezTo>
                    <a:pt x="907" y="535"/>
                    <a:pt x="904" y="533"/>
                    <a:pt x="903" y="534"/>
                  </a:cubicBezTo>
                  <a:cubicBezTo>
                    <a:pt x="905" y="535"/>
                    <a:pt x="909" y="537"/>
                    <a:pt x="910" y="534"/>
                  </a:cubicBezTo>
                  <a:close/>
                  <a:moveTo>
                    <a:pt x="854" y="539"/>
                  </a:moveTo>
                  <a:cubicBezTo>
                    <a:pt x="854" y="537"/>
                    <a:pt x="853" y="537"/>
                    <a:pt x="851" y="537"/>
                  </a:cubicBezTo>
                  <a:cubicBezTo>
                    <a:pt x="851" y="539"/>
                    <a:pt x="852" y="539"/>
                    <a:pt x="854" y="539"/>
                  </a:cubicBezTo>
                  <a:close/>
                  <a:moveTo>
                    <a:pt x="858" y="542"/>
                  </a:moveTo>
                  <a:cubicBezTo>
                    <a:pt x="860" y="541"/>
                    <a:pt x="863" y="541"/>
                    <a:pt x="863" y="538"/>
                  </a:cubicBezTo>
                  <a:cubicBezTo>
                    <a:pt x="861" y="537"/>
                    <a:pt x="858" y="538"/>
                    <a:pt x="858" y="542"/>
                  </a:cubicBezTo>
                  <a:close/>
                  <a:moveTo>
                    <a:pt x="871" y="538"/>
                  </a:moveTo>
                  <a:cubicBezTo>
                    <a:pt x="871" y="540"/>
                    <a:pt x="873" y="539"/>
                    <a:pt x="875" y="539"/>
                  </a:cubicBezTo>
                  <a:cubicBezTo>
                    <a:pt x="875" y="537"/>
                    <a:pt x="872" y="537"/>
                    <a:pt x="871" y="538"/>
                  </a:cubicBezTo>
                  <a:close/>
                  <a:moveTo>
                    <a:pt x="879" y="539"/>
                  </a:moveTo>
                  <a:cubicBezTo>
                    <a:pt x="880" y="540"/>
                    <a:pt x="883" y="540"/>
                    <a:pt x="883" y="538"/>
                  </a:cubicBezTo>
                  <a:cubicBezTo>
                    <a:pt x="881" y="538"/>
                    <a:pt x="880" y="537"/>
                    <a:pt x="879" y="539"/>
                  </a:cubicBezTo>
                  <a:close/>
                  <a:moveTo>
                    <a:pt x="750" y="541"/>
                  </a:moveTo>
                  <a:cubicBezTo>
                    <a:pt x="756" y="543"/>
                    <a:pt x="758" y="540"/>
                    <a:pt x="765" y="540"/>
                  </a:cubicBezTo>
                  <a:cubicBezTo>
                    <a:pt x="762" y="535"/>
                    <a:pt x="755" y="541"/>
                    <a:pt x="750" y="541"/>
                  </a:cubicBezTo>
                  <a:close/>
                  <a:moveTo>
                    <a:pt x="864" y="542"/>
                  </a:moveTo>
                  <a:cubicBezTo>
                    <a:pt x="867" y="542"/>
                    <a:pt x="870" y="542"/>
                    <a:pt x="871" y="540"/>
                  </a:cubicBezTo>
                  <a:cubicBezTo>
                    <a:pt x="868" y="539"/>
                    <a:pt x="863" y="538"/>
                    <a:pt x="864" y="542"/>
                  </a:cubicBezTo>
                  <a:close/>
                  <a:moveTo>
                    <a:pt x="797" y="540"/>
                  </a:moveTo>
                  <a:cubicBezTo>
                    <a:pt x="796" y="543"/>
                    <a:pt x="802" y="542"/>
                    <a:pt x="802" y="540"/>
                  </a:cubicBezTo>
                  <a:cubicBezTo>
                    <a:pt x="801" y="539"/>
                    <a:pt x="798" y="539"/>
                    <a:pt x="797" y="540"/>
                  </a:cubicBezTo>
                  <a:close/>
                  <a:moveTo>
                    <a:pt x="827" y="544"/>
                  </a:moveTo>
                  <a:cubicBezTo>
                    <a:pt x="832" y="543"/>
                    <a:pt x="837" y="544"/>
                    <a:pt x="841" y="542"/>
                  </a:cubicBezTo>
                  <a:cubicBezTo>
                    <a:pt x="837" y="540"/>
                    <a:pt x="830" y="541"/>
                    <a:pt x="825" y="539"/>
                  </a:cubicBezTo>
                  <a:cubicBezTo>
                    <a:pt x="824" y="543"/>
                    <a:pt x="828" y="541"/>
                    <a:pt x="827" y="544"/>
                  </a:cubicBezTo>
                  <a:close/>
                  <a:moveTo>
                    <a:pt x="790" y="543"/>
                  </a:moveTo>
                  <a:cubicBezTo>
                    <a:pt x="785" y="542"/>
                    <a:pt x="784" y="543"/>
                    <a:pt x="779" y="543"/>
                  </a:cubicBezTo>
                  <a:cubicBezTo>
                    <a:pt x="780" y="546"/>
                    <a:pt x="788" y="546"/>
                    <a:pt x="791" y="545"/>
                  </a:cubicBezTo>
                  <a:cubicBezTo>
                    <a:pt x="790" y="543"/>
                    <a:pt x="793" y="541"/>
                    <a:pt x="790" y="540"/>
                  </a:cubicBezTo>
                  <a:cubicBezTo>
                    <a:pt x="790" y="541"/>
                    <a:pt x="790" y="542"/>
                    <a:pt x="790" y="543"/>
                  </a:cubicBezTo>
                  <a:close/>
                  <a:moveTo>
                    <a:pt x="822" y="542"/>
                  </a:moveTo>
                  <a:cubicBezTo>
                    <a:pt x="822" y="542"/>
                    <a:pt x="821" y="542"/>
                    <a:pt x="821" y="541"/>
                  </a:cubicBezTo>
                  <a:cubicBezTo>
                    <a:pt x="821" y="541"/>
                    <a:pt x="820" y="541"/>
                    <a:pt x="819" y="541"/>
                  </a:cubicBezTo>
                  <a:cubicBezTo>
                    <a:pt x="817" y="543"/>
                    <a:pt x="822" y="544"/>
                    <a:pt x="822" y="542"/>
                  </a:cubicBezTo>
                  <a:close/>
                  <a:moveTo>
                    <a:pt x="763" y="544"/>
                  </a:moveTo>
                  <a:cubicBezTo>
                    <a:pt x="763" y="547"/>
                    <a:pt x="771" y="546"/>
                    <a:pt x="772" y="544"/>
                  </a:cubicBezTo>
                  <a:cubicBezTo>
                    <a:pt x="770" y="543"/>
                    <a:pt x="764" y="543"/>
                    <a:pt x="763" y="544"/>
                  </a:cubicBezTo>
                  <a:close/>
                  <a:moveTo>
                    <a:pt x="806" y="568"/>
                  </a:moveTo>
                  <a:cubicBezTo>
                    <a:pt x="820" y="568"/>
                    <a:pt x="822" y="557"/>
                    <a:pt x="827" y="548"/>
                  </a:cubicBezTo>
                  <a:cubicBezTo>
                    <a:pt x="815" y="545"/>
                    <a:pt x="805" y="555"/>
                    <a:pt x="806" y="568"/>
                  </a:cubicBezTo>
                  <a:close/>
                  <a:moveTo>
                    <a:pt x="841" y="549"/>
                  </a:moveTo>
                  <a:cubicBezTo>
                    <a:pt x="842" y="549"/>
                    <a:pt x="842" y="550"/>
                    <a:pt x="843" y="551"/>
                  </a:cubicBezTo>
                  <a:cubicBezTo>
                    <a:pt x="841" y="551"/>
                    <a:pt x="840" y="552"/>
                    <a:pt x="839" y="552"/>
                  </a:cubicBezTo>
                  <a:cubicBezTo>
                    <a:pt x="840" y="553"/>
                    <a:pt x="839" y="556"/>
                    <a:pt x="841" y="557"/>
                  </a:cubicBezTo>
                  <a:cubicBezTo>
                    <a:pt x="842" y="555"/>
                    <a:pt x="843" y="557"/>
                    <a:pt x="846" y="557"/>
                  </a:cubicBezTo>
                  <a:cubicBezTo>
                    <a:pt x="846" y="553"/>
                    <a:pt x="844" y="553"/>
                    <a:pt x="842" y="552"/>
                  </a:cubicBezTo>
                  <a:cubicBezTo>
                    <a:pt x="845" y="552"/>
                    <a:pt x="845" y="551"/>
                    <a:pt x="845" y="548"/>
                  </a:cubicBezTo>
                  <a:cubicBezTo>
                    <a:pt x="844" y="547"/>
                    <a:pt x="841" y="547"/>
                    <a:pt x="841" y="549"/>
                  </a:cubicBezTo>
                  <a:close/>
                  <a:moveTo>
                    <a:pt x="809" y="552"/>
                  </a:moveTo>
                  <a:cubicBezTo>
                    <a:pt x="810" y="552"/>
                    <a:pt x="811" y="547"/>
                    <a:pt x="808" y="548"/>
                  </a:cubicBezTo>
                  <a:cubicBezTo>
                    <a:pt x="808" y="549"/>
                    <a:pt x="807" y="552"/>
                    <a:pt x="809" y="552"/>
                  </a:cubicBezTo>
                  <a:close/>
                  <a:moveTo>
                    <a:pt x="800" y="551"/>
                  </a:moveTo>
                  <a:cubicBezTo>
                    <a:pt x="802" y="551"/>
                    <a:pt x="801" y="553"/>
                    <a:pt x="803" y="552"/>
                  </a:cubicBezTo>
                  <a:cubicBezTo>
                    <a:pt x="803" y="552"/>
                    <a:pt x="803" y="551"/>
                    <a:pt x="803" y="550"/>
                  </a:cubicBezTo>
                  <a:cubicBezTo>
                    <a:pt x="801" y="550"/>
                    <a:pt x="800" y="550"/>
                    <a:pt x="800" y="551"/>
                  </a:cubicBezTo>
                  <a:close/>
                  <a:moveTo>
                    <a:pt x="828" y="554"/>
                  </a:moveTo>
                  <a:cubicBezTo>
                    <a:pt x="822" y="563"/>
                    <a:pt x="816" y="571"/>
                    <a:pt x="811" y="580"/>
                  </a:cubicBezTo>
                  <a:cubicBezTo>
                    <a:pt x="822" y="582"/>
                    <a:pt x="836" y="579"/>
                    <a:pt x="848" y="579"/>
                  </a:cubicBezTo>
                  <a:cubicBezTo>
                    <a:pt x="842" y="570"/>
                    <a:pt x="837" y="560"/>
                    <a:pt x="828" y="554"/>
                  </a:cubicBezTo>
                  <a:close/>
                  <a:moveTo>
                    <a:pt x="855" y="562"/>
                  </a:moveTo>
                  <a:cubicBezTo>
                    <a:pt x="856" y="560"/>
                    <a:pt x="854" y="558"/>
                    <a:pt x="854" y="557"/>
                  </a:cubicBezTo>
                  <a:cubicBezTo>
                    <a:pt x="854" y="559"/>
                    <a:pt x="853" y="562"/>
                    <a:pt x="855" y="562"/>
                  </a:cubicBezTo>
                  <a:close/>
                  <a:moveTo>
                    <a:pt x="841" y="564"/>
                  </a:moveTo>
                  <a:cubicBezTo>
                    <a:pt x="841" y="562"/>
                    <a:pt x="841" y="561"/>
                    <a:pt x="839" y="561"/>
                  </a:cubicBezTo>
                  <a:cubicBezTo>
                    <a:pt x="839" y="563"/>
                    <a:pt x="839" y="564"/>
                    <a:pt x="841" y="564"/>
                  </a:cubicBezTo>
                  <a:close/>
                  <a:moveTo>
                    <a:pt x="793" y="574"/>
                  </a:moveTo>
                  <a:cubicBezTo>
                    <a:pt x="795" y="571"/>
                    <a:pt x="798" y="569"/>
                    <a:pt x="798" y="564"/>
                  </a:cubicBezTo>
                  <a:cubicBezTo>
                    <a:pt x="797" y="564"/>
                    <a:pt x="797" y="563"/>
                    <a:pt x="796" y="563"/>
                  </a:cubicBezTo>
                  <a:cubicBezTo>
                    <a:pt x="794" y="565"/>
                    <a:pt x="791" y="573"/>
                    <a:pt x="793" y="574"/>
                  </a:cubicBezTo>
                  <a:close/>
                  <a:moveTo>
                    <a:pt x="848" y="575"/>
                  </a:moveTo>
                  <a:cubicBezTo>
                    <a:pt x="849" y="571"/>
                    <a:pt x="845" y="566"/>
                    <a:pt x="841" y="565"/>
                  </a:cubicBezTo>
                  <a:cubicBezTo>
                    <a:pt x="843" y="569"/>
                    <a:pt x="846" y="571"/>
                    <a:pt x="848" y="575"/>
                  </a:cubicBezTo>
                  <a:close/>
                  <a:moveTo>
                    <a:pt x="859" y="582"/>
                  </a:moveTo>
                  <a:cubicBezTo>
                    <a:pt x="859" y="576"/>
                    <a:pt x="859" y="570"/>
                    <a:pt x="854" y="568"/>
                  </a:cubicBezTo>
                  <a:cubicBezTo>
                    <a:pt x="852" y="574"/>
                    <a:pt x="856" y="579"/>
                    <a:pt x="859" y="582"/>
                  </a:cubicBezTo>
                  <a:close/>
                  <a:moveTo>
                    <a:pt x="804" y="581"/>
                  </a:moveTo>
                  <a:cubicBezTo>
                    <a:pt x="810" y="581"/>
                    <a:pt x="810" y="575"/>
                    <a:pt x="813" y="572"/>
                  </a:cubicBezTo>
                  <a:cubicBezTo>
                    <a:pt x="810" y="570"/>
                    <a:pt x="809" y="572"/>
                    <a:pt x="806" y="570"/>
                  </a:cubicBezTo>
                  <a:cubicBezTo>
                    <a:pt x="805" y="573"/>
                    <a:pt x="805" y="577"/>
                    <a:pt x="804" y="581"/>
                  </a:cubicBezTo>
                  <a:close/>
                  <a:moveTo>
                    <a:pt x="792" y="581"/>
                  </a:moveTo>
                  <a:cubicBezTo>
                    <a:pt x="794" y="583"/>
                    <a:pt x="797" y="581"/>
                    <a:pt x="799" y="581"/>
                  </a:cubicBezTo>
                  <a:cubicBezTo>
                    <a:pt x="799" y="578"/>
                    <a:pt x="799" y="574"/>
                    <a:pt x="797" y="572"/>
                  </a:cubicBezTo>
                  <a:cubicBezTo>
                    <a:pt x="796" y="576"/>
                    <a:pt x="792" y="577"/>
                    <a:pt x="792" y="581"/>
                  </a:cubicBezTo>
                  <a:close/>
                  <a:moveTo>
                    <a:pt x="806" y="589"/>
                  </a:moveTo>
                  <a:cubicBezTo>
                    <a:pt x="808" y="590"/>
                    <a:pt x="809" y="590"/>
                    <a:pt x="813" y="590"/>
                  </a:cubicBezTo>
                  <a:cubicBezTo>
                    <a:pt x="813" y="587"/>
                    <a:pt x="817" y="587"/>
                    <a:pt x="817" y="583"/>
                  </a:cubicBezTo>
                  <a:cubicBezTo>
                    <a:pt x="810" y="582"/>
                    <a:pt x="807" y="585"/>
                    <a:pt x="806" y="589"/>
                  </a:cubicBezTo>
                  <a:close/>
                  <a:moveTo>
                    <a:pt x="828" y="591"/>
                  </a:moveTo>
                  <a:cubicBezTo>
                    <a:pt x="836" y="590"/>
                    <a:pt x="842" y="590"/>
                    <a:pt x="847" y="585"/>
                  </a:cubicBezTo>
                  <a:cubicBezTo>
                    <a:pt x="847" y="587"/>
                    <a:pt x="845" y="588"/>
                    <a:pt x="848" y="589"/>
                  </a:cubicBezTo>
                  <a:cubicBezTo>
                    <a:pt x="852" y="580"/>
                    <a:pt x="831" y="584"/>
                    <a:pt x="822" y="583"/>
                  </a:cubicBezTo>
                  <a:cubicBezTo>
                    <a:pt x="823" y="586"/>
                    <a:pt x="825" y="589"/>
                    <a:pt x="828" y="591"/>
                  </a:cubicBezTo>
                  <a:close/>
                  <a:moveTo>
                    <a:pt x="800" y="588"/>
                  </a:moveTo>
                  <a:cubicBezTo>
                    <a:pt x="800" y="584"/>
                    <a:pt x="797" y="585"/>
                    <a:pt x="794" y="585"/>
                  </a:cubicBezTo>
                  <a:cubicBezTo>
                    <a:pt x="795" y="587"/>
                    <a:pt x="797" y="590"/>
                    <a:pt x="800" y="588"/>
                  </a:cubicBezTo>
                  <a:close/>
                  <a:moveTo>
                    <a:pt x="817" y="590"/>
                  </a:moveTo>
                  <a:cubicBezTo>
                    <a:pt x="818" y="591"/>
                    <a:pt x="821" y="591"/>
                    <a:pt x="823" y="591"/>
                  </a:cubicBezTo>
                  <a:cubicBezTo>
                    <a:pt x="822" y="589"/>
                    <a:pt x="822" y="586"/>
                    <a:pt x="819" y="585"/>
                  </a:cubicBezTo>
                  <a:cubicBezTo>
                    <a:pt x="818" y="586"/>
                    <a:pt x="818" y="589"/>
                    <a:pt x="817" y="590"/>
                  </a:cubicBezTo>
                  <a:close/>
                  <a:moveTo>
                    <a:pt x="791" y="596"/>
                  </a:moveTo>
                  <a:cubicBezTo>
                    <a:pt x="791" y="592"/>
                    <a:pt x="794" y="589"/>
                    <a:pt x="790" y="588"/>
                  </a:cubicBezTo>
                  <a:cubicBezTo>
                    <a:pt x="790" y="590"/>
                    <a:pt x="788" y="596"/>
                    <a:pt x="791" y="596"/>
                  </a:cubicBezTo>
                  <a:close/>
                  <a:moveTo>
                    <a:pt x="806" y="600"/>
                  </a:moveTo>
                  <a:cubicBezTo>
                    <a:pt x="806" y="596"/>
                    <a:pt x="810" y="598"/>
                    <a:pt x="810" y="593"/>
                  </a:cubicBezTo>
                  <a:cubicBezTo>
                    <a:pt x="808" y="593"/>
                    <a:pt x="806" y="593"/>
                    <a:pt x="804" y="592"/>
                  </a:cubicBezTo>
                  <a:cubicBezTo>
                    <a:pt x="805" y="596"/>
                    <a:pt x="802" y="600"/>
                    <a:pt x="806" y="600"/>
                  </a:cubicBezTo>
                  <a:close/>
                  <a:moveTo>
                    <a:pt x="835" y="595"/>
                  </a:moveTo>
                  <a:cubicBezTo>
                    <a:pt x="836" y="595"/>
                    <a:pt x="837" y="595"/>
                    <a:pt x="838" y="595"/>
                  </a:cubicBezTo>
                  <a:cubicBezTo>
                    <a:pt x="838" y="593"/>
                    <a:pt x="838" y="592"/>
                    <a:pt x="836" y="592"/>
                  </a:cubicBezTo>
                  <a:cubicBezTo>
                    <a:pt x="836" y="593"/>
                    <a:pt x="835" y="593"/>
                    <a:pt x="835" y="595"/>
                  </a:cubicBezTo>
                  <a:close/>
                  <a:moveTo>
                    <a:pt x="838" y="598"/>
                  </a:moveTo>
                  <a:cubicBezTo>
                    <a:pt x="842" y="600"/>
                    <a:pt x="848" y="600"/>
                    <a:pt x="851" y="600"/>
                  </a:cubicBezTo>
                  <a:cubicBezTo>
                    <a:pt x="851" y="597"/>
                    <a:pt x="850" y="594"/>
                    <a:pt x="849" y="592"/>
                  </a:cubicBezTo>
                  <a:cubicBezTo>
                    <a:pt x="844" y="592"/>
                    <a:pt x="839" y="592"/>
                    <a:pt x="838" y="598"/>
                  </a:cubicBezTo>
                  <a:close/>
                  <a:moveTo>
                    <a:pt x="814" y="593"/>
                  </a:moveTo>
                  <a:cubicBezTo>
                    <a:pt x="813" y="597"/>
                    <a:pt x="810" y="597"/>
                    <a:pt x="810" y="602"/>
                  </a:cubicBezTo>
                  <a:cubicBezTo>
                    <a:pt x="811" y="603"/>
                    <a:pt x="814" y="602"/>
                    <a:pt x="814" y="605"/>
                  </a:cubicBezTo>
                  <a:cubicBezTo>
                    <a:pt x="811" y="607"/>
                    <a:pt x="811" y="602"/>
                    <a:pt x="809" y="602"/>
                  </a:cubicBezTo>
                  <a:cubicBezTo>
                    <a:pt x="808" y="605"/>
                    <a:pt x="805" y="605"/>
                    <a:pt x="804" y="609"/>
                  </a:cubicBezTo>
                  <a:cubicBezTo>
                    <a:pt x="807" y="611"/>
                    <a:pt x="812" y="610"/>
                    <a:pt x="815" y="610"/>
                  </a:cubicBezTo>
                  <a:cubicBezTo>
                    <a:pt x="815" y="608"/>
                    <a:pt x="815" y="607"/>
                    <a:pt x="817" y="607"/>
                  </a:cubicBezTo>
                  <a:cubicBezTo>
                    <a:pt x="817" y="609"/>
                    <a:pt x="819" y="610"/>
                    <a:pt x="821" y="610"/>
                  </a:cubicBezTo>
                  <a:cubicBezTo>
                    <a:pt x="822" y="605"/>
                    <a:pt x="826" y="602"/>
                    <a:pt x="828" y="596"/>
                  </a:cubicBezTo>
                  <a:cubicBezTo>
                    <a:pt x="826" y="591"/>
                    <a:pt x="819" y="593"/>
                    <a:pt x="814" y="593"/>
                  </a:cubicBezTo>
                  <a:close/>
                  <a:moveTo>
                    <a:pt x="856" y="598"/>
                  </a:moveTo>
                  <a:cubicBezTo>
                    <a:pt x="855" y="596"/>
                    <a:pt x="856" y="593"/>
                    <a:pt x="854" y="593"/>
                  </a:cubicBezTo>
                  <a:cubicBezTo>
                    <a:pt x="855" y="594"/>
                    <a:pt x="853" y="598"/>
                    <a:pt x="856" y="598"/>
                  </a:cubicBezTo>
                  <a:close/>
                  <a:moveTo>
                    <a:pt x="799" y="602"/>
                  </a:moveTo>
                  <a:cubicBezTo>
                    <a:pt x="797" y="600"/>
                    <a:pt x="800" y="594"/>
                    <a:pt x="797" y="593"/>
                  </a:cubicBezTo>
                  <a:cubicBezTo>
                    <a:pt x="796" y="596"/>
                    <a:pt x="797" y="600"/>
                    <a:pt x="799" y="602"/>
                  </a:cubicBezTo>
                  <a:close/>
                  <a:moveTo>
                    <a:pt x="831" y="596"/>
                  </a:moveTo>
                  <a:cubicBezTo>
                    <a:pt x="831" y="597"/>
                    <a:pt x="832" y="597"/>
                    <a:pt x="832" y="599"/>
                  </a:cubicBezTo>
                  <a:cubicBezTo>
                    <a:pt x="835" y="599"/>
                    <a:pt x="835" y="595"/>
                    <a:pt x="832" y="595"/>
                  </a:cubicBezTo>
                  <a:cubicBezTo>
                    <a:pt x="832" y="595"/>
                    <a:pt x="832" y="596"/>
                    <a:pt x="831" y="596"/>
                  </a:cubicBezTo>
                  <a:close/>
                  <a:moveTo>
                    <a:pt x="920" y="598"/>
                  </a:moveTo>
                  <a:cubicBezTo>
                    <a:pt x="922" y="600"/>
                    <a:pt x="925" y="601"/>
                    <a:pt x="926" y="603"/>
                  </a:cubicBezTo>
                  <a:cubicBezTo>
                    <a:pt x="926" y="599"/>
                    <a:pt x="924" y="597"/>
                    <a:pt x="921" y="596"/>
                  </a:cubicBezTo>
                  <a:cubicBezTo>
                    <a:pt x="921" y="597"/>
                    <a:pt x="920" y="597"/>
                    <a:pt x="920" y="598"/>
                  </a:cubicBezTo>
                  <a:close/>
                  <a:moveTo>
                    <a:pt x="815" y="628"/>
                  </a:moveTo>
                  <a:cubicBezTo>
                    <a:pt x="810" y="630"/>
                    <a:pt x="807" y="637"/>
                    <a:pt x="806" y="641"/>
                  </a:cubicBezTo>
                  <a:cubicBezTo>
                    <a:pt x="824" y="639"/>
                    <a:pt x="839" y="641"/>
                    <a:pt x="854" y="637"/>
                  </a:cubicBezTo>
                  <a:cubicBezTo>
                    <a:pt x="845" y="625"/>
                    <a:pt x="839" y="611"/>
                    <a:pt x="829" y="600"/>
                  </a:cubicBezTo>
                  <a:cubicBezTo>
                    <a:pt x="828" y="600"/>
                    <a:pt x="828" y="600"/>
                    <a:pt x="828" y="601"/>
                  </a:cubicBezTo>
                  <a:cubicBezTo>
                    <a:pt x="826" y="610"/>
                    <a:pt x="816" y="617"/>
                    <a:pt x="815" y="628"/>
                  </a:cubicBezTo>
                  <a:close/>
                  <a:moveTo>
                    <a:pt x="847" y="619"/>
                  </a:moveTo>
                  <a:cubicBezTo>
                    <a:pt x="847" y="627"/>
                    <a:pt x="853" y="627"/>
                    <a:pt x="853" y="634"/>
                  </a:cubicBezTo>
                  <a:cubicBezTo>
                    <a:pt x="859" y="629"/>
                    <a:pt x="848" y="622"/>
                    <a:pt x="849" y="617"/>
                  </a:cubicBezTo>
                  <a:cubicBezTo>
                    <a:pt x="842" y="615"/>
                    <a:pt x="844" y="603"/>
                    <a:pt x="835" y="602"/>
                  </a:cubicBezTo>
                  <a:cubicBezTo>
                    <a:pt x="838" y="609"/>
                    <a:pt x="842" y="615"/>
                    <a:pt x="847" y="619"/>
                  </a:cubicBezTo>
                  <a:close/>
                  <a:moveTo>
                    <a:pt x="931" y="604"/>
                  </a:moveTo>
                  <a:cubicBezTo>
                    <a:pt x="932" y="605"/>
                    <a:pt x="935" y="605"/>
                    <a:pt x="934" y="602"/>
                  </a:cubicBezTo>
                  <a:cubicBezTo>
                    <a:pt x="932" y="602"/>
                    <a:pt x="931" y="602"/>
                    <a:pt x="931" y="604"/>
                  </a:cubicBezTo>
                  <a:close/>
                  <a:moveTo>
                    <a:pt x="847" y="608"/>
                  </a:moveTo>
                  <a:cubicBezTo>
                    <a:pt x="848" y="607"/>
                    <a:pt x="850" y="606"/>
                    <a:pt x="850" y="603"/>
                  </a:cubicBezTo>
                  <a:cubicBezTo>
                    <a:pt x="847" y="603"/>
                    <a:pt x="845" y="603"/>
                    <a:pt x="842" y="603"/>
                  </a:cubicBezTo>
                  <a:cubicBezTo>
                    <a:pt x="842" y="606"/>
                    <a:pt x="844" y="608"/>
                    <a:pt x="847" y="608"/>
                  </a:cubicBezTo>
                  <a:close/>
                  <a:moveTo>
                    <a:pt x="929" y="608"/>
                  </a:moveTo>
                  <a:cubicBezTo>
                    <a:pt x="930" y="607"/>
                    <a:pt x="930" y="605"/>
                    <a:pt x="930" y="604"/>
                  </a:cubicBezTo>
                  <a:cubicBezTo>
                    <a:pt x="928" y="604"/>
                    <a:pt x="928" y="603"/>
                    <a:pt x="927" y="603"/>
                  </a:cubicBezTo>
                  <a:cubicBezTo>
                    <a:pt x="926" y="606"/>
                    <a:pt x="928" y="607"/>
                    <a:pt x="929" y="608"/>
                  </a:cubicBezTo>
                  <a:close/>
                  <a:moveTo>
                    <a:pt x="792" y="618"/>
                  </a:moveTo>
                  <a:cubicBezTo>
                    <a:pt x="790" y="619"/>
                    <a:pt x="791" y="616"/>
                    <a:pt x="789" y="617"/>
                  </a:cubicBezTo>
                  <a:cubicBezTo>
                    <a:pt x="788" y="618"/>
                    <a:pt x="788" y="620"/>
                    <a:pt x="788" y="622"/>
                  </a:cubicBezTo>
                  <a:cubicBezTo>
                    <a:pt x="795" y="623"/>
                    <a:pt x="792" y="613"/>
                    <a:pt x="793" y="608"/>
                  </a:cubicBezTo>
                  <a:cubicBezTo>
                    <a:pt x="792" y="608"/>
                    <a:pt x="791" y="608"/>
                    <a:pt x="791" y="608"/>
                  </a:cubicBezTo>
                  <a:cubicBezTo>
                    <a:pt x="790" y="612"/>
                    <a:pt x="790" y="615"/>
                    <a:pt x="792" y="618"/>
                  </a:cubicBezTo>
                  <a:close/>
                  <a:moveTo>
                    <a:pt x="861" y="623"/>
                  </a:moveTo>
                  <a:cubicBezTo>
                    <a:pt x="862" y="620"/>
                    <a:pt x="864" y="611"/>
                    <a:pt x="860" y="610"/>
                  </a:cubicBezTo>
                  <a:cubicBezTo>
                    <a:pt x="859" y="613"/>
                    <a:pt x="859" y="621"/>
                    <a:pt x="861" y="623"/>
                  </a:cubicBezTo>
                  <a:close/>
                  <a:moveTo>
                    <a:pt x="852" y="619"/>
                  </a:moveTo>
                  <a:cubicBezTo>
                    <a:pt x="854" y="617"/>
                    <a:pt x="852" y="614"/>
                    <a:pt x="852" y="611"/>
                  </a:cubicBezTo>
                  <a:cubicBezTo>
                    <a:pt x="851" y="611"/>
                    <a:pt x="851" y="611"/>
                    <a:pt x="850" y="611"/>
                  </a:cubicBezTo>
                  <a:cubicBezTo>
                    <a:pt x="848" y="614"/>
                    <a:pt x="851" y="617"/>
                    <a:pt x="852" y="619"/>
                  </a:cubicBezTo>
                  <a:close/>
                  <a:moveTo>
                    <a:pt x="813" y="624"/>
                  </a:moveTo>
                  <a:cubicBezTo>
                    <a:pt x="812" y="618"/>
                    <a:pt x="818" y="619"/>
                    <a:pt x="817" y="613"/>
                  </a:cubicBezTo>
                  <a:cubicBezTo>
                    <a:pt x="814" y="613"/>
                    <a:pt x="809" y="612"/>
                    <a:pt x="808" y="615"/>
                  </a:cubicBezTo>
                  <a:cubicBezTo>
                    <a:pt x="807" y="614"/>
                    <a:pt x="805" y="614"/>
                    <a:pt x="803" y="614"/>
                  </a:cubicBezTo>
                  <a:cubicBezTo>
                    <a:pt x="803" y="617"/>
                    <a:pt x="807" y="617"/>
                    <a:pt x="807" y="620"/>
                  </a:cubicBezTo>
                  <a:cubicBezTo>
                    <a:pt x="803" y="622"/>
                    <a:pt x="808" y="626"/>
                    <a:pt x="807" y="628"/>
                  </a:cubicBezTo>
                  <a:cubicBezTo>
                    <a:pt x="802" y="627"/>
                    <a:pt x="805" y="621"/>
                    <a:pt x="803" y="619"/>
                  </a:cubicBezTo>
                  <a:cubicBezTo>
                    <a:pt x="801" y="622"/>
                    <a:pt x="800" y="628"/>
                    <a:pt x="802" y="631"/>
                  </a:cubicBezTo>
                  <a:cubicBezTo>
                    <a:pt x="810" y="632"/>
                    <a:pt x="812" y="625"/>
                    <a:pt x="808" y="620"/>
                  </a:cubicBezTo>
                  <a:cubicBezTo>
                    <a:pt x="810" y="621"/>
                    <a:pt x="809" y="624"/>
                    <a:pt x="813" y="624"/>
                  </a:cubicBezTo>
                  <a:close/>
                  <a:moveTo>
                    <a:pt x="860" y="628"/>
                  </a:moveTo>
                  <a:cubicBezTo>
                    <a:pt x="862" y="628"/>
                    <a:pt x="864" y="629"/>
                    <a:pt x="865" y="628"/>
                  </a:cubicBezTo>
                  <a:cubicBezTo>
                    <a:pt x="865" y="625"/>
                    <a:pt x="865" y="622"/>
                    <a:pt x="863" y="621"/>
                  </a:cubicBezTo>
                  <a:cubicBezTo>
                    <a:pt x="863" y="624"/>
                    <a:pt x="861" y="625"/>
                    <a:pt x="860" y="628"/>
                  </a:cubicBezTo>
                  <a:close/>
                  <a:moveTo>
                    <a:pt x="785" y="634"/>
                  </a:moveTo>
                  <a:cubicBezTo>
                    <a:pt x="787" y="632"/>
                    <a:pt x="789" y="628"/>
                    <a:pt x="790" y="625"/>
                  </a:cubicBezTo>
                  <a:cubicBezTo>
                    <a:pt x="789" y="625"/>
                    <a:pt x="789" y="624"/>
                    <a:pt x="788" y="624"/>
                  </a:cubicBezTo>
                  <a:cubicBezTo>
                    <a:pt x="786" y="626"/>
                    <a:pt x="785" y="630"/>
                    <a:pt x="785" y="634"/>
                  </a:cubicBezTo>
                  <a:close/>
                  <a:moveTo>
                    <a:pt x="785" y="641"/>
                  </a:moveTo>
                  <a:cubicBezTo>
                    <a:pt x="786" y="642"/>
                    <a:pt x="790" y="641"/>
                    <a:pt x="793" y="641"/>
                  </a:cubicBezTo>
                  <a:cubicBezTo>
                    <a:pt x="793" y="637"/>
                    <a:pt x="795" y="629"/>
                    <a:pt x="792" y="626"/>
                  </a:cubicBezTo>
                  <a:cubicBezTo>
                    <a:pt x="791" y="633"/>
                    <a:pt x="785" y="634"/>
                    <a:pt x="785" y="641"/>
                  </a:cubicBezTo>
                  <a:close/>
                  <a:moveTo>
                    <a:pt x="862" y="634"/>
                  </a:moveTo>
                  <a:cubicBezTo>
                    <a:pt x="866" y="635"/>
                    <a:pt x="865" y="641"/>
                    <a:pt x="869" y="643"/>
                  </a:cubicBezTo>
                  <a:cubicBezTo>
                    <a:pt x="869" y="638"/>
                    <a:pt x="866" y="635"/>
                    <a:pt x="865" y="631"/>
                  </a:cubicBezTo>
                  <a:cubicBezTo>
                    <a:pt x="863" y="631"/>
                    <a:pt x="862" y="632"/>
                    <a:pt x="862" y="634"/>
                  </a:cubicBezTo>
                  <a:close/>
                  <a:moveTo>
                    <a:pt x="801" y="641"/>
                  </a:moveTo>
                  <a:cubicBezTo>
                    <a:pt x="804" y="640"/>
                    <a:pt x="805" y="637"/>
                    <a:pt x="806" y="634"/>
                  </a:cubicBezTo>
                  <a:cubicBezTo>
                    <a:pt x="805" y="634"/>
                    <a:pt x="803" y="634"/>
                    <a:pt x="801" y="634"/>
                  </a:cubicBezTo>
                  <a:cubicBezTo>
                    <a:pt x="801" y="637"/>
                    <a:pt x="799" y="638"/>
                    <a:pt x="801" y="641"/>
                  </a:cubicBezTo>
                  <a:close/>
                  <a:moveTo>
                    <a:pt x="864" y="641"/>
                  </a:moveTo>
                  <a:cubicBezTo>
                    <a:pt x="862" y="640"/>
                    <a:pt x="863" y="636"/>
                    <a:pt x="860" y="636"/>
                  </a:cubicBezTo>
                  <a:cubicBezTo>
                    <a:pt x="859" y="640"/>
                    <a:pt x="862" y="642"/>
                    <a:pt x="864" y="641"/>
                  </a:cubicBezTo>
                  <a:close/>
                  <a:moveTo>
                    <a:pt x="801" y="650"/>
                  </a:moveTo>
                  <a:cubicBezTo>
                    <a:pt x="806" y="651"/>
                    <a:pt x="816" y="651"/>
                    <a:pt x="815" y="643"/>
                  </a:cubicBezTo>
                  <a:cubicBezTo>
                    <a:pt x="808" y="643"/>
                    <a:pt x="801" y="643"/>
                    <a:pt x="801" y="650"/>
                  </a:cubicBezTo>
                  <a:close/>
                  <a:moveTo>
                    <a:pt x="822" y="643"/>
                  </a:moveTo>
                  <a:cubicBezTo>
                    <a:pt x="822" y="644"/>
                    <a:pt x="821" y="644"/>
                    <a:pt x="821" y="645"/>
                  </a:cubicBezTo>
                  <a:cubicBezTo>
                    <a:pt x="821" y="647"/>
                    <a:pt x="820" y="644"/>
                    <a:pt x="818" y="645"/>
                  </a:cubicBezTo>
                  <a:cubicBezTo>
                    <a:pt x="818" y="647"/>
                    <a:pt x="816" y="648"/>
                    <a:pt x="815" y="650"/>
                  </a:cubicBezTo>
                  <a:cubicBezTo>
                    <a:pt x="818" y="650"/>
                    <a:pt x="820" y="653"/>
                    <a:pt x="822" y="651"/>
                  </a:cubicBezTo>
                  <a:cubicBezTo>
                    <a:pt x="823" y="648"/>
                    <a:pt x="819" y="647"/>
                    <a:pt x="821" y="646"/>
                  </a:cubicBezTo>
                  <a:cubicBezTo>
                    <a:pt x="824" y="644"/>
                    <a:pt x="824" y="649"/>
                    <a:pt x="826" y="650"/>
                  </a:cubicBezTo>
                  <a:cubicBezTo>
                    <a:pt x="835" y="649"/>
                    <a:pt x="849" y="652"/>
                    <a:pt x="852" y="643"/>
                  </a:cubicBezTo>
                  <a:cubicBezTo>
                    <a:pt x="840" y="642"/>
                    <a:pt x="833" y="643"/>
                    <a:pt x="822" y="643"/>
                  </a:cubicBezTo>
                  <a:close/>
                  <a:moveTo>
                    <a:pt x="861" y="647"/>
                  </a:moveTo>
                  <a:cubicBezTo>
                    <a:pt x="862" y="647"/>
                    <a:pt x="862" y="647"/>
                    <a:pt x="863" y="647"/>
                  </a:cubicBezTo>
                  <a:cubicBezTo>
                    <a:pt x="863" y="645"/>
                    <a:pt x="863" y="644"/>
                    <a:pt x="861" y="644"/>
                  </a:cubicBezTo>
                  <a:cubicBezTo>
                    <a:pt x="861" y="645"/>
                    <a:pt x="861" y="646"/>
                    <a:pt x="861" y="647"/>
                  </a:cubicBezTo>
                  <a:close/>
                  <a:moveTo>
                    <a:pt x="794" y="649"/>
                  </a:moveTo>
                  <a:cubicBezTo>
                    <a:pt x="794" y="647"/>
                    <a:pt x="794" y="646"/>
                    <a:pt x="793" y="645"/>
                  </a:cubicBezTo>
                  <a:cubicBezTo>
                    <a:pt x="791" y="646"/>
                    <a:pt x="789" y="644"/>
                    <a:pt x="787" y="645"/>
                  </a:cubicBezTo>
                  <a:cubicBezTo>
                    <a:pt x="790" y="647"/>
                    <a:pt x="790" y="649"/>
                    <a:pt x="794" y="649"/>
                  </a:cubicBezTo>
                  <a:close/>
                  <a:moveTo>
                    <a:pt x="851" y="649"/>
                  </a:moveTo>
                  <a:cubicBezTo>
                    <a:pt x="853" y="649"/>
                    <a:pt x="857" y="649"/>
                    <a:pt x="856" y="645"/>
                  </a:cubicBezTo>
                  <a:cubicBezTo>
                    <a:pt x="853" y="643"/>
                    <a:pt x="852" y="647"/>
                    <a:pt x="851" y="649"/>
                  </a:cubicBezTo>
                  <a:close/>
                  <a:moveTo>
                    <a:pt x="782" y="660"/>
                  </a:moveTo>
                  <a:cubicBezTo>
                    <a:pt x="785" y="659"/>
                    <a:pt x="786" y="652"/>
                    <a:pt x="785" y="648"/>
                  </a:cubicBezTo>
                  <a:cubicBezTo>
                    <a:pt x="784" y="648"/>
                    <a:pt x="784" y="647"/>
                    <a:pt x="782" y="647"/>
                  </a:cubicBezTo>
                  <a:cubicBezTo>
                    <a:pt x="781" y="651"/>
                    <a:pt x="782" y="656"/>
                    <a:pt x="782" y="660"/>
                  </a:cubicBezTo>
                  <a:close/>
                  <a:moveTo>
                    <a:pt x="791" y="664"/>
                  </a:moveTo>
                  <a:cubicBezTo>
                    <a:pt x="797" y="663"/>
                    <a:pt x="788" y="655"/>
                    <a:pt x="794" y="653"/>
                  </a:cubicBezTo>
                  <a:cubicBezTo>
                    <a:pt x="793" y="653"/>
                    <a:pt x="793" y="652"/>
                    <a:pt x="791" y="652"/>
                  </a:cubicBezTo>
                  <a:cubicBezTo>
                    <a:pt x="789" y="655"/>
                    <a:pt x="790" y="661"/>
                    <a:pt x="791" y="664"/>
                  </a:cubicBezTo>
                  <a:close/>
                  <a:moveTo>
                    <a:pt x="829" y="656"/>
                  </a:moveTo>
                  <a:cubicBezTo>
                    <a:pt x="830" y="656"/>
                    <a:pt x="831" y="656"/>
                    <a:pt x="832" y="656"/>
                  </a:cubicBezTo>
                  <a:cubicBezTo>
                    <a:pt x="832" y="653"/>
                    <a:pt x="831" y="653"/>
                    <a:pt x="830" y="652"/>
                  </a:cubicBezTo>
                  <a:cubicBezTo>
                    <a:pt x="829" y="653"/>
                    <a:pt x="829" y="654"/>
                    <a:pt x="829" y="656"/>
                  </a:cubicBezTo>
                  <a:close/>
                  <a:moveTo>
                    <a:pt x="841" y="658"/>
                  </a:moveTo>
                  <a:cubicBezTo>
                    <a:pt x="843" y="665"/>
                    <a:pt x="851" y="661"/>
                    <a:pt x="857" y="661"/>
                  </a:cubicBezTo>
                  <a:cubicBezTo>
                    <a:pt x="857" y="656"/>
                    <a:pt x="857" y="655"/>
                    <a:pt x="856" y="652"/>
                  </a:cubicBezTo>
                  <a:cubicBezTo>
                    <a:pt x="848" y="651"/>
                    <a:pt x="845" y="655"/>
                    <a:pt x="841" y="658"/>
                  </a:cubicBezTo>
                  <a:close/>
                  <a:moveTo>
                    <a:pt x="841" y="656"/>
                  </a:moveTo>
                  <a:cubicBezTo>
                    <a:pt x="841" y="653"/>
                    <a:pt x="839" y="653"/>
                    <a:pt x="838" y="653"/>
                  </a:cubicBezTo>
                  <a:cubicBezTo>
                    <a:pt x="838" y="654"/>
                    <a:pt x="838" y="656"/>
                    <a:pt x="841" y="656"/>
                  </a:cubicBezTo>
                  <a:close/>
                  <a:moveTo>
                    <a:pt x="805" y="659"/>
                  </a:moveTo>
                  <a:cubicBezTo>
                    <a:pt x="807" y="658"/>
                    <a:pt x="808" y="656"/>
                    <a:pt x="808" y="654"/>
                  </a:cubicBezTo>
                  <a:cubicBezTo>
                    <a:pt x="806" y="654"/>
                    <a:pt x="803" y="654"/>
                    <a:pt x="801" y="654"/>
                  </a:cubicBezTo>
                  <a:cubicBezTo>
                    <a:pt x="801" y="657"/>
                    <a:pt x="804" y="657"/>
                    <a:pt x="805" y="659"/>
                  </a:cubicBezTo>
                  <a:close/>
                  <a:moveTo>
                    <a:pt x="807" y="663"/>
                  </a:moveTo>
                  <a:cubicBezTo>
                    <a:pt x="804" y="665"/>
                    <a:pt x="802" y="668"/>
                    <a:pt x="802" y="671"/>
                  </a:cubicBezTo>
                  <a:cubicBezTo>
                    <a:pt x="804" y="673"/>
                    <a:pt x="810" y="671"/>
                    <a:pt x="815" y="673"/>
                  </a:cubicBezTo>
                  <a:cubicBezTo>
                    <a:pt x="816" y="673"/>
                    <a:pt x="814" y="671"/>
                    <a:pt x="816" y="671"/>
                  </a:cubicBezTo>
                  <a:cubicBezTo>
                    <a:pt x="818" y="670"/>
                    <a:pt x="818" y="673"/>
                    <a:pt x="821" y="673"/>
                  </a:cubicBezTo>
                  <a:cubicBezTo>
                    <a:pt x="822" y="666"/>
                    <a:pt x="828" y="664"/>
                    <a:pt x="828" y="656"/>
                  </a:cubicBezTo>
                  <a:cubicBezTo>
                    <a:pt x="822" y="651"/>
                    <a:pt x="808" y="652"/>
                    <a:pt x="808" y="662"/>
                  </a:cubicBezTo>
                  <a:cubicBezTo>
                    <a:pt x="810" y="665"/>
                    <a:pt x="815" y="666"/>
                    <a:pt x="815" y="671"/>
                  </a:cubicBezTo>
                  <a:cubicBezTo>
                    <a:pt x="812" y="669"/>
                    <a:pt x="809" y="666"/>
                    <a:pt x="807" y="663"/>
                  </a:cubicBezTo>
                  <a:close/>
                  <a:moveTo>
                    <a:pt x="862" y="660"/>
                  </a:moveTo>
                  <a:cubicBezTo>
                    <a:pt x="863" y="659"/>
                    <a:pt x="865" y="654"/>
                    <a:pt x="862" y="654"/>
                  </a:cubicBezTo>
                  <a:cubicBezTo>
                    <a:pt x="861" y="656"/>
                    <a:pt x="861" y="660"/>
                    <a:pt x="862" y="660"/>
                  </a:cubicBezTo>
                  <a:close/>
                  <a:moveTo>
                    <a:pt x="833" y="661"/>
                  </a:moveTo>
                  <a:cubicBezTo>
                    <a:pt x="836" y="661"/>
                    <a:pt x="837" y="660"/>
                    <a:pt x="837" y="658"/>
                  </a:cubicBezTo>
                  <a:cubicBezTo>
                    <a:pt x="836" y="656"/>
                    <a:pt x="836" y="655"/>
                    <a:pt x="833" y="655"/>
                  </a:cubicBezTo>
                  <a:cubicBezTo>
                    <a:pt x="832" y="656"/>
                    <a:pt x="832" y="660"/>
                    <a:pt x="833" y="661"/>
                  </a:cubicBezTo>
                  <a:close/>
                  <a:moveTo>
                    <a:pt x="803" y="663"/>
                  </a:moveTo>
                  <a:cubicBezTo>
                    <a:pt x="805" y="660"/>
                    <a:pt x="802" y="657"/>
                    <a:pt x="799" y="657"/>
                  </a:cubicBezTo>
                  <a:cubicBezTo>
                    <a:pt x="798" y="659"/>
                    <a:pt x="801" y="662"/>
                    <a:pt x="803" y="663"/>
                  </a:cubicBezTo>
                  <a:close/>
                  <a:moveTo>
                    <a:pt x="802" y="709"/>
                  </a:moveTo>
                  <a:cubicBezTo>
                    <a:pt x="823" y="709"/>
                    <a:pt x="842" y="708"/>
                    <a:pt x="862" y="708"/>
                  </a:cubicBezTo>
                  <a:cubicBezTo>
                    <a:pt x="852" y="691"/>
                    <a:pt x="841" y="676"/>
                    <a:pt x="830" y="660"/>
                  </a:cubicBezTo>
                  <a:cubicBezTo>
                    <a:pt x="821" y="677"/>
                    <a:pt x="810" y="692"/>
                    <a:pt x="802" y="709"/>
                  </a:cubicBezTo>
                  <a:close/>
                  <a:moveTo>
                    <a:pt x="836" y="665"/>
                  </a:moveTo>
                  <a:cubicBezTo>
                    <a:pt x="840" y="672"/>
                    <a:pt x="845" y="677"/>
                    <a:pt x="849" y="683"/>
                  </a:cubicBezTo>
                  <a:cubicBezTo>
                    <a:pt x="850" y="682"/>
                    <a:pt x="851" y="680"/>
                    <a:pt x="851" y="677"/>
                  </a:cubicBezTo>
                  <a:cubicBezTo>
                    <a:pt x="846" y="673"/>
                    <a:pt x="845" y="662"/>
                    <a:pt x="836" y="665"/>
                  </a:cubicBezTo>
                  <a:close/>
                  <a:moveTo>
                    <a:pt x="849" y="671"/>
                  </a:moveTo>
                  <a:cubicBezTo>
                    <a:pt x="852" y="671"/>
                    <a:pt x="854" y="669"/>
                    <a:pt x="854" y="667"/>
                  </a:cubicBezTo>
                  <a:cubicBezTo>
                    <a:pt x="851" y="667"/>
                    <a:pt x="850" y="664"/>
                    <a:pt x="847" y="665"/>
                  </a:cubicBezTo>
                  <a:cubicBezTo>
                    <a:pt x="846" y="669"/>
                    <a:pt x="849" y="669"/>
                    <a:pt x="849" y="671"/>
                  </a:cubicBezTo>
                  <a:close/>
                  <a:moveTo>
                    <a:pt x="798" y="667"/>
                  </a:moveTo>
                  <a:cubicBezTo>
                    <a:pt x="797" y="669"/>
                    <a:pt x="798" y="670"/>
                    <a:pt x="800" y="670"/>
                  </a:cubicBezTo>
                  <a:cubicBezTo>
                    <a:pt x="799" y="668"/>
                    <a:pt x="801" y="668"/>
                    <a:pt x="800" y="667"/>
                  </a:cubicBezTo>
                  <a:cubicBezTo>
                    <a:pt x="799" y="667"/>
                    <a:pt x="798" y="667"/>
                    <a:pt x="798" y="667"/>
                  </a:cubicBezTo>
                  <a:close/>
                  <a:moveTo>
                    <a:pt x="791" y="671"/>
                  </a:moveTo>
                  <a:cubicBezTo>
                    <a:pt x="794" y="671"/>
                    <a:pt x="794" y="667"/>
                    <a:pt x="792" y="667"/>
                  </a:cubicBezTo>
                  <a:cubicBezTo>
                    <a:pt x="791" y="668"/>
                    <a:pt x="790" y="669"/>
                    <a:pt x="791" y="671"/>
                  </a:cubicBezTo>
                  <a:close/>
                  <a:moveTo>
                    <a:pt x="780" y="686"/>
                  </a:moveTo>
                  <a:cubicBezTo>
                    <a:pt x="780" y="688"/>
                    <a:pt x="782" y="688"/>
                    <a:pt x="782" y="689"/>
                  </a:cubicBezTo>
                  <a:cubicBezTo>
                    <a:pt x="777" y="690"/>
                    <a:pt x="777" y="696"/>
                    <a:pt x="776" y="701"/>
                  </a:cubicBezTo>
                  <a:cubicBezTo>
                    <a:pt x="782" y="697"/>
                    <a:pt x="784" y="689"/>
                    <a:pt x="788" y="684"/>
                  </a:cubicBezTo>
                  <a:cubicBezTo>
                    <a:pt x="786" y="679"/>
                    <a:pt x="789" y="672"/>
                    <a:pt x="785" y="669"/>
                  </a:cubicBezTo>
                  <a:cubicBezTo>
                    <a:pt x="784" y="675"/>
                    <a:pt x="783" y="680"/>
                    <a:pt x="780" y="686"/>
                  </a:cubicBezTo>
                  <a:close/>
                  <a:moveTo>
                    <a:pt x="854" y="676"/>
                  </a:moveTo>
                  <a:cubicBezTo>
                    <a:pt x="856" y="678"/>
                    <a:pt x="855" y="683"/>
                    <a:pt x="859" y="683"/>
                  </a:cubicBezTo>
                  <a:cubicBezTo>
                    <a:pt x="859" y="682"/>
                    <a:pt x="860" y="675"/>
                    <a:pt x="858" y="673"/>
                  </a:cubicBezTo>
                  <a:cubicBezTo>
                    <a:pt x="857" y="675"/>
                    <a:pt x="854" y="674"/>
                    <a:pt x="854" y="676"/>
                  </a:cubicBezTo>
                  <a:close/>
                  <a:moveTo>
                    <a:pt x="869" y="688"/>
                  </a:moveTo>
                  <a:cubicBezTo>
                    <a:pt x="869" y="683"/>
                    <a:pt x="873" y="677"/>
                    <a:pt x="869" y="674"/>
                  </a:cubicBezTo>
                  <a:cubicBezTo>
                    <a:pt x="868" y="677"/>
                    <a:pt x="866" y="686"/>
                    <a:pt x="869" y="688"/>
                  </a:cubicBezTo>
                  <a:close/>
                  <a:moveTo>
                    <a:pt x="807" y="695"/>
                  </a:moveTo>
                  <a:cubicBezTo>
                    <a:pt x="809" y="687"/>
                    <a:pt x="815" y="683"/>
                    <a:pt x="817" y="676"/>
                  </a:cubicBezTo>
                  <a:cubicBezTo>
                    <a:pt x="810" y="676"/>
                    <a:pt x="804" y="677"/>
                    <a:pt x="798" y="676"/>
                  </a:cubicBezTo>
                  <a:cubicBezTo>
                    <a:pt x="799" y="682"/>
                    <a:pt x="803" y="690"/>
                    <a:pt x="807" y="695"/>
                  </a:cubicBezTo>
                  <a:close/>
                  <a:moveTo>
                    <a:pt x="851" y="683"/>
                  </a:moveTo>
                  <a:cubicBezTo>
                    <a:pt x="853" y="684"/>
                    <a:pt x="852" y="686"/>
                    <a:pt x="855" y="685"/>
                  </a:cubicBezTo>
                  <a:cubicBezTo>
                    <a:pt x="855" y="684"/>
                    <a:pt x="855" y="683"/>
                    <a:pt x="855" y="682"/>
                  </a:cubicBezTo>
                  <a:cubicBezTo>
                    <a:pt x="853" y="681"/>
                    <a:pt x="852" y="681"/>
                    <a:pt x="851" y="683"/>
                  </a:cubicBezTo>
                  <a:close/>
                  <a:moveTo>
                    <a:pt x="796" y="696"/>
                  </a:moveTo>
                  <a:cubicBezTo>
                    <a:pt x="798" y="696"/>
                    <a:pt x="802" y="696"/>
                    <a:pt x="803" y="695"/>
                  </a:cubicBezTo>
                  <a:cubicBezTo>
                    <a:pt x="802" y="691"/>
                    <a:pt x="797" y="690"/>
                    <a:pt x="800" y="684"/>
                  </a:cubicBezTo>
                  <a:cubicBezTo>
                    <a:pt x="797" y="685"/>
                    <a:pt x="799" y="682"/>
                    <a:pt x="797" y="683"/>
                  </a:cubicBezTo>
                  <a:cubicBezTo>
                    <a:pt x="798" y="688"/>
                    <a:pt x="796" y="690"/>
                    <a:pt x="796" y="696"/>
                  </a:cubicBezTo>
                  <a:close/>
                  <a:moveTo>
                    <a:pt x="868" y="694"/>
                  </a:moveTo>
                  <a:cubicBezTo>
                    <a:pt x="871" y="694"/>
                    <a:pt x="872" y="693"/>
                    <a:pt x="874" y="694"/>
                  </a:cubicBezTo>
                  <a:cubicBezTo>
                    <a:pt x="874" y="690"/>
                    <a:pt x="874" y="685"/>
                    <a:pt x="871" y="684"/>
                  </a:cubicBezTo>
                  <a:cubicBezTo>
                    <a:pt x="872" y="689"/>
                    <a:pt x="868" y="689"/>
                    <a:pt x="868" y="694"/>
                  </a:cubicBezTo>
                  <a:close/>
                  <a:moveTo>
                    <a:pt x="853" y="687"/>
                  </a:moveTo>
                  <a:cubicBezTo>
                    <a:pt x="855" y="693"/>
                    <a:pt x="858" y="698"/>
                    <a:pt x="862" y="701"/>
                  </a:cubicBezTo>
                  <a:cubicBezTo>
                    <a:pt x="861" y="694"/>
                    <a:pt x="861" y="685"/>
                    <a:pt x="853" y="687"/>
                  </a:cubicBezTo>
                  <a:close/>
                  <a:moveTo>
                    <a:pt x="775" y="710"/>
                  </a:moveTo>
                  <a:cubicBezTo>
                    <a:pt x="779" y="709"/>
                    <a:pt x="785" y="710"/>
                    <a:pt x="789" y="709"/>
                  </a:cubicBezTo>
                  <a:cubicBezTo>
                    <a:pt x="787" y="703"/>
                    <a:pt x="790" y="694"/>
                    <a:pt x="786" y="690"/>
                  </a:cubicBezTo>
                  <a:cubicBezTo>
                    <a:pt x="785" y="700"/>
                    <a:pt x="777" y="702"/>
                    <a:pt x="775" y="710"/>
                  </a:cubicBezTo>
                  <a:close/>
                  <a:moveTo>
                    <a:pt x="878" y="711"/>
                  </a:moveTo>
                  <a:cubicBezTo>
                    <a:pt x="878" y="706"/>
                    <a:pt x="876" y="701"/>
                    <a:pt x="875" y="697"/>
                  </a:cubicBezTo>
                  <a:cubicBezTo>
                    <a:pt x="874" y="695"/>
                    <a:pt x="870" y="696"/>
                    <a:pt x="868" y="696"/>
                  </a:cubicBezTo>
                  <a:cubicBezTo>
                    <a:pt x="871" y="701"/>
                    <a:pt x="875" y="706"/>
                    <a:pt x="878" y="711"/>
                  </a:cubicBezTo>
                  <a:close/>
                  <a:moveTo>
                    <a:pt x="795" y="709"/>
                  </a:moveTo>
                  <a:cubicBezTo>
                    <a:pt x="801" y="709"/>
                    <a:pt x="800" y="703"/>
                    <a:pt x="803" y="700"/>
                  </a:cubicBezTo>
                  <a:cubicBezTo>
                    <a:pt x="802" y="699"/>
                    <a:pt x="798" y="700"/>
                    <a:pt x="797" y="699"/>
                  </a:cubicBezTo>
                  <a:cubicBezTo>
                    <a:pt x="795" y="701"/>
                    <a:pt x="795" y="705"/>
                    <a:pt x="795" y="709"/>
                  </a:cubicBezTo>
                  <a:close/>
                  <a:moveTo>
                    <a:pt x="867" y="708"/>
                  </a:moveTo>
                  <a:cubicBezTo>
                    <a:pt x="871" y="708"/>
                    <a:pt x="875" y="715"/>
                    <a:pt x="877" y="712"/>
                  </a:cubicBezTo>
                  <a:cubicBezTo>
                    <a:pt x="873" y="710"/>
                    <a:pt x="871" y="706"/>
                    <a:pt x="869" y="701"/>
                  </a:cubicBezTo>
                  <a:cubicBezTo>
                    <a:pt x="869" y="701"/>
                    <a:pt x="868" y="701"/>
                    <a:pt x="867" y="701"/>
                  </a:cubicBezTo>
                  <a:cubicBezTo>
                    <a:pt x="867" y="704"/>
                    <a:pt x="867" y="706"/>
                    <a:pt x="867" y="708"/>
                  </a:cubicBezTo>
                  <a:close/>
                  <a:moveTo>
                    <a:pt x="822" y="713"/>
                  </a:moveTo>
                  <a:cubicBezTo>
                    <a:pt x="822" y="716"/>
                    <a:pt x="825" y="716"/>
                    <a:pt x="826" y="717"/>
                  </a:cubicBezTo>
                  <a:cubicBezTo>
                    <a:pt x="835" y="715"/>
                    <a:pt x="856" y="721"/>
                    <a:pt x="860" y="713"/>
                  </a:cubicBezTo>
                  <a:cubicBezTo>
                    <a:pt x="848" y="713"/>
                    <a:pt x="833" y="710"/>
                    <a:pt x="822" y="713"/>
                  </a:cubicBezTo>
                  <a:close/>
                  <a:moveTo>
                    <a:pt x="815" y="716"/>
                  </a:moveTo>
                  <a:cubicBezTo>
                    <a:pt x="816" y="718"/>
                    <a:pt x="819" y="718"/>
                    <a:pt x="821" y="717"/>
                  </a:cubicBezTo>
                  <a:cubicBezTo>
                    <a:pt x="821" y="715"/>
                    <a:pt x="819" y="714"/>
                    <a:pt x="818" y="713"/>
                  </a:cubicBezTo>
                  <a:cubicBezTo>
                    <a:pt x="817" y="714"/>
                    <a:pt x="815" y="715"/>
                    <a:pt x="815" y="716"/>
                  </a:cubicBezTo>
                  <a:close/>
                  <a:moveTo>
                    <a:pt x="797" y="714"/>
                  </a:moveTo>
                  <a:cubicBezTo>
                    <a:pt x="797" y="715"/>
                    <a:pt x="797" y="716"/>
                    <a:pt x="797" y="716"/>
                  </a:cubicBezTo>
                  <a:cubicBezTo>
                    <a:pt x="801" y="717"/>
                    <a:pt x="812" y="719"/>
                    <a:pt x="813" y="714"/>
                  </a:cubicBezTo>
                  <a:cubicBezTo>
                    <a:pt x="808" y="714"/>
                    <a:pt x="801" y="713"/>
                    <a:pt x="797" y="714"/>
                  </a:cubicBezTo>
                  <a:close/>
                  <a:moveTo>
                    <a:pt x="773" y="716"/>
                  </a:moveTo>
                  <a:cubicBezTo>
                    <a:pt x="773" y="721"/>
                    <a:pt x="771" y="726"/>
                    <a:pt x="772" y="729"/>
                  </a:cubicBezTo>
                  <a:cubicBezTo>
                    <a:pt x="778" y="729"/>
                    <a:pt x="776" y="721"/>
                    <a:pt x="779" y="717"/>
                  </a:cubicBezTo>
                  <a:cubicBezTo>
                    <a:pt x="777" y="715"/>
                    <a:pt x="776" y="716"/>
                    <a:pt x="773" y="716"/>
                  </a:cubicBezTo>
                  <a:close/>
                  <a:moveTo>
                    <a:pt x="784" y="729"/>
                  </a:moveTo>
                  <a:cubicBezTo>
                    <a:pt x="785" y="729"/>
                    <a:pt x="786" y="729"/>
                    <a:pt x="787" y="729"/>
                  </a:cubicBezTo>
                  <a:cubicBezTo>
                    <a:pt x="788" y="728"/>
                    <a:pt x="789" y="725"/>
                    <a:pt x="789" y="722"/>
                  </a:cubicBezTo>
                  <a:cubicBezTo>
                    <a:pt x="787" y="722"/>
                    <a:pt x="786" y="719"/>
                    <a:pt x="783" y="720"/>
                  </a:cubicBezTo>
                  <a:cubicBezTo>
                    <a:pt x="783" y="721"/>
                    <a:pt x="783" y="727"/>
                    <a:pt x="784" y="729"/>
                  </a:cubicBezTo>
                  <a:close/>
                  <a:moveTo>
                    <a:pt x="858" y="729"/>
                  </a:moveTo>
                  <a:cubicBezTo>
                    <a:pt x="854" y="730"/>
                    <a:pt x="853" y="733"/>
                    <a:pt x="852" y="736"/>
                  </a:cubicBezTo>
                  <a:cubicBezTo>
                    <a:pt x="855" y="736"/>
                    <a:pt x="857" y="737"/>
                    <a:pt x="859" y="738"/>
                  </a:cubicBezTo>
                  <a:cubicBezTo>
                    <a:pt x="861" y="736"/>
                    <a:pt x="857" y="734"/>
                    <a:pt x="859" y="734"/>
                  </a:cubicBezTo>
                  <a:cubicBezTo>
                    <a:pt x="863" y="733"/>
                    <a:pt x="863" y="737"/>
                    <a:pt x="866" y="738"/>
                  </a:cubicBezTo>
                  <a:cubicBezTo>
                    <a:pt x="865" y="731"/>
                    <a:pt x="865" y="725"/>
                    <a:pt x="863" y="720"/>
                  </a:cubicBezTo>
                  <a:cubicBezTo>
                    <a:pt x="859" y="720"/>
                    <a:pt x="857" y="723"/>
                    <a:pt x="858" y="729"/>
                  </a:cubicBezTo>
                  <a:close/>
                  <a:moveTo>
                    <a:pt x="873" y="729"/>
                  </a:moveTo>
                  <a:cubicBezTo>
                    <a:pt x="874" y="726"/>
                    <a:pt x="874" y="721"/>
                    <a:pt x="871" y="720"/>
                  </a:cubicBezTo>
                  <a:cubicBezTo>
                    <a:pt x="870" y="722"/>
                    <a:pt x="870" y="729"/>
                    <a:pt x="873" y="729"/>
                  </a:cubicBezTo>
                  <a:close/>
                  <a:moveTo>
                    <a:pt x="880" y="723"/>
                  </a:moveTo>
                  <a:cubicBezTo>
                    <a:pt x="880" y="722"/>
                    <a:pt x="880" y="721"/>
                    <a:pt x="880" y="720"/>
                  </a:cubicBezTo>
                  <a:cubicBezTo>
                    <a:pt x="880" y="720"/>
                    <a:pt x="879" y="720"/>
                    <a:pt x="878" y="720"/>
                  </a:cubicBezTo>
                  <a:cubicBezTo>
                    <a:pt x="878" y="722"/>
                    <a:pt x="878" y="724"/>
                    <a:pt x="880" y="723"/>
                  </a:cubicBezTo>
                  <a:close/>
                  <a:moveTo>
                    <a:pt x="840" y="721"/>
                  </a:moveTo>
                  <a:cubicBezTo>
                    <a:pt x="842" y="728"/>
                    <a:pt x="847" y="726"/>
                    <a:pt x="852" y="727"/>
                  </a:cubicBezTo>
                  <a:cubicBezTo>
                    <a:pt x="854" y="726"/>
                    <a:pt x="857" y="725"/>
                    <a:pt x="857" y="721"/>
                  </a:cubicBezTo>
                  <a:cubicBezTo>
                    <a:pt x="852" y="719"/>
                    <a:pt x="846" y="722"/>
                    <a:pt x="840" y="721"/>
                  </a:cubicBezTo>
                  <a:close/>
                  <a:moveTo>
                    <a:pt x="810" y="722"/>
                  </a:moveTo>
                  <a:cubicBezTo>
                    <a:pt x="808" y="728"/>
                    <a:pt x="802" y="730"/>
                    <a:pt x="801" y="737"/>
                  </a:cubicBezTo>
                  <a:cubicBezTo>
                    <a:pt x="806" y="737"/>
                    <a:pt x="817" y="741"/>
                    <a:pt x="823" y="738"/>
                  </a:cubicBezTo>
                  <a:cubicBezTo>
                    <a:pt x="826" y="736"/>
                    <a:pt x="829" y="730"/>
                    <a:pt x="829" y="727"/>
                  </a:cubicBezTo>
                  <a:cubicBezTo>
                    <a:pt x="829" y="724"/>
                    <a:pt x="826" y="724"/>
                    <a:pt x="825" y="721"/>
                  </a:cubicBezTo>
                  <a:cubicBezTo>
                    <a:pt x="820" y="721"/>
                    <a:pt x="817" y="722"/>
                    <a:pt x="810" y="722"/>
                  </a:cubicBezTo>
                  <a:close/>
                  <a:moveTo>
                    <a:pt x="829" y="722"/>
                  </a:moveTo>
                  <a:cubicBezTo>
                    <a:pt x="829" y="724"/>
                    <a:pt x="831" y="724"/>
                    <a:pt x="833" y="724"/>
                  </a:cubicBezTo>
                  <a:cubicBezTo>
                    <a:pt x="834" y="720"/>
                    <a:pt x="830" y="721"/>
                    <a:pt x="829" y="722"/>
                  </a:cubicBezTo>
                  <a:close/>
                  <a:moveTo>
                    <a:pt x="795" y="723"/>
                  </a:moveTo>
                  <a:cubicBezTo>
                    <a:pt x="793" y="726"/>
                    <a:pt x="797" y="728"/>
                    <a:pt x="800" y="730"/>
                  </a:cubicBezTo>
                  <a:cubicBezTo>
                    <a:pt x="802" y="728"/>
                    <a:pt x="807" y="725"/>
                    <a:pt x="806" y="722"/>
                  </a:cubicBezTo>
                  <a:cubicBezTo>
                    <a:pt x="803" y="722"/>
                    <a:pt x="799" y="723"/>
                    <a:pt x="795" y="723"/>
                  </a:cubicBezTo>
                  <a:close/>
                  <a:moveTo>
                    <a:pt x="833" y="727"/>
                  </a:moveTo>
                  <a:cubicBezTo>
                    <a:pt x="834" y="728"/>
                    <a:pt x="837" y="727"/>
                    <a:pt x="839" y="727"/>
                  </a:cubicBezTo>
                  <a:cubicBezTo>
                    <a:pt x="839" y="722"/>
                    <a:pt x="834" y="723"/>
                    <a:pt x="833" y="727"/>
                  </a:cubicBezTo>
                  <a:close/>
                  <a:moveTo>
                    <a:pt x="882" y="731"/>
                  </a:moveTo>
                  <a:cubicBezTo>
                    <a:pt x="883" y="738"/>
                    <a:pt x="882" y="725"/>
                    <a:pt x="880" y="724"/>
                  </a:cubicBezTo>
                  <a:cubicBezTo>
                    <a:pt x="879" y="728"/>
                    <a:pt x="881" y="729"/>
                    <a:pt x="882" y="731"/>
                  </a:cubicBezTo>
                  <a:close/>
                  <a:moveTo>
                    <a:pt x="851" y="730"/>
                  </a:moveTo>
                  <a:cubicBezTo>
                    <a:pt x="851" y="729"/>
                    <a:pt x="849" y="728"/>
                    <a:pt x="847" y="728"/>
                  </a:cubicBezTo>
                  <a:cubicBezTo>
                    <a:pt x="846" y="732"/>
                    <a:pt x="851" y="734"/>
                    <a:pt x="851" y="730"/>
                  </a:cubicBezTo>
                  <a:close/>
                  <a:moveTo>
                    <a:pt x="836" y="729"/>
                  </a:moveTo>
                  <a:cubicBezTo>
                    <a:pt x="838" y="735"/>
                    <a:pt x="841" y="740"/>
                    <a:pt x="845" y="743"/>
                  </a:cubicBezTo>
                  <a:cubicBezTo>
                    <a:pt x="847" y="741"/>
                    <a:pt x="848" y="739"/>
                    <a:pt x="848" y="736"/>
                  </a:cubicBezTo>
                  <a:cubicBezTo>
                    <a:pt x="845" y="733"/>
                    <a:pt x="843" y="727"/>
                    <a:pt x="836" y="729"/>
                  </a:cubicBezTo>
                  <a:close/>
                  <a:moveTo>
                    <a:pt x="786" y="736"/>
                  </a:moveTo>
                  <a:cubicBezTo>
                    <a:pt x="788" y="735"/>
                    <a:pt x="786" y="732"/>
                    <a:pt x="786" y="731"/>
                  </a:cubicBezTo>
                  <a:cubicBezTo>
                    <a:pt x="785" y="731"/>
                    <a:pt x="785" y="731"/>
                    <a:pt x="784" y="731"/>
                  </a:cubicBezTo>
                  <a:cubicBezTo>
                    <a:pt x="782" y="732"/>
                    <a:pt x="784" y="736"/>
                    <a:pt x="786" y="736"/>
                  </a:cubicBezTo>
                  <a:close/>
                  <a:moveTo>
                    <a:pt x="793" y="739"/>
                  </a:moveTo>
                  <a:cubicBezTo>
                    <a:pt x="795" y="738"/>
                    <a:pt x="798" y="737"/>
                    <a:pt x="798" y="733"/>
                  </a:cubicBezTo>
                  <a:cubicBezTo>
                    <a:pt x="796" y="732"/>
                    <a:pt x="796" y="731"/>
                    <a:pt x="793" y="731"/>
                  </a:cubicBezTo>
                  <a:cubicBezTo>
                    <a:pt x="792" y="732"/>
                    <a:pt x="793" y="736"/>
                    <a:pt x="793" y="739"/>
                  </a:cubicBezTo>
                  <a:close/>
                  <a:moveTo>
                    <a:pt x="870" y="781"/>
                  </a:moveTo>
                  <a:cubicBezTo>
                    <a:pt x="870" y="781"/>
                    <a:pt x="870" y="780"/>
                    <a:pt x="869" y="780"/>
                  </a:cubicBezTo>
                  <a:cubicBezTo>
                    <a:pt x="862" y="769"/>
                    <a:pt x="854" y="759"/>
                    <a:pt x="846" y="750"/>
                  </a:cubicBezTo>
                  <a:cubicBezTo>
                    <a:pt x="841" y="743"/>
                    <a:pt x="837" y="735"/>
                    <a:pt x="830" y="731"/>
                  </a:cubicBezTo>
                  <a:cubicBezTo>
                    <a:pt x="818" y="749"/>
                    <a:pt x="803" y="769"/>
                    <a:pt x="793" y="787"/>
                  </a:cubicBezTo>
                  <a:cubicBezTo>
                    <a:pt x="818" y="786"/>
                    <a:pt x="847" y="787"/>
                    <a:pt x="873" y="785"/>
                  </a:cubicBezTo>
                  <a:cubicBezTo>
                    <a:pt x="871" y="780"/>
                    <a:pt x="872" y="774"/>
                    <a:pt x="870" y="766"/>
                  </a:cubicBezTo>
                  <a:cubicBezTo>
                    <a:pt x="869" y="765"/>
                    <a:pt x="867" y="768"/>
                    <a:pt x="866" y="766"/>
                  </a:cubicBezTo>
                  <a:cubicBezTo>
                    <a:pt x="866" y="764"/>
                    <a:pt x="870" y="767"/>
                    <a:pt x="870" y="764"/>
                  </a:cubicBezTo>
                  <a:cubicBezTo>
                    <a:pt x="862" y="758"/>
                    <a:pt x="862" y="744"/>
                    <a:pt x="848" y="747"/>
                  </a:cubicBezTo>
                  <a:cubicBezTo>
                    <a:pt x="853" y="754"/>
                    <a:pt x="857" y="761"/>
                    <a:pt x="864" y="766"/>
                  </a:cubicBezTo>
                  <a:cubicBezTo>
                    <a:pt x="861" y="772"/>
                    <a:pt x="874" y="776"/>
                    <a:pt x="870" y="781"/>
                  </a:cubicBezTo>
                  <a:close/>
                  <a:moveTo>
                    <a:pt x="769" y="740"/>
                  </a:moveTo>
                  <a:cubicBezTo>
                    <a:pt x="771" y="739"/>
                    <a:pt x="773" y="737"/>
                    <a:pt x="774" y="734"/>
                  </a:cubicBezTo>
                  <a:cubicBezTo>
                    <a:pt x="773" y="733"/>
                    <a:pt x="773" y="732"/>
                    <a:pt x="772" y="732"/>
                  </a:cubicBezTo>
                  <a:cubicBezTo>
                    <a:pt x="771" y="735"/>
                    <a:pt x="769" y="736"/>
                    <a:pt x="769" y="740"/>
                  </a:cubicBezTo>
                  <a:close/>
                  <a:moveTo>
                    <a:pt x="773" y="747"/>
                  </a:moveTo>
                  <a:cubicBezTo>
                    <a:pt x="775" y="747"/>
                    <a:pt x="778" y="748"/>
                    <a:pt x="780" y="747"/>
                  </a:cubicBezTo>
                  <a:cubicBezTo>
                    <a:pt x="779" y="742"/>
                    <a:pt x="781" y="734"/>
                    <a:pt x="778" y="732"/>
                  </a:cubicBezTo>
                  <a:cubicBezTo>
                    <a:pt x="777" y="737"/>
                    <a:pt x="775" y="742"/>
                    <a:pt x="773" y="747"/>
                  </a:cubicBezTo>
                  <a:close/>
                  <a:moveTo>
                    <a:pt x="1188" y="740"/>
                  </a:moveTo>
                  <a:cubicBezTo>
                    <a:pt x="1189" y="739"/>
                    <a:pt x="1189" y="733"/>
                    <a:pt x="1187" y="732"/>
                  </a:cubicBezTo>
                  <a:cubicBezTo>
                    <a:pt x="1186" y="734"/>
                    <a:pt x="1185" y="741"/>
                    <a:pt x="1188" y="740"/>
                  </a:cubicBezTo>
                  <a:close/>
                  <a:moveTo>
                    <a:pt x="878" y="751"/>
                  </a:moveTo>
                  <a:cubicBezTo>
                    <a:pt x="880" y="751"/>
                    <a:pt x="881" y="751"/>
                    <a:pt x="882" y="751"/>
                  </a:cubicBezTo>
                  <a:cubicBezTo>
                    <a:pt x="880" y="745"/>
                    <a:pt x="880" y="738"/>
                    <a:pt x="877" y="733"/>
                  </a:cubicBezTo>
                  <a:cubicBezTo>
                    <a:pt x="877" y="738"/>
                    <a:pt x="877" y="745"/>
                    <a:pt x="878" y="751"/>
                  </a:cubicBezTo>
                  <a:close/>
                  <a:moveTo>
                    <a:pt x="855" y="740"/>
                  </a:moveTo>
                  <a:cubicBezTo>
                    <a:pt x="858" y="741"/>
                    <a:pt x="856" y="745"/>
                    <a:pt x="860" y="744"/>
                  </a:cubicBezTo>
                  <a:cubicBezTo>
                    <a:pt x="860" y="743"/>
                    <a:pt x="859" y="742"/>
                    <a:pt x="860" y="742"/>
                  </a:cubicBezTo>
                  <a:cubicBezTo>
                    <a:pt x="861" y="744"/>
                    <a:pt x="865" y="745"/>
                    <a:pt x="867" y="744"/>
                  </a:cubicBezTo>
                  <a:cubicBezTo>
                    <a:pt x="867" y="742"/>
                    <a:pt x="865" y="742"/>
                    <a:pt x="866" y="740"/>
                  </a:cubicBezTo>
                  <a:cubicBezTo>
                    <a:pt x="861" y="738"/>
                    <a:pt x="858" y="739"/>
                    <a:pt x="855" y="740"/>
                  </a:cubicBezTo>
                  <a:close/>
                  <a:moveTo>
                    <a:pt x="800" y="741"/>
                  </a:moveTo>
                  <a:cubicBezTo>
                    <a:pt x="799" y="743"/>
                    <a:pt x="799" y="745"/>
                    <a:pt x="797" y="745"/>
                  </a:cubicBezTo>
                  <a:cubicBezTo>
                    <a:pt x="797" y="744"/>
                    <a:pt x="799" y="743"/>
                    <a:pt x="798" y="740"/>
                  </a:cubicBezTo>
                  <a:cubicBezTo>
                    <a:pt x="793" y="742"/>
                    <a:pt x="788" y="749"/>
                    <a:pt x="792" y="755"/>
                  </a:cubicBezTo>
                  <a:cubicBezTo>
                    <a:pt x="798" y="754"/>
                    <a:pt x="806" y="755"/>
                    <a:pt x="813" y="754"/>
                  </a:cubicBezTo>
                  <a:cubicBezTo>
                    <a:pt x="814" y="748"/>
                    <a:pt x="820" y="746"/>
                    <a:pt x="820" y="740"/>
                  </a:cubicBezTo>
                  <a:cubicBezTo>
                    <a:pt x="815" y="739"/>
                    <a:pt x="809" y="741"/>
                    <a:pt x="804" y="739"/>
                  </a:cubicBezTo>
                  <a:cubicBezTo>
                    <a:pt x="802" y="744"/>
                    <a:pt x="812" y="749"/>
                    <a:pt x="808" y="753"/>
                  </a:cubicBezTo>
                  <a:cubicBezTo>
                    <a:pt x="805" y="750"/>
                    <a:pt x="805" y="743"/>
                    <a:pt x="800" y="741"/>
                  </a:cubicBezTo>
                  <a:close/>
                  <a:moveTo>
                    <a:pt x="847" y="743"/>
                  </a:moveTo>
                  <a:cubicBezTo>
                    <a:pt x="848" y="743"/>
                    <a:pt x="848" y="744"/>
                    <a:pt x="848" y="744"/>
                  </a:cubicBezTo>
                  <a:cubicBezTo>
                    <a:pt x="850" y="744"/>
                    <a:pt x="851" y="745"/>
                    <a:pt x="854" y="744"/>
                  </a:cubicBezTo>
                  <a:cubicBezTo>
                    <a:pt x="853" y="742"/>
                    <a:pt x="851" y="740"/>
                    <a:pt x="849" y="739"/>
                  </a:cubicBezTo>
                  <a:cubicBezTo>
                    <a:pt x="850" y="741"/>
                    <a:pt x="847" y="741"/>
                    <a:pt x="847" y="743"/>
                  </a:cubicBezTo>
                  <a:close/>
                  <a:moveTo>
                    <a:pt x="873" y="745"/>
                  </a:moveTo>
                  <a:cubicBezTo>
                    <a:pt x="874" y="744"/>
                    <a:pt x="874" y="742"/>
                    <a:pt x="872" y="741"/>
                  </a:cubicBezTo>
                  <a:cubicBezTo>
                    <a:pt x="871" y="742"/>
                    <a:pt x="871" y="745"/>
                    <a:pt x="873" y="745"/>
                  </a:cubicBezTo>
                  <a:close/>
                  <a:moveTo>
                    <a:pt x="1177" y="747"/>
                  </a:moveTo>
                  <a:cubicBezTo>
                    <a:pt x="1179" y="747"/>
                    <a:pt x="1183" y="748"/>
                    <a:pt x="1182" y="744"/>
                  </a:cubicBezTo>
                  <a:cubicBezTo>
                    <a:pt x="1180" y="744"/>
                    <a:pt x="1179" y="745"/>
                    <a:pt x="1177" y="747"/>
                  </a:cubicBezTo>
                  <a:close/>
                  <a:moveTo>
                    <a:pt x="1186" y="745"/>
                  </a:moveTo>
                  <a:cubicBezTo>
                    <a:pt x="1185" y="747"/>
                    <a:pt x="1187" y="747"/>
                    <a:pt x="1188" y="748"/>
                  </a:cubicBezTo>
                  <a:cubicBezTo>
                    <a:pt x="1189" y="747"/>
                    <a:pt x="1191" y="747"/>
                    <a:pt x="1191" y="744"/>
                  </a:cubicBezTo>
                  <a:cubicBezTo>
                    <a:pt x="1189" y="745"/>
                    <a:pt x="1187" y="744"/>
                    <a:pt x="1186" y="745"/>
                  </a:cubicBezTo>
                  <a:close/>
                  <a:moveTo>
                    <a:pt x="860" y="749"/>
                  </a:moveTo>
                  <a:cubicBezTo>
                    <a:pt x="862" y="749"/>
                    <a:pt x="863" y="751"/>
                    <a:pt x="864" y="753"/>
                  </a:cubicBezTo>
                  <a:cubicBezTo>
                    <a:pt x="866" y="752"/>
                    <a:pt x="867" y="754"/>
                    <a:pt x="869" y="753"/>
                  </a:cubicBezTo>
                  <a:cubicBezTo>
                    <a:pt x="869" y="750"/>
                    <a:pt x="866" y="751"/>
                    <a:pt x="867" y="748"/>
                  </a:cubicBezTo>
                  <a:cubicBezTo>
                    <a:pt x="864" y="748"/>
                    <a:pt x="861" y="746"/>
                    <a:pt x="860" y="749"/>
                  </a:cubicBezTo>
                  <a:close/>
                  <a:moveTo>
                    <a:pt x="770" y="759"/>
                  </a:moveTo>
                  <a:cubicBezTo>
                    <a:pt x="767" y="765"/>
                    <a:pt x="762" y="776"/>
                    <a:pt x="763" y="781"/>
                  </a:cubicBezTo>
                  <a:cubicBezTo>
                    <a:pt x="765" y="778"/>
                    <a:pt x="767" y="774"/>
                    <a:pt x="770" y="772"/>
                  </a:cubicBezTo>
                  <a:cubicBezTo>
                    <a:pt x="771" y="763"/>
                    <a:pt x="784" y="762"/>
                    <a:pt x="779" y="749"/>
                  </a:cubicBezTo>
                  <a:cubicBezTo>
                    <a:pt x="774" y="750"/>
                    <a:pt x="770" y="751"/>
                    <a:pt x="770" y="759"/>
                  </a:cubicBezTo>
                  <a:close/>
                  <a:moveTo>
                    <a:pt x="1186" y="759"/>
                  </a:moveTo>
                  <a:cubicBezTo>
                    <a:pt x="1187" y="759"/>
                    <a:pt x="1190" y="759"/>
                    <a:pt x="1190" y="759"/>
                  </a:cubicBezTo>
                  <a:cubicBezTo>
                    <a:pt x="1190" y="756"/>
                    <a:pt x="1192" y="752"/>
                    <a:pt x="1190" y="752"/>
                  </a:cubicBezTo>
                  <a:cubicBezTo>
                    <a:pt x="1191" y="757"/>
                    <a:pt x="1184" y="754"/>
                    <a:pt x="1186" y="759"/>
                  </a:cubicBezTo>
                  <a:close/>
                  <a:moveTo>
                    <a:pt x="878" y="755"/>
                  </a:moveTo>
                  <a:cubicBezTo>
                    <a:pt x="878" y="760"/>
                    <a:pt x="875" y="771"/>
                    <a:pt x="881" y="772"/>
                  </a:cubicBezTo>
                  <a:cubicBezTo>
                    <a:pt x="883" y="772"/>
                    <a:pt x="882" y="768"/>
                    <a:pt x="884" y="767"/>
                  </a:cubicBezTo>
                  <a:cubicBezTo>
                    <a:pt x="885" y="771"/>
                    <a:pt x="883" y="771"/>
                    <a:pt x="882" y="774"/>
                  </a:cubicBezTo>
                  <a:cubicBezTo>
                    <a:pt x="885" y="779"/>
                    <a:pt x="889" y="783"/>
                    <a:pt x="892" y="788"/>
                  </a:cubicBezTo>
                  <a:cubicBezTo>
                    <a:pt x="891" y="775"/>
                    <a:pt x="886" y="765"/>
                    <a:pt x="882" y="753"/>
                  </a:cubicBezTo>
                  <a:cubicBezTo>
                    <a:pt x="880" y="754"/>
                    <a:pt x="880" y="758"/>
                    <a:pt x="878" y="755"/>
                  </a:cubicBezTo>
                  <a:close/>
                  <a:moveTo>
                    <a:pt x="785" y="764"/>
                  </a:moveTo>
                  <a:cubicBezTo>
                    <a:pt x="785" y="762"/>
                    <a:pt x="787" y="757"/>
                    <a:pt x="784" y="757"/>
                  </a:cubicBezTo>
                  <a:cubicBezTo>
                    <a:pt x="783" y="759"/>
                    <a:pt x="783" y="763"/>
                    <a:pt x="785" y="764"/>
                  </a:cubicBezTo>
                  <a:close/>
                  <a:moveTo>
                    <a:pt x="789" y="777"/>
                  </a:moveTo>
                  <a:cubicBezTo>
                    <a:pt x="793" y="777"/>
                    <a:pt x="795" y="777"/>
                    <a:pt x="798" y="775"/>
                  </a:cubicBezTo>
                  <a:cubicBezTo>
                    <a:pt x="801" y="772"/>
                    <a:pt x="806" y="763"/>
                    <a:pt x="808" y="758"/>
                  </a:cubicBezTo>
                  <a:cubicBezTo>
                    <a:pt x="802" y="758"/>
                    <a:pt x="795" y="759"/>
                    <a:pt x="791" y="757"/>
                  </a:cubicBezTo>
                  <a:cubicBezTo>
                    <a:pt x="791" y="764"/>
                    <a:pt x="787" y="770"/>
                    <a:pt x="789" y="777"/>
                  </a:cubicBezTo>
                  <a:close/>
                  <a:moveTo>
                    <a:pt x="1188" y="766"/>
                  </a:moveTo>
                  <a:cubicBezTo>
                    <a:pt x="1189" y="765"/>
                    <a:pt x="1191" y="765"/>
                    <a:pt x="1190" y="762"/>
                  </a:cubicBezTo>
                  <a:cubicBezTo>
                    <a:pt x="1189" y="762"/>
                    <a:pt x="1188" y="764"/>
                    <a:pt x="1186" y="762"/>
                  </a:cubicBezTo>
                  <a:cubicBezTo>
                    <a:pt x="1186" y="765"/>
                    <a:pt x="1187" y="766"/>
                    <a:pt x="1188" y="766"/>
                  </a:cubicBezTo>
                  <a:close/>
                  <a:moveTo>
                    <a:pt x="761" y="788"/>
                  </a:moveTo>
                  <a:cubicBezTo>
                    <a:pt x="768" y="788"/>
                    <a:pt x="776" y="789"/>
                    <a:pt x="781" y="788"/>
                  </a:cubicBezTo>
                  <a:cubicBezTo>
                    <a:pt x="780" y="780"/>
                    <a:pt x="782" y="769"/>
                    <a:pt x="778" y="764"/>
                  </a:cubicBezTo>
                  <a:cubicBezTo>
                    <a:pt x="774" y="773"/>
                    <a:pt x="765" y="780"/>
                    <a:pt x="761" y="788"/>
                  </a:cubicBezTo>
                  <a:close/>
                  <a:moveTo>
                    <a:pt x="1190" y="775"/>
                  </a:moveTo>
                  <a:cubicBezTo>
                    <a:pt x="1190" y="773"/>
                    <a:pt x="1190" y="772"/>
                    <a:pt x="1190" y="770"/>
                  </a:cubicBezTo>
                  <a:cubicBezTo>
                    <a:pt x="1189" y="770"/>
                    <a:pt x="1188" y="770"/>
                    <a:pt x="1186" y="770"/>
                  </a:cubicBezTo>
                  <a:cubicBezTo>
                    <a:pt x="1185" y="773"/>
                    <a:pt x="1186" y="775"/>
                    <a:pt x="1190" y="775"/>
                  </a:cubicBezTo>
                  <a:close/>
                  <a:moveTo>
                    <a:pt x="878" y="786"/>
                  </a:moveTo>
                  <a:cubicBezTo>
                    <a:pt x="883" y="787"/>
                    <a:pt x="886" y="790"/>
                    <a:pt x="891" y="790"/>
                  </a:cubicBezTo>
                  <a:cubicBezTo>
                    <a:pt x="887" y="785"/>
                    <a:pt x="883" y="780"/>
                    <a:pt x="878" y="775"/>
                  </a:cubicBezTo>
                  <a:cubicBezTo>
                    <a:pt x="877" y="777"/>
                    <a:pt x="879" y="782"/>
                    <a:pt x="878" y="786"/>
                  </a:cubicBezTo>
                  <a:close/>
                  <a:moveTo>
                    <a:pt x="1186" y="782"/>
                  </a:moveTo>
                  <a:cubicBezTo>
                    <a:pt x="1190" y="781"/>
                    <a:pt x="1191" y="783"/>
                    <a:pt x="1192" y="785"/>
                  </a:cubicBezTo>
                  <a:cubicBezTo>
                    <a:pt x="1193" y="778"/>
                    <a:pt x="1187" y="779"/>
                    <a:pt x="1184" y="776"/>
                  </a:cubicBezTo>
                  <a:cubicBezTo>
                    <a:pt x="1184" y="779"/>
                    <a:pt x="1186" y="779"/>
                    <a:pt x="1186" y="782"/>
                  </a:cubicBezTo>
                  <a:close/>
                  <a:moveTo>
                    <a:pt x="787" y="788"/>
                  </a:moveTo>
                  <a:cubicBezTo>
                    <a:pt x="791" y="787"/>
                    <a:pt x="794" y="781"/>
                    <a:pt x="794" y="779"/>
                  </a:cubicBezTo>
                  <a:cubicBezTo>
                    <a:pt x="787" y="777"/>
                    <a:pt x="787" y="781"/>
                    <a:pt x="787" y="788"/>
                  </a:cubicBezTo>
                  <a:close/>
                  <a:moveTo>
                    <a:pt x="1186" y="796"/>
                  </a:moveTo>
                  <a:cubicBezTo>
                    <a:pt x="1187" y="795"/>
                    <a:pt x="1186" y="793"/>
                    <a:pt x="1186" y="791"/>
                  </a:cubicBezTo>
                  <a:cubicBezTo>
                    <a:pt x="1188" y="791"/>
                    <a:pt x="1188" y="790"/>
                    <a:pt x="1190" y="790"/>
                  </a:cubicBezTo>
                  <a:cubicBezTo>
                    <a:pt x="1190" y="788"/>
                    <a:pt x="1190" y="786"/>
                    <a:pt x="1188" y="785"/>
                  </a:cubicBezTo>
                  <a:cubicBezTo>
                    <a:pt x="1188" y="788"/>
                    <a:pt x="1180" y="793"/>
                    <a:pt x="1186" y="796"/>
                  </a:cubicBezTo>
                  <a:close/>
                  <a:moveTo>
                    <a:pt x="821" y="790"/>
                  </a:moveTo>
                  <a:cubicBezTo>
                    <a:pt x="821" y="794"/>
                    <a:pt x="824" y="794"/>
                    <a:pt x="826" y="796"/>
                  </a:cubicBezTo>
                  <a:cubicBezTo>
                    <a:pt x="834" y="796"/>
                    <a:pt x="844" y="796"/>
                    <a:pt x="851" y="796"/>
                  </a:cubicBezTo>
                  <a:cubicBezTo>
                    <a:pt x="860" y="795"/>
                    <a:pt x="870" y="797"/>
                    <a:pt x="873" y="790"/>
                  </a:cubicBezTo>
                  <a:cubicBezTo>
                    <a:pt x="861" y="789"/>
                    <a:pt x="838" y="788"/>
                    <a:pt x="821" y="790"/>
                  </a:cubicBezTo>
                  <a:close/>
                  <a:moveTo>
                    <a:pt x="1209" y="791"/>
                  </a:moveTo>
                  <a:cubicBezTo>
                    <a:pt x="1204" y="795"/>
                    <a:pt x="1200" y="788"/>
                    <a:pt x="1197" y="790"/>
                  </a:cubicBezTo>
                  <a:cubicBezTo>
                    <a:pt x="1196" y="792"/>
                    <a:pt x="1198" y="793"/>
                    <a:pt x="1197" y="796"/>
                  </a:cubicBezTo>
                  <a:cubicBezTo>
                    <a:pt x="1206" y="796"/>
                    <a:pt x="1216" y="797"/>
                    <a:pt x="1223" y="795"/>
                  </a:cubicBezTo>
                  <a:cubicBezTo>
                    <a:pt x="1218" y="794"/>
                    <a:pt x="1211" y="795"/>
                    <a:pt x="1209" y="791"/>
                  </a:cubicBezTo>
                  <a:close/>
                  <a:moveTo>
                    <a:pt x="787" y="796"/>
                  </a:moveTo>
                  <a:cubicBezTo>
                    <a:pt x="795" y="794"/>
                    <a:pt x="810" y="801"/>
                    <a:pt x="811" y="790"/>
                  </a:cubicBezTo>
                  <a:cubicBezTo>
                    <a:pt x="802" y="792"/>
                    <a:pt x="788" y="787"/>
                    <a:pt x="787" y="796"/>
                  </a:cubicBezTo>
                  <a:close/>
                  <a:moveTo>
                    <a:pt x="879" y="791"/>
                  </a:moveTo>
                  <a:cubicBezTo>
                    <a:pt x="879" y="794"/>
                    <a:pt x="881" y="794"/>
                    <a:pt x="884" y="794"/>
                  </a:cubicBezTo>
                  <a:cubicBezTo>
                    <a:pt x="884" y="793"/>
                    <a:pt x="884" y="792"/>
                    <a:pt x="884" y="792"/>
                  </a:cubicBezTo>
                  <a:cubicBezTo>
                    <a:pt x="883" y="791"/>
                    <a:pt x="880" y="790"/>
                    <a:pt x="879" y="791"/>
                  </a:cubicBezTo>
                  <a:close/>
                  <a:moveTo>
                    <a:pt x="1166" y="794"/>
                  </a:moveTo>
                  <a:cubicBezTo>
                    <a:pt x="1170" y="797"/>
                    <a:pt x="1174" y="797"/>
                    <a:pt x="1179" y="796"/>
                  </a:cubicBezTo>
                  <a:cubicBezTo>
                    <a:pt x="1180" y="795"/>
                    <a:pt x="1180" y="792"/>
                    <a:pt x="1181" y="791"/>
                  </a:cubicBezTo>
                  <a:cubicBezTo>
                    <a:pt x="1175" y="789"/>
                    <a:pt x="1171" y="793"/>
                    <a:pt x="1166" y="794"/>
                  </a:cubicBezTo>
                  <a:close/>
                  <a:moveTo>
                    <a:pt x="1188" y="796"/>
                  </a:moveTo>
                  <a:cubicBezTo>
                    <a:pt x="1191" y="797"/>
                    <a:pt x="1192" y="795"/>
                    <a:pt x="1194" y="795"/>
                  </a:cubicBezTo>
                  <a:cubicBezTo>
                    <a:pt x="1194" y="792"/>
                    <a:pt x="1194" y="790"/>
                    <a:pt x="1191" y="790"/>
                  </a:cubicBezTo>
                  <a:cubicBezTo>
                    <a:pt x="1193" y="795"/>
                    <a:pt x="1189" y="794"/>
                    <a:pt x="1188" y="796"/>
                  </a:cubicBezTo>
                  <a:close/>
                  <a:moveTo>
                    <a:pt x="769" y="792"/>
                  </a:moveTo>
                  <a:cubicBezTo>
                    <a:pt x="771" y="795"/>
                    <a:pt x="778" y="794"/>
                    <a:pt x="781" y="796"/>
                  </a:cubicBezTo>
                  <a:cubicBezTo>
                    <a:pt x="781" y="794"/>
                    <a:pt x="781" y="793"/>
                    <a:pt x="781" y="791"/>
                  </a:cubicBezTo>
                  <a:cubicBezTo>
                    <a:pt x="777" y="791"/>
                    <a:pt x="774" y="792"/>
                    <a:pt x="769" y="792"/>
                  </a:cubicBezTo>
                  <a:close/>
                  <a:moveTo>
                    <a:pt x="811" y="796"/>
                  </a:moveTo>
                  <a:cubicBezTo>
                    <a:pt x="814" y="797"/>
                    <a:pt x="818" y="797"/>
                    <a:pt x="821" y="796"/>
                  </a:cubicBezTo>
                  <a:cubicBezTo>
                    <a:pt x="821" y="793"/>
                    <a:pt x="819" y="791"/>
                    <a:pt x="816" y="791"/>
                  </a:cubicBezTo>
                  <a:cubicBezTo>
                    <a:pt x="814" y="792"/>
                    <a:pt x="813" y="794"/>
                    <a:pt x="811" y="796"/>
                  </a:cubicBezTo>
                  <a:close/>
                  <a:moveTo>
                    <a:pt x="758" y="808"/>
                  </a:moveTo>
                  <a:cubicBezTo>
                    <a:pt x="760" y="810"/>
                    <a:pt x="762" y="809"/>
                    <a:pt x="764" y="808"/>
                  </a:cubicBezTo>
                  <a:cubicBezTo>
                    <a:pt x="763" y="801"/>
                    <a:pt x="769" y="801"/>
                    <a:pt x="767" y="794"/>
                  </a:cubicBezTo>
                  <a:cubicBezTo>
                    <a:pt x="757" y="789"/>
                    <a:pt x="759" y="800"/>
                    <a:pt x="758" y="808"/>
                  </a:cubicBezTo>
                  <a:close/>
                  <a:moveTo>
                    <a:pt x="1155" y="798"/>
                  </a:moveTo>
                  <a:cubicBezTo>
                    <a:pt x="1158" y="798"/>
                    <a:pt x="1160" y="797"/>
                    <a:pt x="1163" y="797"/>
                  </a:cubicBezTo>
                  <a:cubicBezTo>
                    <a:pt x="1163" y="795"/>
                    <a:pt x="1159" y="795"/>
                    <a:pt x="1158" y="794"/>
                  </a:cubicBezTo>
                  <a:cubicBezTo>
                    <a:pt x="1158" y="797"/>
                    <a:pt x="1156" y="796"/>
                    <a:pt x="1155" y="798"/>
                  </a:cubicBezTo>
                  <a:close/>
                  <a:moveTo>
                    <a:pt x="773" y="809"/>
                  </a:moveTo>
                  <a:cubicBezTo>
                    <a:pt x="775" y="809"/>
                    <a:pt x="776" y="809"/>
                    <a:pt x="778" y="809"/>
                  </a:cubicBezTo>
                  <a:cubicBezTo>
                    <a:pt x="780" y="806"/>
                    <a:pt x="780" y="802"/>
                    <a:pt x="781" y="799"/>
                  </a:cubicBezTo>
                  <a:cubicBezTo>
                    <a:pt x="777" y="799"/>
                    <a:pt x="776" y="797"/>
                    <a:pt x="772" y="797"/>
                  </a:cubicBezTo>
                  <a:cubicBezTo>
                    <a:pt x="772" y="801"/>
                    <a:pt x="772" y="806"/>
                    <a:pt x="773" y="809"/>
                  </a:cubicBezTo>
                  <a:close/>
                  <a:moveTo>
                    <a:pt x="891" y="801"/>
                  </a:moveTo>
                  <a:cubicBezTo>
                    <a:pt x="892" y="801"/>
                    <a:pt x="893" y="801"/>
                    <a:pt x="893" y="802"/>
                  </a:cubicBezTo>
                  <a:cubicBezTo>
                    <a:pt x="894" y="801"/>
                    <a:pt x="895" y="799"/>
                    <a:pt x="894" y="797"/>
                  </a:cubicBezTo>
                  <a:cubicBezTo>
                    <a:pt x="893" y="797"/>
                    <a:pt x="892" y="797"/>
                    <a:pt x="892" y="797"/>
                  </a:cubicBezTo>
                  <a:cubicBezTo>
                    <a:pt x="891" y="798"/>
                    <a:pt x="891" y="799"/>
                    <a:pt x="891" y="801"/>
                  </a:cubicBezTo>
                  <a:close/>
                  <a:moveTo>
                    <a:pt x="866" y="810"/>
                  </a:moveTo>
                  <a:cubicBezTo>
                    <a:pt x="862" y="810"/>
                    <a:pt x="862" y="814"/>
                    <a:pt x="860" y="815"/>
                  </a:cubicBezTo>
                  <a:cubicBezTo>
                    <a:pt x="862" y="819"/>
                    <a:pt x="865" y="823"/>
                    <a:pt x="869" y="826"/>
                  </a:cubicBezTo>
                  <a:cubicBezTo>
                    <a:pt x="872" y="826"/>
                    <a:pt x="874" y="826"/>
                    <a:pt x="877" y="826"/>
                  </a:cubicBezTo>
                  <a:cubicBezTo>
                    <a:pt x="879" y="823"/>
                    <a:pt x="874" y="822"/>
                    <a:pt x="875" y="821"/>
                  </a:cubicBezTo>
                  <a:cubicBezTo>
                    <a:pt x="877" y="821"/>
                    <a:pt x="878" y="823"/>
                    <a:pt x="877" y="820"/>
                  </a:cubicBezTo>
                  <a:cubicBezTo>
                    <a:pt x="875" y="816"/>
                    <a:pt x="878" y="812"/>
                    <a:pt x="876" y="808"/>
                  </a:cubicBezTo>
                  <a:cubicBezTo>
                    <a:pt x="874" y="808"/>
                    <a:pt x="869" y="809"/>
                    <a:pt x="869" y="807"/>
                  </a:cubicBezTo>
                  <a:cubicBezTo>
                    <a:pt x="871" y="806"/>
                    <a:pt x="875" y="807"/>
                    <a:pt x="876" y="806"/>
                  </a:cubicBezTo>
                  <a:cubicBezTo>
                    <a:pt x="876" y="803"/>
                    <a:pt x="875" y="800"/>
                    <a:pt x="874" y="798"/>
                  </a:cubicBezTo>
                  <a:cubicBezTo>
                    <a:pt x="867" y="798"/>
                    <a:pt x="866" y="805"/>
                    <a:pt x="866" y="810"/>
                  </a:cubicBezTo>
                  <a:close/>
                  <a:moveTo>
                    <a:pt x="880" y="805"/>
                  </a:moveTo>
                  <a:cubicBezTo>
                    <a:pt x="882" y="804"/>
                    <a:pt x="881" y="806"/>
                    <a:pt x="884" y="808"/>
                  </a:cubicBezTo>
                  <a:cubicBezTo>
                    <a:pt x="885" y="805"/>
                    <a:pt x="885" y="800"/>
                    <a:pt x="885" y="798"/>
                  </a:cubicBezTo>
                  <a:cubicBezTo>
                    <a:pt x="884" y="798"/>
                    <a:pt x="883" y="798"/>
                    <a:pt x="882" y="798"/>
                  </a:cubicBezTo>
                  <a:cubicBezTo>
                    <a:pt x="882" y="801"/>
                    <a:pt x="879" y="802"/>
                    <a:pt x="880" y="805"/>
                  </a:cubicBezTo>
                  <a:close/>
                  <a:moveTo>
                    <a:pt x="796" y="820"/>
                  </a:moveTo>
                  <a:cubicBezTo>
                    <a:pt x="793" y="820"/>
                    <a:pt x="793" y="822"/>
                    <a:pt x="792" y="819"/>
                  </a:cubicBezTo>
                  <a:cubicBezTo>
                    <a:pt x="788" y="822"/>
                    <a:pt x="780" y="828"/>
                    <a:pt x="784" y="835"/>
                  </a:cubicBezTo>
                  <a:cubicBezTo>
                    <a:pt x="791" y="835"/>
                    <a:pt x="798" y="836"/>
                    <a:pt x="803" y="836"/>
                  </a:cubicBezTo>
                  <a:cubicBezTo>
                    <a:pt x="805" y="829"/>
                    <a:pt x="798" y="826"/>
                    <a:pt x="796" y="820"/>
                  </a:cubicBezTo>
                  <a:close/>
                  <a:moveTo>
                    <a:pt x="807" y="835"/>
                  </a:moveTo>
                  <a:cubicBezTo>
                    <a:pt x="812" y="829"/>
                    <a:pt x="818" y="825"/>
                    <a:pt x="820" y="817"/>
                  </a:cubicBezTo>
                  <a:cubicBezTo>
                    <a:pt x="825" y="815"/>
                    <a:pt x="828" y="810"/>
                    <a:pt x="830" y="805"/>
                  </a:cubicBezTo>
                  <a:cubicBezTo>
                    <a:pt x="828" y="803"/>
                    <a:pt x="826" y="800"/>
                    <a:pt x="823" y="798"/>
                  </a:cubicBezTo>
                  <a:cubicBezTo>
                    <a:pt x="818" y="798"/>
                    <a:pt x="813" y="799"/>
                    <a:pt x="808" y="799"/>
                  </a:cubicBezTo>
                  <a:cubicBezTo>
                    <a:pt x="804" y="805"/>
                    <a:pt x="799" y="809"/>
                    <a:pt x="795" y="814"/>
                  </a:cubicBezTo>
                  <a:cubicBezTo>
                    <a:pt x="799" y="821"/>
                    <a:pt x="801" y="829"/>
                    <a:pt x="807" y="835"/>
                  </a:cubicBezTo>
                  <a:close/>
                  <a:moveTo>
                    <a:pt x="828" y="800"/>
                  </a:moveTo>
                  <a:cubicBezTo>
                    <a:pt x="830" y="801"/>
                    <a:pt x="831" y="803"/>
                    <a:pt x="833" y="804"/>
                  </a:cubicBezTo>
                  <a:cubicBezTo>
                    <a:pt x="833" y="802"/>
                    <a:pt x="836" y="801"/>
                    <a:pt x="836" y="799"/>
                  </a:cubicBezTo>
                  <a:cubicBezTo>
                    <a:pt x="834" y="798"/>
                    <a:pt x="829" y="798"/>
                    <a:pt x="828" y="800"/>
                  </a:cubicBezTo>
                  <a:close/>
                  <a:moveTo>
                    <a:pt x="859" y="814"/>
                  </a:moveTo>
                  <a:cubicBezTo>
                    <a:pt x="861" y="808"/>
                    <a:pt x="865" y="804"/>
                    <a:pt x="867" y="799"/>
                  </a:cubicBezTo>
                  <a:cubicBezTo>
                    <a:pt x="861" y="798"/>
                    <a:pt x="852" y="799"/>
                    <a:pt x="844" y="798"/>
                  </a:cubicBezTo>
                  <a:cubicBezTo>
                    <a:pt x="848" y="804"/>
                    <a:pt x="853" y="810"/>
                    <a:pt x="859" y="814"/>
                  </a:cubicBezTo>
                  <a:close/>
                  <a:moveTo>
                    <a:pt x="787" y="800"/>
                  </a:moveTo>
                  <a:cubicBezTo>
                    <a:pt x="786" y="804"/>
                    <a:pt x="790" y="809"/>
                    <a:pt x="795" y="809"/>
                  </a:cubicBezTo>
                  <a:cubicBezTo>
                    <a:pt x="798" y="806"/>
                    <a:pt x="802" y="804"/>
                    <a:pt x="804" y="799"/>
                  </a:cubicBezTo>
                  <a:cubicBezTo>
                    <a:pt x="798" y="799"/>
                    <a:pt x="790" y="799"/>
                    <a:pt x="787" y="800"/>
                  </a:cubicBezTo>
                  <a:close/>
                  <a:moveTo>
                    <a:pt x="839" y="799"/>
                  </a:moveTo>
                  <a:cubicBezTo>
                    <a:pt x="837" y="801"/>
                    <a:pt x="835" y="802"/>
                    <a:pt x="834" y="805"/>
                  </a:cubicBezTo>
                  <a:cubicBezTo>
                    <a:pt x="840" y="813"/>
                    <a:pt x="844" y="821"/>
                    <a:pt x="853" y="825"/>
                  </a:cubicBezTo>
                  <a:cubicBezTo>
                    <a:pt x="852" y="823"/>
                    <a:pt x="857" y="821"/>
                    <a:pt x="856" y="816"/>
                  </a:cubicBezTo>
                  <a:cubicBezTo>
                    <a:pt x="850" y="811"/>
                    <a:pt x="846" y="804"/>
                    <a:pt x="839" y="799"/>
                  </a:cubicBezTo>
                  <a:close/>
                  <a:moveTo>
                    <a:pt x="1186" y="805"/>
                  </a:moveTo>
                  <a:cubicBezTo>
                    <a:pt x="1185" y="804"/>
                    <a:pt x="1187" y="804"/>
                    <a:pt x="1186" y="802"/>
                  </a:cubicBezTo>
                  <a:cubicBezTo>
                    <a:pt x="1185" y="802"/>
                    <a:pt x="1185" y="801"/>
                    <a:pt x="1184" y="801"/>
                  </a:cubicBezTo>
                  <a:cubicBezTo>
                    <a:pt x="1184" y="803"/>
                    <a:pt x="1183" y="806"/>
                    <a:pt x="1186" y="805"/>
                  </a:cubicBezTo>
                  <a:close/>
                  <a:moveTo>
                    <a:pt x="1194" y="805"/>
                  </a:moveTo>
                  <a:cubicBezTo>
                    <a:pt x="1195" y="804"/>
                    <a:pt x="1195" y="803"/>
                    <a:pt x="1194" y="801"/>
                  </a:cubicBezTo>
                  <a:cubicBezTo>
                    <a:pt x="1193" y="802"/>
                    <a:pt x="1191" y="800"/>
                    <a:pt x="1191" y="802"/>
                  </a:cubicBezTo>
                  <a:cubicBezTo>
                    <a:pt x="1193" y="802"/>
                    <a:pt x="1191" y="805"/>
                    <a:pt x="1194" y="805"/>
                  </a:cubicBezTo>
                  <a:close/>
                  <a:moveTo>
                    <a:pt x="898" y="815"/>
                  </a:moveTo>
                  <a:cubicBezTo>
                    <a:pt x="899" y="809"/>
                    <a:pt x="896" y="807"/>
                    <a:pt x="896" y="802"/>
                  </a:cubicBezTo>
                  <a:cubicBezTo>
                    <a:pt x="895" y="802"/>
                    <a:pt x="895" y="802"/>
                    <a:pt x="894" y="802"/>
                  </a:cubicBezTo>
                  <a:cubicBezTo>
                    <a:pt x="892" y="807"/>
                    <a:pt x="894" y="813"/>
                    <a:pt x="898" y="815"/>
                  </a:cubicBezTo>
                  <a:close/>
                  <a:moveTo>
                    <a:pt x="788" y="808"/>
                  </a:moveTo>
                  <a:cubicBezTo>
                    <a:pt x="788" y="806"/>
                    <a:pt x="786" y="805"/>
                    <a:pt x="785" y="805"/>
                  </a:cubicBezTo>
                  <a:cubicBezTo>
                    <a:pt x="783" y="807"/>
                    <a:pt x="786" y="810"/>
                    <a:pt x="788" y="808"/>
                  </a:cubicBezTo>
                  <a:close/>
                  <a:moveTo>
                    <a:pt x="1185" y="807"/>
                  </a:moveTo>
                  <a:cubicBezTo>
                    <a:pt x="1186" y="810"/>
                    <a:pt x="1191" y="810"/>
                    <a:pt x="1193" y="808"/>
                  </a:cubicBezTo>
                  <a:cubicBezTo>
                    <a:pt x="1193" y="804"/>
                    <a:pt x="1186" y="803"/>
                    <a:pt x="1185" y="807"/>
                  </a:cubicBezTo>
                  <a:close/>
                  <a:moveTo>
                    <a:pt x="832" y="808"/>
                  </a:moveTo>
                  <a:cubicBezTo>
                    <a:pt x="824" y="819"/>
                    <a:pt x="814" y="828"/>
                    <a:pt x="808" y="839"/>
                  </a:cubicBezTo>
                  <a:cubicBezTo>
                    <a:pt x="802" y="843"/>
                    <a:pt x="799" y="848"/>
                    <a:pt x="796" y="854"/>
                  </a:cubicBezTo>
                  <a:cubicBezTo>
                    <a:pt x="792" y="857"/>
                    <a:pt x="786" y="863"/>
                    <a:pt x="785" y="868"/>
                  </a:cubicBezTo>
                  <a:cubicBezTo>
                    <a:pt x="817" y="866"/>
                    <a:pt x="855" y="868"/>
                    <a:pt x="884" y="867"/>
                  </a:cubicBezTo>
                  <a:cubicBezTo>
                    <a:pt x="867" y="847"/>
                    <a:pt x="850" y="827"/>
                    <a:pt x="832" y="808"/>
                  </a:cubicBezTo>
                  <a:close/>
                  <a:moveTo>
                    <a:pt x="1192" y="812"/>
                  </a:moveTo>
                  <a:cubicBezTo>
                    <a:pt x="1194" y="812"/>
                    <a:pt x="1195" y="812"/>
                    <a:pt x="1195" y="811"/>
                  </a:cubicBezTo>
                  <a:cubicBezTo>
                    <a:pt x="1194" y="811"/>
                    <a:pt x="1194" y="810"/>
                    <a:pt x="1193" y="809"/>
                  </a:cubicBezTo>
                  <a:cubicBezTo>
                    <a:pt x="1193" y="810"/>
                    <a:pt x="1192" y="811"/>
                    <a:pt x="1192" y="812"/>
                  </a:cubicBezTo>
                  <a:close/>
                  <a:moveTo>
                    <a:pt x="774" y="816"/>
                  </a:moveTo>
                  <a:cubicBezTo>
                    <a:pt x="777" y="816"/>
                    <a:pt x="777" y="814"/>
                    <a:pt x="779" y="816"/>
                  </a:cubicBezTo>
                  <a:cubicBezTo>
                    <a:pt x="780" y="814"/>
                    <a:pt x="779" y="814"/>
                    <a:pt x="779" y="811"/>
                  </a:cubicBezTo>
                  <a:cubicBezTo>
                    <a:pt x="777" y="811"/>
                    <a:pt x="776" y="809"/>
                    <a:pt x="774" y="810"/>
                  </a:cubicBezTo>
                  <a:cubicBezTo>
                    <a:pt x="772" y="812"/>
                    <a:pt x="773" y="814"/>
                    <a:pt x="774" y="816"/>
                  </a:cubicBezTo>
                  <a:close/>
                  <a:moveTo>
                    <a:pt x="784" y="823"/>
                  </a:moveTo>
                  <a:cubicBezTo>
                    <a:pt x="786" y="819"/>
                    <a:pt x="789" y="817"/>
                    <a:pt x="791" y="813"/>
                  </a:cubicBezTo>
                  <a:cubicBezTo>
                    <a:pt x="792" y="811"/>
                    <a:pt x="789" y="812"/>
                    <a:pt x="789" y="810"/>
                  </a:cubicBezTo>
                  <a:cubicBezTo>
                    <a:pt x="788" y="810"/>
                    <a:pt x="786" y="810"/>
                    <a:pt x="785" y="810"/>
                  </a:cubicBezTo>
                  <a:cubicBezTo>
                    <a:pt x="785" y="816"/>
                    <a:pt x="783" y="819"/>
                    <a:pt x="784" y="823"/>
                  </a:cubicBezTo>
                  <a:close/>
                  <a:moveTo>
                    <a:pt x="890" y="833"/>
                  </a:moveTo>
                  <a:cubicBezTo>
                    <a:pt x="894" y="832"/>
                    <a:pt x="894" y="832"/>
                    <a:pt x="897" y="832"/>
                  </a:cubicBezTo>
                  <a:cubicBezTo>
                    <a:pt x="897" y="828"/>
                    <a:pt x="894" y="827"/>
                    <a:pt x="893" y="824"/>
                  </a:cubicBezTo>
                  <a:cubicBezTo>
                    <a:pt x="894" y="822"/>
                    <a:pt x="895" y="822"/>
                    <a:pt x="895" y="820"/>
                  </a:cubicBezTo>
                  <a:cubicBezTo>
                    <a:pt x="891" y="818"/>
                    <a:pt x="892" y="813"/>
                    <a:pt x="890" y="810"/>
                  </a:cubicBezTo>
                  <a:cubicBezTo>
                    <a:pt x="891" y="816"/>
                    <a:pt x="888" y="825"/>
                    <a:pt x="890" y="833"/>
                  </a:cubicBezTo>
                  <a:close/>
                  <a:moveTo>
                    <a:pt x="1184" y="813"/>
                  </a:moveTo>
                  <a:cubicBezTo>
                    <a:pt x="1186" y="813"/>
                    <a:pt x="1186" y="810"/>
                    <a:pt x="1184" y="810"/>
                  </a:cubicBezTo>
                  <a:cubicBezTo>
                    <a:pt x="1184" y="811"/>
                    <a:pt x="1184" y="812"/>
                    <a:pt x="1184" y="813"/>
                  </a:cubicBezTo>
                  <a:close/>
                  <a:moveTo>
                    <a:pt x="759" y="819"/>
                  </a:moveTo>
                  <a:cubicBezTo>
                    <a:pt x="761" y="817"/>
                    <a:pt x="760" y="813"/>
                    <a:pt x="761" y="811"/>
                  </a:cubicBezTo>
                  <a:cubicBezTo>
                    <a:pt x="758" y="810"/>
                    <a:pt x="756" y="817"/>
                    <a:pt x="759" y="819"/>
                  </a:cubicBezTo>
                  <a:close/>
                  <a:moveTo>
                    <a:pt x="761" y="829"/>
                  </a:moveTo>
                  <a:cubicBezTo>
                    <a:pt x="764" y="828"/>
                    <a:pt x="767" y="829"/>
                    <a:pt x="769" y="829"/>
                  </a:cubicBezTo>
                  <a:cubicBezTo>
                    <a:pt x="770" y="825"/>
                    <a:pt x="770" y="816"/>
                    <a:pt x="768" y="813"/>
                  </a:cubicBezTo>
                  <a:cubicBezTo>
                    <a:pt x="764" y="814"/>
                    <a:pt x="762" y="822"/>
                    <a:pt x="761" y="829"/>
                  </a:cubicBezTo>
                  <a:close/>
                  <a:moveTo>
                    <a:pt x="1184" y="814"/>
                  </a:moveTo>
                  <a:cubicBezTo>
                    <a:pt x="1184" y="817"/>
                    <a:pt x="1187" y="816"/>
                    <a:pt x="1186" y="818"/>
                  </a:cubicBezTo>
                  <a:cubicBezTo>
                    <a:pt x="1188" y="817"/>
                    <a:pt x="1192" y="818"/>
                    <a:pt x="1192" y="815"/>
                  </a:cubicBezTo>
                  <a:cubicBezTo>
                    <a:pt x="1191" y="815"/>
                    <a:pt x="1190" y="815"/>
                    <a:pt x="1190" y="813"/>
                  </a:cubicBezTo>
                  <a:cubicBezTo>
                    <a:pt x="1188" y="813"/>
                    <a:pt x="1187" y="815"/>
                    <a:pt x="1184" y="814"/>
                  </a:cubicBezTo>
                  <a:close/>
                  <a:moveTo>
                    <a:pt x="898" y="821"/>
                  </a:moveTo>
                  <a:cubicBezTo>
                    <a:pt x="898" y="819"/>
                    <a:pt x="899" y="817"/>
                    <a:pt x="897" y="816"/>
                  </a:cubicBezTo>
                  <a:cubicBezTo>
                    <a:pt x="896" y="817"/>
                    <a:pt x="896" y="821"/>
                    <a:pt x="898" y="821"/>
                  </a:cubicBezTo>
                  <a:close/>
                  <a:moveTo>
                    <a:pt x="756" y="823"/>
                  </a:moveTo>
                  <a:cubicBezTo>
                    <a:pt x="756" y="822"/>
                    <a:pt x="758" y="818"/>
                    <a:pt x="756" y="817"/>
                  </a:cubicBezTo>
                  <a:cubicBezTo>
                    <a:pt x="755" y="819"/>
                    <a:pt x="754" y="821"/>
                    <a:pt x="756" y="823"/>
                  </a:cubicBezTo>
                  <a:close/>
                  <a:moveTo>
                    <a:pt x="1182" y="820"/>
                  </a:moveTo>
                  <a:cubicBezTo>
                    <a:pt x="1184" y="823"/>
                    <a:pt x="1185" y="827"/>
                    <a:pt x="1182" y="829"/>
                  </a:cubicBezTo>
                  <a:cubicBezTo>
                    <a:pt x="1183" y="830"/>
                    <a:pt x="1184" y="830"/>
                    <a:pt x="1186" y="831"/>
                  </a:cubicBezTo>
                  <a:cubicBezTo>
                    <a:pt x="1185" y="828"/>
                    <a:pt x="1190" y="830"/>
                    <a:pt x="1192" y="829"/>
                  </a:cubicBezTo>
                  <a:cubicBezTo>
                    <a:pt x="1191" y="826"/>
                    <a:pt x="1194" y="827"/>
                    <a:pt x="1194" y="826"/>
                  </a:cubicBezTo>
                  <a:cubicBezTo>
                    <a:pt x="1194" y="825"/>
                    <a:pt x="1194" y="824"/>
                    <a:pt x="1194" y="823"/>
                  </a:cubicBezTo>
                  <a:cubicBezTo>
                    <a:pt x="1193" y="823"/>
                    <a:pt x="1189" y="821"/>
                    <a:pt x="1186" y="822"/>
                  </a:cubicBezTo>
                  <a:cubicBezTo>
                    <a:pt x="1186" y="821"/>
                    <a:pt x="1186" y="820"/>
                    <a:pt x="1186" y="818"/>
                  </a:cubicBezTo>
                  <a:cubicBezTo>
                    <a:pt x="1184" y="818"/>
                    <a:pt x="1183" y="819"/>
                    <a:pt x="1182" y="820"/>
                  </a:cubicBezTo>
                  <a:close/>
                  <a:moveTo>
                    <a:pt x="1194" y="822"/>
                  </a:moveTo>
                  <a:cubicBezTo>
                    <a:pt x="1194" y="821"/>
                    <a:pt x="1194" y="819"/>
                    <a:pt x="1194" y="818"/>
                  </a:cubicBezTo>
                  <a:cubicBezTo>
                    <a:pt x="1194" y="818"/>
                    <a:pt x="1193" y="818"/>
                    <a:pt x="1192" y="818"/>
                  </a:cubicBezTo>
                  <a:cubicBezTo>
                    <a:pt x="1193" y="820"/>
                    <a:pt x="1193" y="821"/>
                    <a:pt x="1194" y="822"/>
                  </a:cubicBezTo>
                  <a:close/>
                  <a:moveTo>
                    <a:pt x="855" y="826"/>
                  </a:moveTo>
                  <a:cubicBezTo>
                    <a:pt x="858" y="826"/>
                    <a:pt x="861" y="827"/>
                    <a:pt x="864" y="826"/>
                  </a:cubicBezTo>
                  <a:cubicBezTo>
                    <a:pt x="863" y="823"/>
                    <a:pt x="860" y="820"/>
                    <a:pt x="857" y="819"/>
                  </a:cubicBezTo>
                  <a:cubicBezTo>
                    <a:pt x="858" y="823"/>
                    <a:pt x="853" y="823"/>
                    <a:pt x="855" y="826"/>
                  </a:cubicBezTo>
                  <a:close/>
                  <a:moveTo>
                    <a:pt x="773" y="826"/>
                  </a:moveTo>
                  <a:cubicBezTo>
                    <a:pt x="775" y="827"/>
                    <a:pt x="775" y="820"/>
                    <a:pt x="773" y="820"/>
                  </a:cubicBezTo>
                  <a:cubicBezTo>
                    <a:pt x="772" y="822"/>
                    <a:pt x="774" y="825"/>
                    <a:pt x="773" y="826"/>
                  </a:cubicBezTo>
                  <a:close/>
                  <a:moveTo>
                    <a:pt x="886" y="827"/>
                  </a:moveTo>
                  <a:cubicBezTo>
                    <a:pt x="886" y="825"/>
                    <a:pt x="885" y="823"/>
                    <a:pt x="884" y="822"/>
                  </a:cubicBezTo>
                  <a:cubicBezTo>
                    <a:pt x="883" y="824"/>
                    <a:pt x="883" y="827"/>
                    <a:pt x="886" y="827"/>
                  </a:cubicBezTo>
                  <a:close/>
                  <a:moveTo>
                    <a:pt x="1186" y="837"/>
                  </a:moveTo>
                  <a:cubicBezTo>
                    <a:pt x="1189" y="839"/>
                    <a:pt x="1193" y="838"/>
                    <a:pt x="1197" y="837"/>
                  </a:cubicBezTo>
                  <a:cubicBezTo>
                    <a:pt x="1196" y="833"/>
                    <a:pt x="1197" y="829"/>
                    <a:pt x="1195" y="828"/>
                  </a:cubicBezTo>
                  <a:cubicBezTo>
                    <a:pt x="1196" y="832"/>
                    <a:pt x="1193" y="832"/>
                    <a:pt x="1192" y="834"/>
                  </a:cubicBezTo>
                  <a:cubicBezTo>
                    <a:pt x="1193" y="834"/>
                    <a:pt x="1194" y="834"/>
                    <a:pt x="1194" y="835"/>
                  </a:cubicBezTo>
                  <a:cubicBezTo>
                    <a:pt x="1191" y="833"/>
                    <a:pt x="1186" y="834"/>
                    <a:pt x="1186" y="837"/>
                  </a:cubicBezTo>
                  <a:close/>
                  <a:moveTo>
                    <a:pt x="856" y="829"/>
                  </a:moveTo>
                  <a:cubicBezTo>
                    <a:pt x="860" y="836"/>
                    <a:pt x="864" y="843"/>
                    <a:pt x="871" y="846"/>
                  </a:cubicBezTo>
                  <a:cubicBezTo>
                    <a:pt x="874" y="853"/>
                    <a:pt x="878" y="857"/>
                    <a:pt x="884" y="861"/>
                  </a:cubicBezTo>
                  <a:cubicBezTo>
                    <a:pt x="883" y="854"/>
                    <a:pt x="880" y="848"/>
                    <a:pt x="881" y="843"/>
                  </a:cubicBezTo>
                  <a:cubicBezTo>
                    <a:pt x="873" y="837"/>
                    <a:pt x="871" y="825"/>
                    <a:pt x="856" y="829"/>
                  </a:cubicBezTo>
                  <a:close/>
                  <a:moveTo>
                    <a:pt x="873" y="831"/>
                  </a:moveTo>
                  <a:cubicBezTo>
                    <a:pt x="874" y="835"/>
                    <a:pt x="878" y="832"/>
                    <a:pt x="880" y="834"/>
                  </a:cubicBezTo>
                  <a:cubicBezTo>
                    <a:pt x="880" y="831"/>
                    <a:pt x="876" y="829"/>
                    <a:pt x="873" y="831"/>
                  </a:cubicBezTo>
                  <a:close/>
                  <a:moveTo>
                    <a:pt x="886" y="833"/>
                  </a:moveTo>
                  <a:cubicBezTo>
                    <a:pt x="887" y="832"/>
                    <a:pt x="886" y="830"/>
                    <a:pt x="884" y="830"/>
                  </a:cubicBezTo>
                  <a:cubicBezTo>
                    <a:pt x="883" y="832"/>
                    <a:pt x="884" y="833"/>
                    <a:pt x="886" y="833"/>
                  </a:cubicBezTo>
                  <a:close/>
                  <a:moveTo>
                    <a:pt x="761" y="848"/>
                  </a:moveTo>
                  <a:cubicBezTo>
                    <a:pt x="766" y="844"/>
                    <a:pt x="774" y="838"/>
                    <a:pt x="769" y="831"/>
                  </a:cubicBezTo>
                  <a:cubicBezTo>
                    <a:pt x="768" y="833"/>
                    <a:pt x="763" y="832"/>
                    <a:pt x="759" y="832"/>
                  </a:cubicBezTo>
                  <a:cubicBezTo>
                    <a:pt x="759" y="835"/>
                    <a:pt x="755" y="838"/>
                    <a:pt x="757" y="841"/>
                  </a:cubicBezTo>
                  <a:cubicBezTo>
                    <a:pt x="753" y="841"/>
                    <a:pt x="754" y="848"/>
                    <a:pt x="753" y="851"/>
                  </a:cubicBezTo>
                  <a:cubicBezTo>
                    <a:pt x="751" y="856"/>
                    <a:pt x="747" y="860"/>
                    <a:pt x="748" y="863"/>
                  </a:cubicBezTo>
                  <a:cubicBezTo>
                    <a:pt x="752" y="858"/>
                    <a:pt x="761" y="852"/>
                    <a:pt x="759" y="845"/>
                  </a:cubicBezTo>
                  <a:cubicBezTo>
                    <a:pt x="761" y="845"/>
                    <a:pt x="759" y="849"/>
                    <a:pt x="761" y="848"/>
                  </a:cubicBezTo>
                  <a:close/>
                  <a:moveTo>
                    <a:pt x="774" y="833"/>
                  </a:moveTo>
                  <a:cubicBezTo>
                    <a:pt x="776" y="833"/>
                    <a:pt x="777" y="832"/>
                    <a:pt x="776" y="831"/>
                  </a:cubicBezTo>
                  <a:cubicBezTo>
                    <a:pt x="775" y="830"/>
                    <a:pt x="774" y="831"/>
                    <a:pt x="774" y="833"/>
                  </a:cubicBezTo>
                  <a:close/>
                  <a:moveTo>
                    <a:pt x="1184" y="837"/>
                  </a:moveTo>
                  <a:cubicBezTo>
                    <a:pt x="1183" y="836"/>
                    <a:pt x="1184" y="833"/>
                    <a:pt x="1182" y="833"/>
                  </a:cubicBezTo>
                  <a:cubicBezTo>
                    <a:pt x="1182" y="836"/>
                    <a:pt x="1181" y="837"/>
                    <a:pt x="1184" y="837"/>
                  </a:cubicBezTo>
                  <a:close/>
                  <a:moveTo>
                    <a:pt x="1201" y="837"/>
                  </a:moveTo>
                  <a:cubicBezTo>
                    <a:pt x="1203" y="838"/>
                    <a:pt x="1210" y="839"/>
                    <a:pt x="1214" y="837"/>
                  </a:cubicBezTo>
                  <a:cubicBezTo>
                    <a:pt x="1209" y="836"/>
                    <a:pt x="1205" y="835"/>
                    <a:pt x="1201" y="833"/>
                  </a:cubicBezTo>
                  <a:cubicBezTo>
                    <a:pt x="1201" y="834"/>
                    <a:pt x="1200" y="835"/>
                    <a:pt x="1201" y="837"/>
                  </a:cubicBezTo>
                  <a:close/>
                  <a:moveTo>
                    <a:pt x="1168" y="837"/>
                  </a:moveTo>
                  <a:cubicBezTo>
                    <a:pt x="1171" y="838"/>
                    <a:pt x="1179" y="840"/>
                    <a:pt x="1178" y="834"/>
                  </a:cubicBezTo>
                  <a:cubicBezTo>
                    <a:pt x="1175" y="835"/>
                    <a:pt x="1171" y="836"/>
                    <a:pt x="1168" y="837"/>
                  </a:cubicBezTo>
                  <a:close/>
                  <a:moveTo>
                    <a:pt x="752" y="841"/>
                  </a:moveTo>
                  <a:cubicBezTo>
                    <a:pt x="751" y="838"/>
                    <a:pt x="755" y="837"/>
                    <a:pt x="752" y="835"/>
                  </a:cubicBezTo>
                  <a:cubicBezTo>
                    <a:pt x="753" y="838"/>
                    <a:pt x="749" y="839"/>
                    <a:pt x="752" y="841"/>
                  </a:cubicBezTo>
                  <a:close/>
                  <a:moveTo>
                    <a:pt x="889" y="837"/>
                  </a:moveTo>
                  <a:cubicBezTo>
                    <a:pt x="887" y="850"/>
                    <a:pt x="894" y="854"/>
                    <a:pt x="902" y="856"/>
                  </a:cubicBezTo>
                  <a:cubicBezTo>
                    <a:pt x="900" y="856"/>
                    <a:pt x="898" y="854"/>
                    <a:pt x="897" y="857"/>
                  </a:cubicBezTo>
                  <a:cubicBezTo>
                    <a:pt x="900" y="861"/>
                    <a:pt x="905" y="864"/>
                    <a:pt x="908" y="869"/>
                  </a:cubicBezTo>
                  <a:cubicBezTo>
                    <a:pt x="908" y="860"/>
                    <a:pt x="902" y="854"/>
                    <a:pt x="902" y="846"/>
                  </a:cubicBezTo>
                  <a:cubicBezTo>
                    <a:pt x="901" y="844"/>
                    <a:pt x="900" y="847"/>
                    <a:pt x="899" y="845"/>
                  </a:cubicBezTo>
                  <a:cubicBezTo>
                    <a:pt x="901" y="843"/>
                    <a:pt x="900" y="838"/>
                    <a:pt x="899" y="837"/>
                  </a:cubicBezTo>
                  <a:cubicBezTo>
                    <a:pt x="896" y="837"/>
                    <a:pt x="891" y="836"/>
                    <a:pt x="889" y="837"/>
                  </a:cubicBezTo>
                  <a:close/>
                  <a:moveTo>
                    <a:pt x="776" y="851"/>
                  </a:moveTo>
                  <a:cubicBezTo>
                    <a:pt x="775" y="845"/>
                    <a:pt x="778" y="843"/>
                    <a:pt x="777" y="838"/>
                  </a:cubicBezTo>
                  <a:cubicBezTo>
                    <a:pt x="776" y="838"/>
                    <a:pt x="775" y="838"/>
                    <a:pt x="774" y="838"/>
                  </a:cubicBezTo>
                  <a:cubicBezTo>
                    <a:pt x="775" y="842"/>
                    <a:pt x="773" y="849"/>
                    <a:pt x="776" y="851"/>
                  </a:cubicBezTo>
                  <a:close/>
                  <a:moveTo>
                    <a:pt x="782" y="839"/>
                  </a:moveTo>
                  <a:cubicBezTo>
                    <a:pt x="780" y="849"/>
                    <a:pt x="780" y="858"/>
                    <a:pt x="778" y="868"/>
                  </a:cubicBezTo>
                  <a:cubicBezTo>
                    <a:pt x="783" y="868"/>
                    <a:pt x="787" y="861"/>
                    <a:pt x="789" y="856"/>
                  </a:cubicBezTo>
                  <a:cubicBezTo>
                    <a:pt x="796" y="852"/>
                    <a:pt x="799" y="845"/>
                    <a:pt x="804" y="839"/>
                  </a:cubicBezTo>
                  <a:cubicBezTo>
                    <a:pt x="797" y="837"/>
                    <a:pt x="790" y="840"/>
                    <a:pt x="782" y="839"/>
                  </a:cubicBezTo>
                  <a:close/>
                  <a:moveTo>
                    <a:pt x="1183" y="848"/>
                  </a:moveTo>
                  <a:cubicBezTo>
                    <a:pt x="1184" y="847"/>
                    <a:pt x="1183" y="845"/>
                    <a:pt x="1185" y="846"/>
                  </a:cubicBezTo>
                  <a:cubicBezTo>
                    <a:pt x="1185" y="846"/>
                    <a:pt x="1185" y="846"/>
                    <a:pt x="1186" y="847"/>
                  </a:cubicBezTo>
                  <a:cubicBezTo>
                    <a:pt x="1185" y="850"/>
                    <a:pt x="1184" y="848"/>
                    <a:pt x="1182" y="849"/>
                  </a:cubicBezTo>
                  <a:cubicBezTo>
                    <a:pt x="1182" y="852"/>
                    <a:pt x="1182" y="853"/>
                    <a:pt x="1182" y="856"/>
                  </a:cubicBezTo>
                  <a:cubicBezTo>
                    <a:pt x="1189" y="856"/>
                    <a:pt x="1194" y="853"/>
                    <a:pt x="1198" y="856"/>
                  </a:cubicBezTo>
                  <a:cubicBezTo>
                    <a:pt x="1199" y="848"/>
                    <a:pt x="1192" y="849"/>
                    <a:pt x="1191" y="843"/>
                  </a:cubicBezTo>
                  <a:cubicBezTo>
                    <a:pt x="1187" y="844"/>
                    <a:pt x="1186" y="841"/>
                    <a:pt x="1183" y="841"/>
                  </a:cubicBezTo>
                  <a:cubicBezTo>
                    <a:pt x="1182" y="842"/>
                    <a:pt x="1182" y="847"/>
                    <a:pt x="1183" y="848"/>
                  </a:cubicBezTo>
                  <a:close/>
                  <a:moveTo>
                    <a:pt x="1198" y="846"/>
                  </a:moveTo>
                  <a:cubicBezTo>
                    <a:pt x="1198" y="844"/>
                    <a:pt x="1197" y="842"/>
                    <a:pt x="1197" y="841"/>
                  </a:cubicBezTo>
                  <a:cubicBezTo>
                    <a:pt x="1195" y="841"/>
                    <a:pt x="1194" y="841"/>
                    <a:pt x="1192" y="841"/>
                  </a:cubicBezTo>
                  <a:cubicBezTo>
                    <a:pt x="1192" y="845"/>
                    <a:pt x="1196" y="845"/>
                    <a:pt x="1198" y="846"/>
                  </a:cubicBezTo>
                  <a:close/>
                  <a:moveTo>
                    <a:pt x="769" y="843"/>
                  </a:moveTo>
                  <a:cubicBezTo>
                    <a:pt x="763" y="853"/>
                    <a:pt x="752" y="861"/>
                    <a:pt x="748" y="869"/>
                  </a:cubicBezTo>
                  <a:cubicBezTo>
                    <a:pt x="753" y="868"/>
                    <a:pt x="762" y="869"/>
                    <a:pt x="772" y="869"/>
                  </a:cubicBezTo>
                  <a:cubicBezTo>
                    <a:pt x="772" y="859"/>
                    <a:pt x="771" y="852"/>
                    <a:pt x="771" y="843"/>
                  </a:cubicBezTo>
                  <a:cubicBezTo>
                    <a:pt x="770" y="843"/>
                    <a:pt x="769" y="843"/>
                    <a:pt x="769" y="843"/>
                  </a:cubicBezTo>
                  <a:close/>
                  <a:moveTo>
                    <a:pt x="889" y="867"/>
                  </a:moveTo>
                  <a:cubicBezTo>
                    <a:pt x="895" y="868"/>
                    <a:pt x="899" y="871"/>
                    <a:pt x="906" y="872"/>
                  </a:cubicBezTo>
                  <a:cubicBezTo>
                    <a:pt x="901" y="865"/>
                    <a:pt x="896" y="858"/>
                    <a:pt x="889" y="853"/>
                  </a:cubicBezTo>
                  <a:cubicBezTo>
                    <a:pt x="889" y="858"/>
                    <a:pt x="889" y="862"/>
                    <a:pt x="889" y="867"/>
                  </a:cubicBezTo>
                  <a:close/>
                  <a:moveTo>
                    <a:pt x="1180" y="869"/>
                  </a:moveTo>
                  <a:cubicBezTo>
                    <a:pt x="1183" y="868"/>
                    <a:pt x="1183" y="870"/>
                    <a:pt x="1183" y="872"/>
                  </a:cubicBezTo>
                  <a:cubicBezTo>
                    <a:pt x="1181" y="872"/>
                    <a:pt x="1180" y="872"/>
                    <a:pt x="1179" y="873"/>
                  </a:cubicBezTo>
                  <a:cubicBezTo>
                    <a:pt x="1179" y="874"/>
                    <a:pt x="1179" y="875"/>
                    <a:pt x="1179" y="876"/>
                  </a:cubicBezTo>
                  <a:cubicBezTo>
                    <a:pt x="1184" y="878"/>
                    <a:pt x="1195" y="876"/>
                    <a:pt x="1201" y="874"/>
                  </a:cubicBezTo>
                  <a:cubicBezTo>
                    <a:pt x="1198" y="869"/>
                    <a:pt x="1194" y="864"/>
                    <a:pt x="1191" y="859"/>
                  </a:cubicBezTo>
                  <a:cubicBezTo>
                    <a:pt x="1182" y="854"/>
                    <a:pt x="1179" y="859"/>
                    <a:pt x="1180" y="869"/>
                  </a:cubicBezTo>
                  <a:close/>
                  <a:moveTo>
                    <a:pt x="1199" y="861"/>
                  </a:moveTo>
                  <a:cubicBezTo>
                    <a:pt x="1199" y="856"/>
                    <a:pt x="1196" y="858"/>
                    <a:pt x="1192" y="857"/>
                  </a:cubicBezTo>
                  <a:cubicBezTo>
                    <a:pt x="1192" y="861"/>
                    <a:pt x="1196" y="862"/>
                    <a:pt x="1199" y="861"/>
                  </a:cubicBezTo>
                  <a:close/>
                  <a:moveTo>
                    <a:pt x="1201" y="869"/>
                  </a:moveTo>
                  <a:cubicBezTo>
                    <a:pt x="1201" y="866"/>
                    <a:pt x="1201" y="863"/>
                    <a:pt x="1198" y="864"/>
                  </a:cubicBezTo>
                  <a:cubicBezTo>
                    <a:pt x="1198" y="867"/>
                    <a:pt x="1198" y="869"/>
                    <a:pt x="1201" y="869"/>
                  </a:cubicBezTo>
                  <a:close/>
                  <a:moveTo>
                    <a:pt x="819" y="872"/>
                  </a:moveTo>
                  <a:cubicBezTo>
                    <a:pt x="823" y="877"/>
                    <a:pt x="831" y="875"/>
                    <a:pt x="837" y="875"/>
                  </a:cubicBezTo>
                  <a:cubicBezTo>
                    <a:pt x="843" y="875"/>
                    <a:pt x="850" y="875"/>
                    <a:pt x="856" y="874"/>
                  </a:cubicBezTo>
                  <a:cubicBezTo>
                    <a:pt x="866" y="874"/>
                    <a:pt x="878" y="876"/>
                    <a:pt x="884" y="871"/>
                  </a:cubicBezTo>
                  <a:cubicBezTo>
                    <a:pt x="865" y="869"/>
                    <a:pt x="840" y="870"/>
                    <a:pt x="819" y="872"/>
                  </a:cubicBezTo>
                  <a:close/>
                  <a:moveTo>
                    <a:pt x="895" y="872"/>
                  </a:moveTo>
                  <a:cubicBezTo>
                    <a:pt x="893" y="872"/>
                    <a:pt x="892" y="871"/>
                    <a:pt x="890" y="871"/>
                  </a:cubicBezTo>
                  <a:cubicBezTo>
                    <a:pt x="889" y="874"/>
                    <a:pt x="894" y="873"/>
                    <a:pt x="895" y="872"/>
                  </a:cubicBezTo>
                  <a:close/>
                  <a:moveTo>
                    <a:pt x="779" y="874"/>
                  </a:moveTo>
                  <a:cubicBezTo>
                    <a:pt x="787" y="874"/>
                    <a:pt x="803" y="878"/>
                    <a:pt x="810" y="872"/>
                  </a:cubicBezTo>
                  <a:cubicBezTo>
                    <a:pt x="799" y="872"/>
                    <a:pt x="784" y="870"/>
                    <a:pt x="779" y="874"/>
                  </a:cubicBezTo>
                  <a:close/>
                  <a:moveTo>
                    <a:pt x="772" y="872"/>
                  </a:moveTo>
                  <a:cubicBezTo>
                    <a:pt x="769" y="872"/>
                    <a:pt x="765" y="872"/>
                    <a:pt x="762" y="872"/>
                  </a:cubicBezTo>
                  <a:cubicBezTo>
                    <a:pt x="763" y="874"/>
                    <a:pt x="772" y="876"/>
                    <a:pt x="772" y="872"/>
                  </a:cubicBezTo>
                  <a:close/>
                  <a:moveTo>
                    <a:pt x="812" y="875"/>
                  </a:moveTo>
                  <a:cubicBezTo>
                    <a:pt x="813" y="875"/>
                    <a:pt x="817" y="876"/>
                    <a:pt x="818" y="874"/>
                  </a:cubicBezTo>
                  <a:cubicBezTo>
                    <a:pt x="817" y="871"/>
                    <a:pt x="812" y="872"/>
                    <a:pt x="812" y="875"/>
                  </a:cubicBezTo>
                  <a:close/>
                  <a:moveTo>
                    <a:pt x="752" y="884"/>
                  </a:moveTo>
                  <a:cubicBezTo>
                    <a:pt x="755" y="882"/>
                    <a:pt x="756" y="879"/>
                    <a:pt x="757" y="876"/>
                  </a:cubicBezTo>
                  <a:cubicBezTo>
                    <a:pt x="754" y="874"/>
                    <a:pt x="749" y="873"/>
                    <a:pt x="746" y="874"/>
                  </a:cubicBezTo>
                  <a:cubicBezTo>
                    <a:pt x="744" y="878"/>
                    <a:pt x="744" y="884"/>
                    <a:pt x="744" y="889"/>
                  </a:cubicBezTo>
                  <a:cubicBezTo>
                    <a:pt x="747" y="891"/>
                    <a:pt x="753" y="891"/>
                    <a:pt x="753" y="886"/>
                  </a:cubicBezTo>
                  <a:cubicBezTo>
                    <a:pt x="752" y="883"/>
                    <a:pt x="748" y="881"/>
                    <a:pt x="748" y="877"/>
                  </a:cubicBezTo>
                  <a:cubicBezTo>
                    <a:pt x="750" y="879"/>
                    <a:pt x="751" y="881"/>
                    <a:pt x="752" y="884"/>
                  </a:cubicBezTo>
                  <a:close/>
                  <a:moveTo>
                    <a:pt x="763" y="876"/>
                  </a:moveTo>
                  <a:cubicBezTo>
                    <a:pt x="761" y="881"/>
                    <a:pt x="761" y="896"/>
                    <a:pt x="766" y="900"/>
                  </a:cubicBezTo>
                  <a:cubicBezTo>
                    <a:pt x="767" y="892"/>
                    <a:pt x="772" y="888"/>
                    <a:pt x="772" y="878"/>
                  </a:cubicBezTo>
                  <a:cubicBezTo>
                    <a:pt x="768" y="878"/>
                    <a:pt x="766" y="876"/>
                    <a:pt x="763" y="876"/>
                  </a:cubicBezTo>
                  <a:close/>
                  <a:moveTo>
                    <a:pt x="908" y="882"/>
                  </a:moveTo>
                  <a:cubicBezTo>
                    <a:pt x="906" y="887"/>
                    <a:pt x="908" y="892"/>
                    <a:pt x="911" y="893"/>
                  </a:cubicBezTo>
                  <a:cubicBezTo>
                    <a:pt x="915" y="888"/>
                    <a:pt x="909" y="882"/>
                    <a:pt x="910" y="876"/>
                  </a:cubicBezTo>
                  <a:cubicBezTo>
                    <a:pt x="907" y="877"/>
                    <a:pt x="906" y="876"/>
                    <a:pt x="903" y="876"/>
                  </a:cubicBezTo>
                  <a:cubicBezTo>
                    <a:pt x="904" y="880"/>
                    <a:pt x="905" y="882"/>
                    <a:pt x="908" y="882"/>
                  </a:cubicBezTo>
                  <a:close/>
                  <a:moveTo>
                    <a:pt x="874" y="892"/>
                  </a:moveTo>
                  <a:cubicBezTo>
                    <a:pt x="873" y="892"/>
                    <a:pt x="873" y="890"/>
                    <a:pt x="871" y="891"/>
                  </a:cubicBezTo>
                  <a:cubicBezTo>
                    <a:pt x="870" y="893"/>
                    <a:pt x="869" y="895"/>
                    <a:pt x="867" y="897"/>
                  </a:cubicBezTo>
                  <a:cubicBezTo>
                    <a:pt x="874" y="901"/>
                    <a:pt x="877" y="911"/>
                    <a:pt x="889" y="908"/>
                  </a:cubicBezTo>
                  <a:cubicBezTo>
                    <a:pt x="890" y="895"/>
                    <a:pt x="887" y="887"/>
                    <a:pt x="886" y="876"/>
                  </a:cubicBezTo>
                  <a:cubicBezTo>
                    <a:pt x="878" y="878"/>
                    <a:pt x="875" y="886"/>
                    <a:pt x="874" y="892"/>
                  </a:cubicBezTo>
                  <a:close/>
                  <a:moveTo>
                    <a:pt x="898" y="895"/>
                  </a:moveTo>
                  <a:cubicBezTo>
                    <a:pt x="898" y="889"/>
                    <a:pt x="899" y="881"/>
                    <a:pt x="898" y="876"/>
                  </a:cubicBezTo>
                  <a:cubicBezTo>
                    <a:pt x="896" y="876"/>
                    <a:pt x="894" y="876"/>
                    <a:pt x="892" y="876"/>
                  </a:cubicBezTo>
                  <a:cubicBezTo>
                    <a:pt x="893" y="883"/>
                    <a:pt x="894" y="891"/>
                    <a:pt x="898" y="895"/>
                  </a:cubicBezTo>
                  <a:close/>
                  <a:moveTo>
                    <a:pt x="847" y="878"/>
                  </a:moveTo>
                  <a:cubicBezTo>
                    <a:pt x="853" y="884"/>
                    <a:pt x="859" y="890"/>
                    <a:pt x="867" y="895"/>
                  </a:cubicBezTo>
                  <a:cubicBezTo>
                    <a:pt x="869" y="888"/>
                    <a:pt x="877" y="883"/>
                    <a:pt x="878" y="877"/>
                  </a:cubicBezTo>
                  <a:cubicBezTo>
                    <a:pt x="868" y="877"/>
                    <a:pt x="858" y="878"/>
                    <a:pt x="847" y="878"/>
                  </a:cubicBezTo>
                  <a:close/>
                  <a:moveTo>
                    <a:pt x="790" y="898"/>
                  </a:moveTo>
                  <a:cubicBezTo>
                    <a:pt x="784" y="902"/>
                    <a:pt x="779" y="907"/>
                    <a:pt x="775" y="913"/>
                  </a:cubicBezTo>
                  <a:cubicBezTo>
                    <a:pt x="784" y="917"/>
                    <a:pt x="800" y="912"/>
                    <a:pt x="806" y="913"/>
                  </a:cubicBezTo>
                  <a:cubicBezTo>
                    <a:pt x="813" y="904"/>
                    <a:pt x="823" y="897"/>
                    <a:pt x="830" y="887"/>
                  </a:cubicBezTo>
                  <a:cubicBezTo>
                    <a:pt x="828" y="881"/>
                    <a:pt x="819" y="875"/>
                    <a:pt x="808" y="878"/>
                  </a:cubicBezTo>
                  <a:cubicBezTo>
                    <a:pt x="802" y="884"/>
                    <a:pt x="796" y="889"/>
                    <a:pt x="791" y="895"/>
                  </a:cubicBezTo>
                  <a:cubicBezTo>
                    <a:pt x="790" y="900"/>
                    <a:pt x="796" y="901"/>
                    <a:pt x="795" y="904"/>
                  </a:cubicBezTo>
                  <a:cubicBezTo>
                    <a:pt x="792" y="904"/>
                    <a:pt x="793" y="900"/>
                    <a:pt x="790" y="898"/>
                  </a:cubicBezTo>
                  <a:close/>
                  <a:moveTo>
                    <a:pt x="833" y="885"/>
                  </a:moveTo>
                  <a:cubicBezTo>
                    <a:pt x="836" y="883"/>
                    <a:pt x="836" y="880"/>
                    <a:pt x="840" y="880"/>
                  </a:cubicBezTo>
                  <a:cubicBezTo>
                    <a:pt x="839" y="883"/>
                    <a:pt x="835" y="883"/>
                    <a:pt x="835" y="887"/>
                  </a:cubicBezTo>
                  <a:cubicBezTo>
                    <a:pt x="842" y="894"/>
                    <a:pt x="849" y="901"/>
                    <a:pt x="856" y="907"/>
                  </a:cubicBezTo>
                  <a:cubicBezTo>
                    <a:pt x="860" y="905"/>
                    <a:pt x="861" y="901"/>
                    <a:pt x="864" y="898"/>
                  </a:cubicBezTo>
                  <a:cubicBezTo>
                    <a:pt x="854" y="889"/>
                    <a:pt x="848" y="875"/>
                    <a:pt x="826" y="878"/>
                  </a:cubicBezTo>
                  <a:cubicBezTo>
                    <a:pt x="827" y="881"/>
                    <a:pt x="830" y="883"/>
                    <a:pt x="833" y="885"/>
                  </a:cubicBezTo>
                  <a:close/>
                  <a:moveTo>
                    <a:pt x="789" y="893"/>
                  </a:moveTo>
                  <a:cubicBezTo>
                    <a:pt x="793" y="888"/>
                    <a:pt x="799" y="884"/>
                    <a:pt x="803" y="878"/>
                  </a:cubicBezTo>
                  <a:cubicBezTo>
                    <a:pt x="794" y="878"/>
                    <a:pt x="787" y="879"/>
                    <a:pt x="779" y="879"/>
                  </a:cubicBezTo>
                  <a:cubicBezTo>
                    <a:pt x="774" y="885"/>
                    <a:pt x="777" y="898"/>
                    <a:pt x="774" y="906"/>
                  </a:cubicBezTo>
                  <a:cubicBezTo>
                    <a:pt x="779" y="903"/>
                    <a:pt x="784" y="899"/>
                    <a:pt x="787" y="893"/>
                  </a:cubicBezTo>
                  <a:cubicBezTo>
                    <a:pt x="784" y="890"/>
                    <a:pt x="780" y="887"/>
                    <a:pt x="778" y="882"/>
                  </a:cubicBezTo>
                  <a:cubicBezTo>
                    <a:pt x="784" y="884"/>
                    <a:pt x="783" y="891"/>
                    <a:pt x="789" y="893"/>
                  </a:cubicBezTo>
                  <a:close/>
                  <a:moveTo>
                    <a:pt x="1193" y="880"/>
                  </a:moveTo>
                  <a:cubicBezTo>
                    <a:pt x="1188" y="881"/>
                    <a:pt x="1186" y="878"/>
                    <a:pt x="1180" y="879"/>
                  </a:cubicBezTo>
                  <a:cubicBezTo>
                    <a:pt x="1179" y="881"/>
                    <a:pt x="1177" y="884"/>
                    <a:pt x="1179" y="886"/>
                  </a:cubicBezTo>
                  <a:cubicBezTo>
                    <a:pt x="1181" y="885"/>
                    <a:pt x="1181" y="882"/>
                    <a:pt x="1185" y="883"/>
                  </a:cubicBezTo>
                  <a:cubicBezTo>
                    <a:pt x="1185" y="885"/>
                    <a:pt x="1186" y="887"/>
                    <a:pt x="1185" y="888"/>
                  </a:cubicBezTo>
                  <a:cubicBezTo>
                    <a:pt x="1183" y="887"/>
                    <a:pt x="1180" y="887"/>
                    <a:pt x="1178" y="888"/>
                  </a:cubicBezTo>
                  <a:cubicBezTo>
                    <a:pt x="1178" y="892"/>
                    <a:pt x="1183" y="891"/>
                    <a:pt x="1182" y="895"/>
                  </a:cubicBezTo>
                  <a:cubicBezTo>
                    <a:pt x="1180" y="897"/>
                    <a:pt x="1180" y="896"/>
                    <a:pt x="1178" y="895"/>
                  </a:cubicBezTo>
                  <a:cubicBezTo>
                    <a:pt x="1178" y="897"/>
                    <a:pt x="1177" y="900"/>
                    <a:pt x="1178" y="901"/>
                  </a:cubicBezTo>
                  <a:cubicBezTo>
                    <a:pt x="1188" y="899"/>
                    <a:pt x="1195" y="901"/>
                    <a:pt x="1204" y="900"/>
                  </a:cubicBezTo>
                  <a:cubicBezTo>
                    <a:pt x="1205" y="895"/>
                    <a:pt x="1199" y="895"/>
                    <a:pt x="1199" y="890"/>
                  </a:cubicBezTo>
                  <a:cubicBezTo>
                    <a:pt x="1202" y="890"/>
                    <a:pt x="1202" y="892"/>
                    <a:pt x="1204" y="892"/>
                  </a:cubicBezTo>
                  <a:cubicBezTo>
                    <a:pt x="1205" y="889"/>
                    <a:pt x="1202" y="888"/>
                    <a:pt x="1201" y="886"/>
                  </a:cubicBezTo>
                  <a:cubicBezTo>
                    <a:pt x="1202" y="885"/>
                    <a:pt x="1203" y="883"/>
                    <a:pt x="1203" y="880"/>
                  </a:cubicBezTo>
                  <a:cubicBezTo>
                    <a:pt x="1200" y="880"/>
                    <a:pt x="1194" y="876"/>
                    <a:pt x="1193" y="880"/>
                  </a:cubicBezTo>
                  <a:close/>
                  <a:moveTo>
                    <a:pt x="757" y="889"/>
                  </a:moveTo>
                  <a:cubicBezTo>
                    <a:pt x="760" y="891"/>
                    <a:pt x="759" y="886"/>
                    <a:pt x="757" y="886"/>
                  </a:cubicBezTo>
                  <a:cubicBezTo>
                    <a:pt x="757" y="888"/>
                    <a:pt x="756" y="887"/>
                    <a:pt x="757" y="889"/>
                  </a:cubicBezTo>
                  <a:close/>
                  <a:moveTo>
                    <a:pt x="832" y="889"/>
                  </a:moveTo>
                  <a:cubicBezTo>
                    <a:pt x="812" y="909"/>
                    <a:pt x="793" y="930"/>
                    <a:pt x="774" y="950"/>
                  </a:cubicBezTo>
                  <a:cubicBezTo>
                    <a:pt x="810" y="948"/>
                    <a:pt x="851" y="950"/>
                    <a:pt x="895" y="948"/>
                  </a:cubicBezTo>
                  <a:cubicBezTo>
                    <a:pt x="873" y="929"/>
                    <a:pt x="854" y="908"/>
                    <a:pt x="832" y="889"/>
                  </a:cubicBezTo>
                  <a:close/>
                  <a:moveTo>
                    <a:pt x="904" y="894"/>
                  </a:moveTo>
                  <a:cubicBezTo>
                    <a:pt x="905" y="893"/>
                    <a:pt x="905" y="889"/>
                    <a:pt x="903" y="889"/>
                  </a:cubicBezTo>
                  <a:cubicBezTo>
                    <a:pt x="902" y="891"/>
                    <a:pt x="901" y="894"/>
                    <a:pt x="904" y="894"/>
                  </a:cubicBezTo>
                  <a:close/>
                  <a:moveTo>
                    <a:pt x="744" y="901"/>
                  </a:moveTo>
                  <a:cubicBezTo>
                    <a:pt x="748" y="900"/>
                    <a:pt x="750" y="897"/>
                    <a:pt x="750" y="891"/>
                  </a:cubicBezTo>
                  <a:cubicBezTo>
                    <a:pt x="743" y="889"/>
                    <a:pt x="744" y="898"/>
                    <a:pt x="744" y="901"/>
                  </a:cubicBezTo>
                  <a:close/>
                  <a:moveTo>
                    <a:pt x="772" y="896"/>
                  </a:moveTo>
                  <a:cubicBezTo>
                    <a:pt x="771" y="895"/>
                    <a:pt x="773" y="891"/>
                    <a:pt x="770" y="892"/>
                  </a:cubicBezTo>
                  <a:cubicBezTo>
                    <a:pt x="771" y="893"/>
                    <a:pt x="769" y="897"/>
                    <a:pt x="772" y="896"/>
                  </a:cubicBezTo>
                  <a:close/>
                  <a:moveTo>
                    <a:pt x="748" y="910"/>
                  </a:moveTo>
                  <a:cubicBezTo>
                    <a:pt x="752" y="911"/>
                    <a:pt x="755" y="909"/>
                    <a:pt x="759" y="910"/>
                  </a:cubicBezTo>
                  <a:cubicBezTo>
                    <a:pt x="761" y="905"/>
                    <a:pt x="760" y="896"/>
                    <a:pt x="758" y="893"/>
                  </a:cubicBezTo>
                  <a:cubicBezTo>
                    <a:pt x="752" y="895"/>
                    <a:pt x="751" y="904"/>
                    <a:pt x="748" y="910"/>
                  </a:cubicBezTo>
                  <a:close/>
                  <a:moveTo>
                    <a:pt x="1267" y="893"/>
                  </a:moveTo>
                  <a:cubicBezTo>
                    <a:pt x="1268" y="897"/>
                    <a:pt x="1265" y="900"/>
                    <a:pt x="1270" y="900"/>
                  </a:cubicBezTo>
                  <a:cubicBezTo>
                    <a:pt x="1271" y="898"/>
                    <a:pt x="1269" y="895"/>
                    <a:pt x="1268" y="893"/>
                  </a:cubicBezTo>
                  <a:cubicBezTo>
                    <a:pt x="1268" y="893"/>
                    <a:pt x="1268" y="894"/>
                    <a:pt x="1267" y="893"/>
                  </a:cubicBezTo>
                  <a:close/>
                  <a:moveTo>
                    <a:pt x="893" y="898"/>
                  </a:moveTo>
                  <a:cubicBezTo>
                    <a:pt x="895" y="899"/>
                    <a:pt x="895" y="894"/>
                    <a:pt x="893" y="895"/>
                  </a:cubicBezTo>
                  <a:cubicBezTo>
                    <a:pt x="893" y="896"/>
                    <a:pt x="893" y="897"/>
                    <a:pt x="893" y="898"/>
                  </a:cubicBezTo>
                  <a:close/>
                  <a:moveTo>
                    <a:pt x="904" y="900"/>
                  </a:moveTo>
                  <a:cubicBezTo>
                    <a:pt x="900" y="900"/>
                    <a:pt x="902" y="908"/>
                    <a:pt x="901" y="912"/>
                  </a:cubicBezTo>
                  <a:cubicBezTo>
                    <a:pt x="904" y="913"/>
                    <a:pt x="911" y="914"/>
                    <a:pt x="911" y="910"/>
                  </a:cubicBezTo>
                  <a:cubicBezTo>
                    <a:pt x="909" y="907"/>
                    <a:pt x="907" y="904"/>
                    <a:pt x="905" y="900"/>
                  </a:cubicBezTo>
                  <a:cubicBezTo>
                    <a:pt x="906" y="900"/>
                    <a:pt x="907" y="902"/>
                    <a:pt x="908" y="900"/>
                  </a:cubicBezTo>
                  <a:cubicBezTo>
                    <a:pt x="905" y="900"/>
                    <a:pt x="906" y="896"/>
                    <a:pt x="905" y="895"/>
                  </a:cubicBezTo>
                  <a:cubicBezTo>
                    <a:pt x="904" y="895"/>
                    <a:pt x="903" y="895"/>
                    <a:pt x="903" y="895"/>
                  </a:cubicBezTo>
                  <a:cubicBezTo>
                    <a:pt x="902" y="897"/>
                    <a:pt x="903" y="899"/>
                    <a:pt x="904" y="900"/>
                  </a:cubicBezTo>
                  <a:close/>
                  <a:moveTo>
                    <a:pt x="912" y="901"/>
                  </a:moveTo>
                  <a:cubicBezTo>
                    <a:pt x="912" y="899"/>
                    <a:pt x="913" y="895"/>
                    <a:pt x="910" y="895"/>
                  </a:cubicBezTo>
                  <a:cubicBezTo>
                    <a:pt x="910" y="898"/>
                    <a:pt x="910" y="901"/>
                    <a:pt x="912" y="901"/>
                  </a:cubicBezTo>
                  <a:close/>
                  <a:moveTo>
                    <a:pt x="769" y="905"/>
                  </a:moveTo>
                  <a:cubicBezTo>
                    <a:pt x="770" y="904"/>
                    <a:pt x="771" y="899"/>
                    <a:pt x="769" y="900"/>
                  </a:cubicBezTo>
                  <a:cubicBezTo>
                    <a:pt x="769" y="901"/>
                    <a:pt x="768" y="905"/>
                    <a:pt x="769" y="905"/>
                  </a:cubicBezTo>
                  <a:close/>
                  <a:moveTo>
                    <a:pt x="860" y="908"/>
                  </a:moveTo>
                  <a:cubicBezTo>
                    <a:pt x="864" y="909"/>
                    <a:pt x="869" y="909"/>
                    <a:pt x="875" y="909"/>
                  </a:cubicBezTo>
                  <a:cubicBezTo>
                    <a:pt x="873" y="904"/>
                    <a:pt x="869" y="902"/>
                    <a:pt x="865" y="900"/>
                  </a:cubicBezTo>
                  <a:cubicBezTo>
                    <a:pt x="864" y="903"/>
                    <a:pt x="860" y="904"/>
                    <a:pt x="860" y="908"/>
                  </a:cubicBezTo>
                  <a:close/>
                  <a:moveTo>
                    <a:pt x="741" y="905"/>
                  </a:moveTo>
                  <a:cubicBezTo>
                    <a:pt x="743" y="906"/>
                    <a:pt x="744" y="900"/>
                    <a:pt x="741" y="900"/>
                  </a:cubicBezTo>
                  <a:cubicBezTo>
                    <a:pt x="741" y="902"/>
                    <a:pt x="740" y="903"/>
                    <a:pt x="741" y="905"/>
                  </a:cubicBezTo>
                  <a:close/>
                  <a:moveTo>
                    <a:pt x="897" y="909"/>
                  </a:moveTo>
                  <a:cubicBezTo>
                    <a:pt x="899" y="907"/>
                    <a:pt x="897" y="902"/>
                    <a:pt x="895" y="901"/>
                  </a:cubicBezTo>
                  <a:cubicBezTo>
                    <a:pt x="894" y="903"/>
                    <a:pt x="893" y="910"/>
                    <a:pt x="897" y="909"/>
                  </a:cubicBezTo>
                  <a:close/>
                  <a:moveTo>
                    <a:pt x="1203" y="921"/>
                  </a:moveTo>
                  <a:cubicBezTo>
                    <a:pt x="1200" y="914"/>
                    <a:pt x="1196" y="909"/>
                    <a:pt x="1190" y="904"/>
                  </a:cubicBezTo>
                  <a:cubicBezTo>
                    <a:pt x="1186" y="906"/>
                    <a:pt x="1182" y="902"/>
                    <a:pt x="1177" y="904"/>
                  </a:cubicBezTo>
                  <a:cubicBezTo>
                    <a:pt x="1177" y="905"/>
                    <a:pt x="1177" y="907"/>
                    <a:pt x="1177" y="908"/>
                  </a:cubicBezTo>
                  <a:cubicBezTo>
                    <a:pt x="1180" y="909"/>
                    <a:pt x="1186" y="907"/>
                    <a:pt x="1186" y="910"/>
                  </a:cubicBezTo>
                  <a:cubicBezTo>
                    <a:pt x="1183" y="912"/>
                    <a:pt x="1176" y="907"/>
                    <a:pt x="1175" y="913"/>
                  </a:cubicBezTo>
                  <a:cubicBezTo>
                    <a:pt x="1177" y="913"/>
                    <a:pt x="1181" y="912"/>
                    <a:pt x="1182" y="915"/>
                  </a:cubicBezTo>
                  <a:cubicBezTo>
                    <a:pt x="1182" y="917"/>
                    <a:pt x="1182" y="919"/>
                    <a:pt x="1181" y="920"/>
                  </a:cubicBezTo>
                  <a:cubicBezTo>
                    <a:pt x="1180" y="918"/>
                    <a:pt x="1177" y="916"/>
                    <a:pt x="1175" y="918"/>
                  </a:cubicBezTo>
                  <a:cubicBezTo>
                    <a:pt x="1175" y="920"/>
                    <a:pt x="1177" y="920"/>
                    <a:pt x="1177" y="923"/>
                  </a:cubicBezTo>
                  <a:cubicBezTo>
                    <a:pt x="1175" y="923"/>
                    <a:pt x="1174" y="925"/>
                    <a:pt x="1174" y="928"/>
                  </a:cubicBezTo>
                  <a:cubicBezTo>
                    <a:pt x="1185" y="929"/>
                    <a:pt x="1198" y="929"/>
                    <a:pt x="1208" y="928"/>
                  </a:cubicBezTo>
                  <a:cubicBezTo>
                    <a:pt x="1208" y="924"/>
                    <a:pt x="1204" y="924"/>
                    <a:pt x="1203" y="921"/>
                  </a:cubicBezTo>
                  <a:close/>
                  <a:moveTo>
                    <a:pt x="1195" y="904"/>
                  </a:moveTo>
                  <a:cubicBezTo>
                    <a:pt x="1197" y="908"/>
                    <a:pt x="1202" y="916"/>
                    <a:pt x="1207" y="912"/>
                  </a:cubicBezTo>
                  <a:cubicBezTo>
                    <a:pt x="1206" y="912"/>
                    <a:pt x="1206" y="911"/>
                    <a:pt x="1206" y="910"/>
                  </a:cubicBezTo>
                  <a:cubicBezTo>
                    <a:pt x="1203" y="911"/>
                    <a:pt x="1202" y="910"/>
                    <a:pt x="1201" y="908"/>
                  </a:cubicBezTo>
                  <a:cubicBezTo>
                    <a:pt x="1202" y="907"/>
                    <a:pt x="1204" y="907"/>
                    <a:pt x="1206" y="907"/>
                  </a:cubicBezTo>
                  <a:cubicBezTo>
                    <a:pt x="1207" y="902"/>
                    <a:pt x="1198" y="903"/>
                    <a:pt x="1195" y="904"/>
                  </a:cubicBezTo>
                  <a:close/>
                  <a:moveTo>
                    <a:pt x="767" y="910"/>
                  </a:moveTo>
                  <a:cubicBezTo>
                    <a:pt x="767" y="909"/>
                    <a:pt x="768" y="909"/>
                    <a:pt x="769" y="908"/>
                  </a:cubicBezTo>
                  <a:cubicBezTo>
                    <a:pt x="769" y="903"/>
                    <a:pt x="763" y="908"/>
                    <a:pt x="767" y="910"/>
                  </a:cubicBezTo>
                  <a:close/>
                  <a:moveTo>
                    <a:pt x="740" y="910"/>
                  </a:moveTo>
                  <a:cubicBezTo>
                    <a:pt x="743" y="911"/>
                    <a:pt x="743" y="909"/>
                    <a:pt x="743" y="907"/>
                  </a:cubicBezTo>
                  <a:cubicBezTo>
                    <a:pt x="742" y="907"/>
                    <a:pt x="741" y="907"/>
                    <a:pt x="741" y="907"/>
                  </a:cubicBezTo>
                  <a:cubicBezTo>
                    <a:pt x="741" y="909"/>
                    <a:pt x="740" y="909"/>
                    <a:pt x="740" y="910"/>
                  </a:cubicBezTo>
                  <a:close/>
                  <a:moveTo>
                    <a:pt x="884" y="917"/>
                  </a:moveTo>
                  <a:cubicBezTo>
                    <a:pt x="884" y="910"/>
                    <a:pt x="870" y="910"/>
                    <a:pt x="860" y="912"/>
                  </a:cubicBezTo>
                  <a:cubicBezTo>
                    <a:pt x="866" y="917"/>
                    <a:pt x="871" y="924"/>
                    <a:pt x="878" y="928"/>
                  </a:cubicBezTo>
                  <a:cubicBezTo>
                    <a:pt x="880" y="923"/>
                    <a:pt x="885" y="922"/>
                    <a:pt x="884" y="917"/>
                  </a:cubicBezTo>
                  <a:close/>
                  <a:moveTo>
                    <a:pt x="741" y="932"/>
                  </a:moveTo>
                  <a:cubicBezTo>
                    <a:pt x="736" y="935"/>
                    <a:pt x="736" y="941"/>
                    <a:pt x="734" y="945"/>
                  </a:cubicBezTo>
                  <a:cubicBezTo>
                    <a:pt x="743" y="937"/>
                    <a:pt x="751" y="928"/>
                    <a:pt x="761" y="920"/>
                  </a:cubicBezTo>
                  <a:cubicBezTo>
                    <a:pt x="761" y="917"/>
                    <a:pt x="761" y="915"/>
                    <a:pt x="760" y="913"/>
                  </a:cubicBezTo>
                  <a:cubicBezTo>
                    <a:pt x="758" y="913"/>
                    <a:pt x="753" y="913"/>
                    <a:pt x="748" y="913"/>
                  </a:cubicBezTo>
                  <a:cubicBezTo>
                    <a:pt x="745" y="919"/>
                    <a:pt x="741" y="924"/>
                    <a:pt x="741" y="932"/>
                  </a:cubicBezTo>
                  <a:close/>
                  <a:moveTo>
                    <a:pt x="737" y="926"/>
                  </a:moveTo>
                  <a:cubicBezTo>
                    <a:pt x="740" y="924"/>
                    <a:pt x="740" y="917"/>
                    <a:pt x="742" y="914"/>
                  </a:cubicBezTo>
                  <a:cubicBezTo>
                    <a:pt x="741" y="914"/>
                    <a:pt x="741" y="914"/>
                    <a:pt x="740" y="913"/>
                  </a:cubicBezTo>
                  <a:cubicBezTo>
                    <a:pt x="737" y="916"/>
                    <a:pt x="736" y="920"/>
                    <a:pt x="737" y="926"/>
                  </a:cubicBezTo>
                  <a:close/>
                  <a:moveTo>
                    <a:pt x="902" y="916"/>
                  </a:moveTo>
                  <a:cubicBezTo>
                    <a:pt x="901" y="922"/>
                    <a:pt x="900" y="933"/>
                    <a:pt x="908" y="932"/>
                  </a:cubicBezTo>
                  <a:cubicBezTo>
                    <a:pt x="911" y="938"/>
                    <a:pt x="918" y="945"/>
                    <a:pt x="923" y="947"/>
                  </a:cubicBezTo>
                  <a:cubicBezTo>
                    <a:pt x="918" y="937"/>
                    <a:pt x="916" y="925"/>
                    <a:pt x="912" y="915"/>
                  </a:cubicBezTo>
                  <a:cubicBezTo>
                    <a:pt x="908" y="916"/>
                    <a:pt x="906" y="915"/>
                    <a:pt x="902" y="916"/>
                  </a:cubicBezTo>
                  <a:close/>
                  <a:moveTo>
                    <a:pt x="1267" y="921"/>
                  </a:moveTo>
                  <a:cubicBezTo>
                    <a:pt x="1268" y="922"/>
                    <a:pt x="1270" y="921"/>
                    <a:pt x="1270" y="922"/>
                  </a:cubicBezTo>
                  <a:cubicBezTo>
                    <a:pt x="1270" y="924"/>
                    <a:pt x="1269" y="924"/>
                    <a:pt x="1268" y="923"/>
                  </a:cubicBezTo>
                  <a:cubicBezTo>
                    <a:pt x="1268" y="924"/>
                    <a:pt x="1267" y="927"/>
                    <a:pt x="1268" y="927"/>
                  </a:cubicBezTo>
                  <a:cubicBezTo>
                    <a:pt x="1268" y="925"/>
                    <a:pt x="1271" y="927"/>
                    <a:pt x="1272" y="926"/>
                  </a:cubicBezTo>
                  <a:cubicBezTo>
                    <a:pt x="1270" y="922"/>
                    <a:pt x="1273" y="919"/>
                    <a:pt x="1270" y="917"/>
                  </a:cubicBezTo>
                  <a:cubicBezTo>
                    <a:pt x="1270" y="918"/>
                    <a:pt x="1270" y="918"/>
                    <a:pt x="1268" y="918"/>
                  </a:cubicBezTo>
                  <a:cubicBezTo>
                    <a:pt x="1269" y="917"/>
                    <a:pt x="1269" y="915"/>
                    <a:pt x="1268" y="915"/>
                  </a:cubicBezTo>
                  <a:cubicBezTo>
                    <a:pt x="1267" y="917"/>
                    <a:pt x="1268" y="918"/>
                    <a:pt x="1267" y="921"/>
                  </a:cubicBezTo>
                  <a:close/>
                  <a:moveTo>
                    <a:pt x="1205" y="917"/>
                  </a:moveTo>
                  <a:cubicBezTo>
                    <a:pt x="1205" y="919"/>
                    <a:pt x="1206" y="921"/>
                    <a:pt x="1208" y="921"/>
                  </a:cubicBezTo>
                  <a:cubicBezTo>
                    <a:pt x="1210" y="919"/>
                    <a:pt x="1207" y="915"/>
                    <a:pt x="1205" y="917"/>
                  </a:cubicBezTo>
                  <a:close/>
                  <a:moveTo>
                    <a:pt x="775" y="918"/>
                  </a:moveTo>
                  <a:cubicBezTo>
                    <a:pt x="776" y="924"/>
                    <a:pt x="783" y="927"/>
                    <a:pt x="782" y="932"/>
                  </a:cubicBezTo>
                  <a:cubicBezTo>
                    <a:pt x="777" y="930"/>
                    <a:pt x="778" y="923"/>
                    <a:pt x="773" y="920"/>
                  </a:cubicBezTo>
                  <a:cubicBezTo>
                    <a:pt x="772" y="925"/>
                    <a:pt x="771" y="933"/>
                    <a:pt x="773" y="936"/>
                  </a:cubicBezTo>
                  <a:cubicBezTo>
                    <a:pt x="769" y="938"/>
                    <a:pt x="770" y="947"/>
                    <a:pt x="770" y="950"/>
                  </a:cubicBezTo>
                  <a:cubicBezTo>
                    <a:pt x="775" y="945"/>
                    <a:pt x="783" y="940"/>
                    <a:pt x="783" y="932"/>
                  </a:cubicBezTo>
                  <a:cubicBezTo>
                    <a:pt x="784" y="933"/>
                    <a:pt x="786" y="933"/>
                    <a:pt x="787" y="933"/>
                  </a:cubicBezTo>
                  <a:cubicBezTo>
                    <a:pt x="791" y="927"/>
                    <a:pt x="797" y="923"/>
                    <a:pt x="801" y="918"/>
                  </a:cubicBezTo>
                  <a:cubicBezTo>
                    <a:pt x="792" y="917"/>
                    <a:pt x="787" y="918"/>
                    <a:pt x="775" y="918"/>
                  </a:cubicBezTo>
                  <a:close/>
                  <a:moveTo>
                    <a:pt x="767" y="926"/>
                  </a:moveTo>
                  <a:cubicBezTo>
                    <a:pt x="768" y="924"/>
                    <a:pt x="767" y="920"/>
                    <a:pt x="768" y="918"/>
                  </a:cubicBezTo>
                  <a:cubicBezTo>
                    <a:pt x="767" y="918"/>
                    <a:pt x="766" y="918"/>
                    <a:pt x="765" y="918"/>
                  </a:cubicBezTo>
                  <a:cubicBezTo>
                    <a:pt x="765" y="921"/>
                    <a:pt x="764" y="924"/>
                    <a:pt x="767" y="926"/>
                  </a:cubicBezTo>
                  <a:close/>
                  <a:moveTo>
                    <a:pt x="880" y="930"/>
                  </a:moveTo>
                  <a:cubicBezTo>
                    <a:pt x="884" y="929"/>
                    <a:pt x="888" y="929"/>
                    <a:pt x="892" y="929"/>
                  </a:cubicBezTo>
                  <a:cubicBezTo>
                    <a:pt x="893" y="923"/>
                    <a:pt x="890" y="920"/>
                    <a:pt x="885" y="919"/>
                  </a:cubicBezTo>
                  <a:cubicBezTo>
                    <a:pt x="885" y="924"/>
                    <a:pt x="880" y="926"/>
                    <a:pt x="880" y="930"/>
                  </a:cubicBezTo>
                  <a:close/>
                  <a:moveTo>
                    <a:pt x="1306" y="926"/>
                  </a:moveTo>
                  <a:cubicBezTo>
                    <a:pt x="1307" y="924"/>
                    <a:pt x="1303" y="922"/>
                    <a:pt x="1302" y="924"/>
                  </a:cubicBezTo>
                  <a:cubicBezTo>
                    <a:pt x="1304" y="925"/>
                    <a:pt x="1304" y="926"/>
                    <a:pt x="1306" y="926"/>
                  </a:cubicBezTo>
                  <a:close/>
                  <a:moveTo>
                    <a:pt x="733" y="951"/>
                  </a:moveTo>
                  <a:cubicBezTo>
                    <a:pt x="740" y="951"/>
                    <a:pt x="754" y="952"/>
                    <a:pt x="764" y="951"/>
                  </a:cubicBezTo>
                  <a:cubicBezTo>
                    <a:pt x="763" y="942"/>
                    <a:pt x="763" y="932"/>
                    <a:pt x="761" y="924"/>
                  </a:cubicBezTo>
                  <a:cubicBezTo>
                    <a:pt x="752" y="933"/>
                    <a:pt x="742" y="942"/>
                    <a:pt x="733" y="951"/>
                  </a:cubicBezTo>
                  <a:close/>
                  <a:moveTo>
                    <a:pt x="1266" y="933"/>
                  </a:moveTo>
                  <a:cubicBezTo>
                    <a:pt x="1270" y="933"/>
                    <a:pt x="1273" y="933"/>
                    <a:pt x="1272" y="930"/>
                  </a:cubicBezTo>
                  <a:cubicBezTo>
                    <a:pt x="1270" y="928"/>
                    <a:pt x="1265" y="929"/>
                    <a:pt x="1266" y="933"/>
                  </a:cubicBezTo>
                  <a:close/>
                  <a:moveTo>
                    <a:pt x="1302" y="934"/>
                  </a:moveTo>
                  <a:cubicBezTo>
                    <a:pt x="1304" y="934"/>
                    <a:pt x="1305" y="935"/>
                    <a:pt x="1305" y="935"/>
                  </a:cubicBezTo>
                  <a:cubicBezTo>
                    <a:pt x="1306" y="934"/>
                    <a:pt x="1307" y="933"/>
                    <a:pt x="1307" y="931"/>
                  </a:cubicBezTo>
                  <a:cubicBezTo>
                    <a:pt x="1306" y="930"/>
                    <a:pt x="1305" y="930"/>
                    <a:pt x="1303" y="930"/>
                  </a:cubicBezTo>
                  <a:cubicBezTo>
                    <a:pt x="1302" y="931"/>
                    <a:pt x="1302" y="933"/>
                    <a:pt x="1302" y="934"/>
                  </a:cubicBezTo>
                  <a:close/>
                  <a:moveTo>
                    <a:pt x="895" y="945"/>
                  </a:moveTo>
                  <a:cubicBezTo>
                    <a:pt x="895" y="940"/>
                    <a:pt x="895" y="935"/>
                    <a:pt x="893" y="931"/>
                  </a:cubicBezTo>
                  <a:cubicBezTo>
                    <a:pt x="889" y="931"/>
                    <a:pt x="885" y="931"/>
                    <a:pt x="882" y="931"/>
                  </a:cubicBezTo>
                  <a:cubicBezTo>
                    <a:pt x="885" y="937"/>
                    <a:pt x="890" y="941"/>
                    <a:pt x="895" y="945"/>
                  </a:cubicBezTo>
                  <a:close/>
                  <a:moveTo>
                    <a:pt x="1194" y="934"/>
                  </a:moveTo>
                  <a:cubicBezTo>
                    <a:pt x="1187" y="932"/>
                    <a:pt x="1178" y="928"/>
                    <a:pt x="1173" y="934"/>
                  </a:cubicBezTo>
                  <a:cubicBezTo>
                    <a:pt x="1173" y="937"/>
                    <a:pt x="1177" y="935"/>
                    <a:pt x="1177" y="938"/>
                  </a:cubicBezTo>
                  <a:cubicBezTo>
                    <a:pt x="1177" y="941"/>
                    <a:pt x="1174" y="937"/>
                    <a:pt x="1172" y="939"/>
                  </a:cubicBezTo>
                  <a:cubicBezTo>
                    <a:pt x="1172" y="940"/>
                    <a:pt x="1172" y="941"/>
                    <a:pt x="1172" y="943"/>
                  </a:cubicBezTo>
                  <a:cubicBezTo>
                    <a:pt x="1176" y="943"/>
                    <a:pt x="1179" y="941"/>
                    <a:pt x="1181" y="943"/>
                  </a:cubicBezTo>
                  <a:cubicBezTo>
                    <a:pt x="1181" y="947"/>
                    <a:pt x="1176" y="947"/>
                    <a:pt x="1173" y="946"/>
                  </a:cubicBezTo>
                  <a:cubicBezTo>
                    <a:pt x="1172" y="949"/>
                    <a:pt x="1172" y="954"/>
                    <a:pt x="1170" y="956"/>
                  </a:cubicBezTo>
                  <a:cubicBezTo>
                    <a:pt x="1182" y="958"/>
                    <a:pt x="1201" y="957"/>
                    <a:pt x="1214" y="955"/>
                  </a:cubicBezTo>
                  <a:cubicBezTo>
                    <a:pt x="1206" y="949"/>
                    <a:pt x="1199" y="943"/>
                    <a:pt x="1194" y="934"/>
                  </a:cubicBezTo>
                  <a:close/>
                  <a:moveTo>
                    <a:pt x="1201" y="937"/>
                  </a:moveTo>
                  <a:cubicBezTo>
                    <a:pt x="1204" y="939"/>
                    <a:pt x="1206" y="945"/>
                    <a:pt x="1212" y="942"/>
                  </a:cubicBezTo>
                  <a:cubicBezTo>
                    <a:pt x="1213" y="937"/>
                    <a:pt x="1206" y="940"/>
                    <a:pt x="1205" y="937"/>
                  </a:cubicBezTo>
                  <a:cubicBezTo>
                    <a:pt x="1205" y="935"/>
                    <a:pt x="1209" y="936"/>
                    <a:pt x="1210" y="936"/>
                  </a:cubicBezTo>
                  <a:cubicBezTo>
                    <a:pt x="1211" y="935"/>
                    <a:pt x="1211" y="934"/>
                    <a:pt x="1210" y="932"/>
                  </a:cubicBezTo>
                  <a:cubicBezTo>
                    <a:pt x="1207" y="930"/>
                    <a:pt x="1201" y="931"/>
                    <a:pt x="1196" y="931"/>
                  </a:cubicBezTo>
                  <a:cubicBezTo>
                    <a:pt x="1194" y="935"/>
                    <a:pt x="1199" y="935"/>
                    <a:pt x="1201" y="937"/>
                  </a:cubicBezTo>
                  <a:close/>
                  <a:moveTo>
                    <a:pt x="901" y="949"/>
                  </a:moveTo>
                  <a:cubicBezTo>
                    <a:pt x="909" y="950"/>
                    <a:pt x="915" y="952"/>
                    <a:pt x="923" y="952"/>
                  </a:cubicBezTo>
                  <a:cubicBezTo>
                    <a:pt x="916" y="946"/>
                    <a:pt x="909" y="939"/>
                    <a:pt x="901" y="933"/>
                  </a:cubicBezTo>
                  <a:cubicBezTo>
                    <a:pt x="901" y="936"/>
                    <a:pt x="901" y="946"/>
                    <a:pt x="901" y="949"/>
                  </a:cubicBezTo>
                  <a:close/>
                  <a:moveTo>
                    <a:pt x="1267" y="939"/>
                  </a:moveTo>
                  <a:cubicBezTo>
                    <a:pt x="1269" y="938"/>
                    <a:pt x="1272" y="939"/>
                    <a:pt x="1273" y="937"/>
                  </a:cubicBezTo>
                  <a:cubicBezTo>
                    <a:pt x="1272" y="935"/>
                    <a:pt x="1267" y="935"/>
                    <a:pt x="1267" y="939"/>
                  </a:cubicBezTo>
                  <a:close/>
                  <a:moveTo>
                    <a:pt x="1277" y="941"/>
                  </a:moveTo>
                  <a:cubicBezTo>
                    <a:pt x="1280" y="958"/>
                    <a:pt x="1281" y="980"/>
                    <a:pt x="1287" y="996"/>
                  </a:cubicBezTo>
                  <a:cubicBezTo>
                    <a:pt x="1289" y="996"/>
                    <a:pt x="1290" y="996"/>
                    <a:pt x="1292" y="996"/>
                  </a:cubicBezTo>
                  <a:cubicBezTo>
                    <a:pt x="1296" y="976"/>
                    <a:pt x="1297" y="957"/>
                    <a:pt x="1299" y="941"/>
                  </a:cubicBezTo>
                  <a:cubicBezTo>
                    <a:pt x="1293" y="941"/>
                    <a:pt x="1285" y="940"/>
                    <a:pt x="1277" y="941"/>
                  </a:cubicBezTo>
                  <a:close/>
                  <a:moveTo>
                    <a:pt x="1266" y="941"/>
                  </a:moveTo>
                  <a:cubicBezTo>
                    <a:pt x="1270" y="945"/>
                    <a:pt x="1261" y="951"/>
                    <a:pt x="1268" y="953"/>
                  </a:cubicBezTo>
                  <a:cubicBezTo>
                    <a:pt x="1268" y="952"/>
                    <a:pt x="1267" y="949"/>
                    <a:pt x="1268" y="949"/>
                  </a:cubicBezTo>
                  <a:cubicBezTo>
                    <a:pt x="1275" y="948"/>
                    <a:pt x="1271" y="952"/>
                    <a:pt x="1275" y="954"/>
                  </a:cubicBezTo>
                  <a:cubicBezTo>
                    <a:pt x="1275" y="948"/>
                    <a:pt x="1271" y="946"/>
                    <a:pt x="1274" y="941"/>
                  </a:cubicBezTo>
                  <a:cubicBezTo>
                    <a:pt x="1272" y="942"/>
                    <a:pt x="1268" y="941"/>
                    <a:pt x="1266" y="941"/>
                  </a:cubicBezTo>
                  <a:close/>
                  <a:moveTo>
                    <a:pt x="1310" y="943"/>
                  </a:moveTo>
                  <a:cubicBezTo>
                    <a:pt x="1313" y="953"/>
                    <a:pt x="1312" y="959"/>
                    <a:pt x="1314" y="970"/>
                  </a:cubicBezTo>
                  <a:cubicBezTo>
                    <a:pt x="1317" y="967"/>
                    <a:pt x="1318" y="957"/>
                    <a:pt x="1314" y="954"/>
                  </a:cubicBezTo>
                  <a:cubicBezTo>
                    <a:pt x="1318" y="953"/>
                    <a:pt x="1320" y="943"/>
                    <a:pt x="1317" y="941"/>
                  </a:cubicBezTo>
                  <a:cubicBezTo>
                    <a:pt x="1313" y="940"/>
                    <a:pt x="1312" y="941"/>
                    <a:pt x="1310" y="943"/>
                  </a:cubicBezTo>
                  <a:close/>
                  <a:moveTo>
                    <a:pt x="1301" y="969"/>
                  </a:moveTo>
                  <a:cubicBezTo>
                    <a:pt x="1304" y="967"/>
                    <a:pt x="1306" y="965"/>
                    <a:pt x="1310" y="964"/>
                  </a:cubicBezTo>
                  <a:cubicBezTo>
                    <a:pt x="1309" y="960"/>
                    <a:pt x="1304" y="959"/>
                    <a:pt x="1305" y="955"/>
                  </a:cubicBezTo>
                  <a:cubicBezTo>
                    <a:pt x="1307" y="955"/>
                    <a:pt x="1307" y="957"/>
                    <a:pt x="1309" y="957"/>
                  </a:cubicBezTo>
                  <a:cubicBezTo>
                    <a:pt x="1310" y="953"/>
                    <a:pt x="1307" y="950"/>
                    <a:pt x="1304" y="948"/>
                  </a:cubicBezTo>
                  <a:cubicBezTo>
                    <a:pt x="1305" y="948"/>
                    <a:pt x="1305" y="947"/>
                    <a:pt x="1304" y="946"/>
                  </a:cubicBezTo>
                  <a:cubicBezTo>
                    <a:pt x="1306" y="946"/>
                    <a:pt x="1306" y="947"/>
                    <a:pt x="1307" y="946"/>
                  </a:cubicBezTo>
                  <a:cubicBezTo>
                    <a:pt x="1307" y="945"/>
                    <a:pt x="1307" y="944"/>
                    <a:pt x="1307" y="943"/>
                  </a:cubicBezTo>
                  <a:cubicBezTo>
                    <a:pt x="1305" y="943"/>
                    <a:pt x="1304" y="942"/>
                    <a:pt x="1302" y="942"/>
                  </a:cubicBezTo>
                  <a:cubicBezTo>
                    <a:pt x="1304" y="949"/>
                    <a:pt x="1299" y="959"/>
                    <a:pt x="1301" y="969"/>
                  </a:cubicBezTo>
                  <a:close/>
                  <a:moveTo>
                    <a:pt x="1212" y="949"/>
                  </a:moveTo>
                  <a:cubicBezTo>
                    <a:pt x="1213" y="947"/>
                    <a:pt x="1212" y="945"/>
                    <a:pt x="1209" y="945"/>
                  </a:cubicBezTo>
                  <a:cubicBezTo>
                    <a:pt x="1208" y="948"/>
                    <a:pt x="1210" y="949"/>
                    <a:pt x="1212" y="949"/>
                  </a:cubicBezTo>
                  <a:close/>
                  <a:moveTo>
                    <a:pt x="1321" y="962"/>
                  </a:moveTo>
                  <a:cubicBezTo>
                    <a:pt x="1325" y="960"/>
                    <a:pt x="1321" y="952"/>
                    <a:pt x="1320" y="949"/>
                  </a:cubicBezTo>
                  <a:cubicBezTo>
                    <a:pt x="1320" y="955"/>
                    <a:pt x="1320" y="958"/>
                    <a:pt x="1321" y="962"/>
                  </a:cubicBezTo>
                  <a:close/>
                  <a:moveTo>
                    <a:pt x="1274" y="956"/>
                  </a:moveTo>
                  <a:cubicBezTo>
                    <a:pt x="1272" y="955"/>
                    <a:pt x="1268" y="952"/>
                    <a:pt x="1265" y="956"/>
                  </a:cubicBezTo>
                  <a:cubicBezTo>
                    <a:pt x="1266" y="960"/>
                    <a:pt x="1261" y="964"/>
                    <a:pt x="1264" y="967"/>
                  </a:cubicBezTo>
                  <a:cubicBezTo>
                    <a:pt x="1264" y="966"/>
                    <a:pt x="1268" y="966"/>
                    <a:pt x="1267" y="968"/>
                  </a:cubicBezTo>
                  <a:cubicBezTo>
                    <a:pt x="1266" y="970"/>
                    <a:pt x="1264" y="967"/>
                    <a:pt x="1263" y="969"/>
                  </a:cubicBezTo>
                  <a:cubicBezTo>
                    <a:pt x="1263" y="975"/>
                    <a:pt x="1263" y="981"/>
                    <a:pt x="1261" y="985"/>
                  </a:cubicBezTo>
                  <a:cubicBezTo>
                    <a:pt x="1263" y="985"/>
                    <a:pt x="1265" y="982"/>
                    <a:pt x="1266" y="985"/>
                  </a:cubicBezTo>
                  <a:cubicBezTo>
                    <a:pt x="1265" y="987"/>
                    <a:pt x="1264" y="988"/>
                    <a:pt x="1261" y="987"/>
                  </a:cubicBezTo>
                  <a:cubicBezTo>
                    <a:pt x="1262" y="990"/>
                    <a:pt x="1261" y="992"/>
                    <a:pt x="1261" y="995"/>
                  </a:cubicBezTo>
                  <a:cubicBezTo>
                    <a:pt x="1269" y="993"/>
                    <a:pt x="1274" y="995"/>
                    <a:pt x="1281" y="994"/>
                  </a:cubicBezTo>
                  <a:cubicBezTo>
                    <a:pt x="1279" y="991"/>
                    <a:pt x="1279" y="989"/>
                    <a:pt x="1279" y="986"/>
                  </a:cubicBezTo>
                  <a:cubicBezTo>
                    <a:pt x="1277" y="989"/>
                    <a:pt x="1273" y="983"/>
                    <a:pt x="1272" y="980"/>
                  </a:cubicBezTo>
                  <a:cubicBezTo>
                    <a:pt x="1269" y="980"/>
                    <a:pt x="1267" y="980"/>
                    <a:pt x="1268" y="977"/>
                  </a:cubicBezTo>
                  <a:cubicBezTo>
                    <a:pt x="1270" y="976"/>
                    <a:pt x="1273" y="976"/>
                    <a:pt x="1276" y="977"/>
                  </a:cubicBezTo>
                  <a:cubicBezTo>
                    <a:pt x="1275" y="979"/>
                    <a:pt x="1272" y="978"/>
                    <a:pt x="1272" y="980"/>
                  </a:cubicBezTo>
                  <a:cubicBezTo>
                    <a:pt x="1275" y="981"/>
                    <a:pt x="1276" y="984"/>
                    <a:pt x="1279" y="984"/>
                  </a:cubicBezTo>
                  <a:cubicBezTo>
                    <a:pt x="1280" y="982"/>
                    <a:pt x="1277" y="984"/>
                    <a:pt x="1277" y="982"/>
                  </a:cubicBezTo>
                  <a:cubicBezTo>
                    <a:pt x="1281" y="977"/>
                    <a:pt x="1275" y="972"/>
                    <a:pt x="1273" y="968"/>
                  </a:cubicBezTo>
                  <a:cubicBezTo>
                    <a:pt x="1273" y="967"/>
                    <a:pt x="1274" y="966"/>
                    <a:pt x="1274" y="966"/>
                  </a:cubicBezTo>
                  <a:cubicBezTo>
                    <a:pt x="1276" y="966"/>
                    <a:pt x="1276" y="967"/>
                    <a:pt x="1277" y="967"/>
                  </a:cubicBezTo>
                  <a:cubicBezTo>
                    <a:pt x="1275" y="964"/>
                    <a:pt x="1276" y="957"/>
                    <a:pt x="1274" y="956"/>
                  </a:cubicBezTo>
                  <a:close/>
                  <a:moveTo>
                    <a:pt x="731" y="957"/>
                  </a:moveTo>
                  <a:cubicBezTo>
                    <a:pt x="730" y="964"/>
                    <a:pt x="732" y="968"/>
                    <a:pt x="733" y="972"/>
                  </a:cubicBezTo>
                  <a:cubicBezTo>
                    <a:pt x="737" y="972"/>
                    <a:pt x="736" y="972"/>
                    <a:pt x="739" y="972"/>
                  </a:cubicBezTo>
                  <a:cubicBezTo>
                    <a:pt x="740" y="970"/>
                    <a:pt x="742" y="969"/>
                    <a:pt x="741" y="965"/>
                  </a:cubicBezTo>
                  <a:cubicBezTo>
                    <a:pt x="739" y="962"/>
                    <a:pt x="733" y="960"/>
                    <a:pt x="733" y="957"/>
                  </a:cubicBezTo>
                  <a:cubicBezTo>
                    <a:pt x="739" y="957"/>
                    <a:pt x="738" y="962"/>
                    <a:pt x="743" y="962"/>
                  </a:cubicBezTo>
                  <a:cubicBezTo>
                    <a:pt x="744" y="960"/>
                    <a:pt x="745" y="959"/>
                    <a:pt x="745" y="956"/>
                  </a:cubicBezTo>
                  <a:cubicBezTo>
                    <a:pt x="741" y="955"/>
                    <a:pt x="732" y="954"/>
                    <a:pt x="731" y="957"/>
                  </a:cubicBezTo>
                  <a:close/>
                  <a:moveTo>
                    <a:pt x="903" y="956"/>
                  </a:moveTo>
                  <a:cubicBezTo>
                    <a:pt x="903" y="962"/>
                    <a:pt x="908" y="963"/>
                    <a:pt x="907" y="969"/>
                  </a:cubicBezTo>
                  <a:cubicBezTo>
                    <a:pt x="914" y="969"/>
                    <a:pt x="913" y="959"/>
                    <a:pt x="911" y="956"/>
                  </a:cubicBezTo>
                  <a:cubicBezTo>
                    <a:pt x="907" y="956"/>
                    <a:pt x="905" y="956"/>
                    <a:pt x="903" y="956"/>
                  </a:cubicBezTo>
                  <a:close/>
                  <a:moveTo>
                    <a:pt x="920" y="960"/>
                  </a:moveTo>
                  <a:cubicBezTo>
                    <a:pt x="920" y="958"/>
                    <a:pt x="923" y="959"/>
                    <a:pt x="923" y="956"/>
                  </a:cubicBezTo>
                  <a:cubicBezTo>
                    <a:pt x="921" y="956"/>
                    <a:pt x="919" y="956"/>
                    <a:pt x="917" y="956"/>
                  </a:cubicBezTo>
                  <a:cubicBezTo>
                    <a:pt x="917" y="958"/>
                    <a:pt x="917" y="960"/>
                    <a:pt x="920" y="960"/>
                  </a:cubicBezTo>
                  <a:close/>
                  <a:moveTo>
                    <a:pt x="757" y="974"/>
                  </a:moveTo>
                  <a:cubicBezTo>
                    <a:pt x="759" y="969"/>
                    <a:pt x="760" y="962"/>
                    <a:pt x="764" y="958"/>
                  </a:cubicBezTo>
                  <a:cubicBezTo>
                    <a:pt x="761" y="956"/>
                    <a:pt x="755" y="957"/>
                    <a:pt x="751" y="956"/>
                  </a:cubicBezTo>
                  <a:cubicBezTo>
                    <a:pt x="751" y="962"/>
                    <a:pt x="750" y="973"/>
                    <a:pt x="757" y="974"/>
                  </a:cubicBezTo>
                  <a:close/>
                  <a:moveTo>
                    <a:pt x="832" y="971"/>
                  </a:moveTo>
                  <a:cubicBezTo>
                    <a:pt x="835" y="966"/>
                    <a:pt x="840" y="961"/>
                    <a:pt x="842" y="957"/>
                  </a:cubicBezTo>
                  <a:cubicBezTo>
                    <a:pt x="835" y="957"/>
                    <a:pt x="826" y="958"/>
                    <a:pt x="820" y="956"/>
                  </a:cubicBezTo>
                  <a:cubicBezTo>
                    <a:pt x="823" y="962"/>
                    <a:pt x="827" y="967"/>
                    <a:pt x="832" y="971"/>
                  </a:cubicBezTo>
                  <a:close/>
                  <a:moveTo>
                    <a:pt x="851" y="957"/>
                  </a:moveTo>
                  <a:cubicBezTo>
                    <a:pt x="856" y="963"/>
                    <a:pt x="861" y="969"/>
                    <a:pt x="867" y="975"/>
                  </a:cubicBezTo>
                  <a:cubicBezTo>
                    <a:pt x="875" y="969"/>
                    <a:pt x="882" y="963"/>
                    <a:pt x="889" y="957"/>
                  </a:cubicBezTo>
                  <a:cubicBezTo>
                    <a:pt x="878" y="956"/>
                    <a:pt x="863" y="957"/>
                    <a:pt x="851" y="957"/>
                  </a:cubicBezTo>
                  <a:close/>
                  <a:moveTo>
                    <a:pt x="878" y="971"/>
                  </a:moveTo>
                  <a:cubicBezTo>
                    <a:pt x="885" y="971"/>
                    <a:pt x="892" y="971"/>
                    <a:pt x="899" y="971"/>
                  </a:cubicBezTo>
                  <a:cubicBezTo>
                    <a:pt x="898" y="966"/>
                    <a:pt x="898" y="960"/>
                    <a:pt x="897" y="956"/>
                  </a:cubicBezTo>
                  <a:cubicBezTo>
                    <a:pt x="889" y="959"/>
                    <a:pt x="884" y="965"/>
                    <a:pt x="878" y="971"/>
                  </a:cubicBezTo>
                  <a:close/>
                  <a:moveTo>
                    <a:pt x="770" y="958"/>
                  </a:moveTo>
                  <a:cubicBezTo>
                    <a:pt x="779" y="962"/>
                    <a:pt x="783" y="970"/>
                    <a:pt x="793" y="973"/>
                  </a:cubicBezTo>
                  <a:cubicBezTo>
                    <a:pt x="797" y="968"/>
                    <a:pt x="802" y="963"/>
                    <a:pt x="806" y="957"/>
                  </a:cubicBezTo>
                  <a:cubicBezTo>
                    <a:pt x="795" y="958"/>
                    <a:pt x="780" y="955"/>
                    <a:pt x="770" y="958"/>
                  </a:cubicBezTo>
                  <a:close/>
                  <a:moveTo>
                    <a:pt x="810" y="957"/>
                  </a:moveTo>
                  <a:cubicBezTo>
                    <a:pt x="805" y="962"/>
                    <a:pt x="799" y="971"/>
                    <a:pt x="795" y="977"/>
                  </a:cubicBezTo>
                  <a:cubicBezTo>
                    <a:pt x="802" y="982"/>
                    <a:pt x="808" y="987"/>
                    <a:pt x="815" y="992"/>
                  </a:cubicBezTo>
                  <a:cubicBezTo>
                    <a:pt x="820" y="985"/>
                    <a:pt x="826" y="981"/>
                    <a:pt x="829" y="973"/>
                  </a:cubicBezTo>
                  <a:cubicBezTo>
                    <a:pt x="825" y="968"/>
                    <a:pt x="820" y="963"/>
                    <a:pt x="816" y="957"/>
                  </a:cubicBezTo>
                  <a:cubicBezTo>
                    <a:pt x="814" y="957"/>
                    <a:pt x="811" y="957"/>
                    <a:pt x="810" y="957"/>
                  </a:cubicBezTo>
                  <a:close/>
                  <a:moveTo>
                    <a:pt x="846" y="958"/>
                  </a:moveTo>
                  <a:cubicBezTo>
                    <a:pt x="843" y="963"/>
                    <a:pt x="833" y="968"/>
                    <a:pt x="834" y="974"/>
                  </a:cubicBezTo>
                  <a:cubicBezTo>
                    <a:pt x="834" y="981"/>
                    <a:pt x="844" y="985"/>
                    <a:pt x="847" y="990"/>
                  </a:cubicBezTo>
                  <a:cubicBezTo>
                    <a:pt x="853" y="986"/>
                    <a:pt x="859" y="982"/>
                    <a:pt x="864" y="977"/>
                  </a:cubicBezTo>
                  <a:cubicBezTo>
                    <a:pt x="858" y="971"/>
                    <a:pt x="853" y="963"/>
                    <a:pt x="846" y="958"/>
                  </a:cubicBezTo>
                  <a:close/>
                  <a:moveTo>
                    <a:pt x="920" y="962"/>
                  </a:moveTo>
                  <a:cubicBezTo>
                    <a:pt x="920" y="966"/>
                    <a:pt x="920" y="970"/>
                    <a:pt x="922" y="973"/>
                  </a:cubicBezTo>
                  <a:cubicBezTo>
                    <a:pt x="924" y="973"/>
                    <a:pt x="925" y="972"/>
                    <a:pt x="927" y="972"/>
                  </a:cubicBezTo>
                  <a:cubicBezTo>
                    <a:pt x="925" y="968"/>
                    <a:pt x="928" y="959"/>
                    <a:pt x="924" y="958"/>
                  </a:cubicBezTo>
                  <a:cubicBezTo>
                    <a:pt x="925" y="961"/>
                    <a:pt x="921" y="960"/>
                    <a:pt x="920" y="962"/>
                  </a:cubicBezTo>
                  <a:close/>
                  <a:moveTo>
                    <a:pt x="767" y="973"/>
                  </a:moveTo>
                  <a:cubicBezTo>
                    <a:pt x="772" y="974"/>
                    <a:pt x="783" y="975"/>
                    <a:pt x="786" y="973"/>
                  </a:cubicBezTo>
                  <a:cubicBezTo>
                    <a:pt x="781" y="968"/>
                    <a:pt x="775" y="964"/>
                    <a:pt x="769" y="960"/>
                  </a:cubicBezTo>
                  <a:cubicBezTo>
                    <a:pt x="768" y="964"/>
                    <a:pt x="768" y="969"/>
                    <a:pt x="767" y="973"/>
                  </a:cubicBezTo>
                  <a:close/>
                  <a:moveTo>
                    <a:pt x="1194" y="962"/>
                  </a:moveTo>
                  <a:cubicBezTo>
                    <a:pt x="1188" y="961"/>
                    <a:pt x="1177" y="959"/>
                    <a:pt x="1169" y="962"/>
                  </a:cubicBezTo>
                  <a:cubicBezTo>
                    <a:pt x="1168" y="965"/>
                    <a:pt x="1171" y="964"/>
                    <a:pt x="1171" y="967"/>
                  </a:cubicBezTo>
                  <a:cubicBezTo>
                    <a:pt x="1168" y="967"/>
                    <a:pt x="1167" y="969"/>
                    <a:pt x="1169" y="971"/>
                  </a:cubicBezTo>
                  <a:cubicBezTo>
                    <a:pt x="1172" y="973"/>
                    <a:pt x="1180" y="968"/>
                    <a:pt x="1180" y="973"/>
                  </a:cubicBezTo>
                  <a:cubicBezTo>
                    <a:pt x="1176" y="975"/>
                    <a:pt x="1173" y="976"/>
                    <a:pt x="1169" y="975"/>
                  </a:cubicBezTo>
                  <a:cubicBezTo>
                    <a:pt x="1168" y="978"/>
                    <a:pt x="1168" y="983"/>
                    <a:pt x="1168" y="985"/>
                  </a:cubicBezTo>
                  <a:cubicBezTo>
                    <a:pt x="1177" y="986"/>
                    <a:pt x="1188" y="985"/>
                    <a:pt x="1199" y="985"/>
                  </a:cubicBezTo>
                  <a:cubicBezTo>
                    <a:pt x="1206" y="985"/>
                    <a:pt x="1214" y="987"/>
                    <a:pt x="1218" y="983"/>
                  </a:cubicBezTo>
                  <a:cubicBezTo>
                    <a:pt x="1215" y="981"/>
                    <a:pt x="1210" y="981"/>
                    <a:pt x="1210" y="975"/>
                  </a:cubicBezTo>
                  <a:cubicBezTo>
                    <a:pt x="1203" y="974"/>
                    <a:pt x="1200" y="966"/>
                    <a:pt x="1197" y="963"/>
                  </a:cubicBezTo>
                  <a:cubicBezTo>
                    <a:pt x="1202" y="965"/>
                    <a:pt x="1209" y="975"/>
                    <a:pt x="1216" y="969"/>
                  </a:cubicBezTo>
                  <a:cubicBezTo>
                    <a:pt x="1215" y="966"/>
                    <a:pt x="1211" y="969"/>
                    <a:pt x="1211" y="965"/>
                  </a:cubicBezTo>
                  <a:cubicBezTo>
                    <a:pt x="1211" y="962"/>
                    <a:pt x="1216" y="966"/>
                    <a:pt x="1216" y="962"/>
                  </a:cubicBezTo>
                  <a:cubicBezTo>
                    <a:pt x="1211" y="959"/>
                    <a:pt x="1199" y="959"/>
                    <a:pt x="1194" y="962"/>
                  </a:cubicBezTo>
                  <a:close/>
                  <a:moveTo>
                    <a:pt x="1320" y="968"/>
                  </a:moveTo>
                  <a:cubicBezTo>
                    <a:pt x="1321" y="969"/>
                    <a:pt x="1323" y="970"/>
                    <a:pt x="1325" y="971"/>
                  </a:cubicBezTo>
                  <a:cubicBezTo>
                    <a:pt x="1326" y="967"/>
                    <a:pt x="1324" y="964"/>
                    <a:pt x="1320" y="964"/>
                  </a:cubicBezTo>
                  <a:cubicBezTo>
                    <a:pt x="1320" y="965"/>
                    <a:pt x="1319" y="966"/>
                    <a:pt x="1320" y="968"/>
                  </a:cubicBezTo>
                  <a:close/>
                  <a:moveTo>
                    <a:pt x="762" y="975"/>
                  </a:moveTo>
                  <a:cubicBezTo>
                    <a:pt x="764" y="973"/>
                    <a:pt x="766" y="966"/>
                    <a:pt x="763" y="964"/>
                  </a:cubicBezTo>
                  <a:cubicBezTo>
                    <a:pt x="763" y="968"/>
                    <a:pt x="758" y="972"/>
                    <a:pt x="762" y="975"/>
                  </a:cubicBezTo>
                  <a:close/>
                  <a:moveTo>
                    <a:pt x="904" y="971"/>
                  </a:moveTo>
                  <a:cubicBezTo>
                    <a:pt x="905" y="970"/>
                    <a:pt x="905" y="966"/>
                    <a:pt x="903" y="966"/>
                  </a:cubicBezTo>
                  <a:cubicBezTo>
                    <a:pt x="903" y="968"/>
                    <a:pt x="903" y="971"/>
                    <a:pt x="904" y="971"/>
                  </a:cubicBezTo>
                  <a:close/>
                  <a:moveTo>
                    <a:pt x="1313" y="977"/>
                  </a:moveTo>
                  <a:cubicBezTo>
                    <a:pt x="1308" y="978"/>
                    <a:pt x="1308" y="972"/>
                    <a:pt x="1309" y="969"/>
                  </a:cubicBezTo>
                  <a:cubicBezTo>
                    <a:pt x="1307" y="970"/>
                    <a:pt x="1307" y="968"/>
                    <a:pt x="1304" y="969"/>
                  </a:cubicBezTo>
                  <a:cubicBezTo>
                    <a:pt x="1304" y="972"/>
                    <a:pt x="1302" y="973"/>
                    <a:pt x="1299" y="973"/>
                  </a:cubicBezTo>
                  <a:cubicBezTo>
                    <a:pt x="1299" y="982"/>
                    <a:pt x="1296" y="988"/>
                    <a:pt x="1298" y="996"/>
                  </a:cubicBezTo>
                  <a:cubicBezTo>
                    <a:pt x="1303" y="996"/>
                    <a:pt x="1307" y="995"/>
                    <a:pt x="1311" y="996"/>
                  </a:cubicBezTo>
                  <a:cubicBezTo>
                    <a:pt x="1314" y="990"/>
                    <a:pt x="1312" y="984"/>
                    <a:pt x="1313" y="977"/>
                  </a:cubicBezTo>
                  <a:close/>
                  <a:moveTo>
                    <a:pt x="909" y="971"/>
                  </a:moveTo>
                  <a:cubicBezTo>
                    <a:pt x="910" y="973"/>
                    <a:pt x="909" y="977"/>
                    <a:pt x="912" y="977"/>
                  </a:cubicBezTo>
                  <a:cubicBezTo>
                    <a:pt x="911" y="974"/>
                    <a:pt x="914" y="971"/>
                    <a:pt x="911" y="969"/>
                  </a:cubicBezTo>
                  <a:cubicBezTo>
                    <a:pt x="911" y="970"/>
                    <a:pt x="910" y="971"/>
                    <a:pt x="909" y="971"/>
                  </a:cubicBezTo>
                  <a:close/>
                  <a:moveTo>
                    <a:pt x="1421" y="971"/>
                  </a:moveTo>
                  <a:cubicBezTo>
                    <a:pt x="1421" y="973"/>
                    <a:pt x="1423" y="973"/>
                    <a:pt x="1423" y="975"/>
                  </a:cubicBezTo>
                  <a:cubicBezTo>
                    <a:pt x="1419" y="978"/>
                    <a:pt x="1419" y="986"/>
                    <a:pt x="1420" y="991"/>
                  </a:cubicBezTo>
                  <a:cubicBezTo>
                    <a:pt x="1422" y="991"/>
                    <a:pt x="1422" y="992"/>
                    <a:pt x="1423" y="992"/>
                  </a:cubicBezTo>
                  <a:cubicBezTo>
                    <a:pt x="1424" y="989"/>
                    <a:pt x="1425" y="987"/>
                    <a:pt x="1429" y="988"/>
                  </a:cubicBezTo>
                  <a:cubicBezTo>
                    <a:pt x="1425" y="983"/>
                    <a:pt x="1427" y="977"/>
                    <a:pt x="1427" y="969"/>
                  </a:cubicBezTo>
                  <a:cubicBezTo>
                    <a:pt x="1424" y="969"/>
                    <a:pt x="1422" y="970"/>
                    <a:pt x="1421" y="971"/>
                  </a:cubicBezTo>
                  <a:close/>
                  <a:moveTo>
                    <a:pt x="1320" y="988"/>
                  </a:moveTo>
                  <a:cubicBezTo>
                    <a:pt x="1323" y="985"/>
                    <a:pt x="1324" y="982"/>
                    <a:pt x="1321" y="978"/>
                  </a:cubicBezTo>
                  <a:cubicBezTo>
                    <a:pt x="1323" y="978"/>
                    <a:pt x="1324" y="977"/>
                    <a:pt x="1325" y="979"/>
                  </a:cubicBezTo>
                  <a:cubicBezTo>
                    <a:pt x="1326" y="973"/>
                    <a:pt x="1322" y="972"/>
                    <a:pt x="1319" y="971"/>
                  </a:cubicBezTo>
                  <a:cubicBezTo>
                    <a:pt x="1318" y="978"/>
                    <a:pt x="1316" y="984"/>
                    <a:pt x="1320" y="988"/>
                  </a:cubicBezTo>
                  <a:close/>
                  <a:moveTo>
                    <a:pt x="879" y="973"/>
                  </a:moveTo>
                  <a:cubicBezTo>
                    <a:pt x="882" y="977"/>
                    <a:pt x="887" y="980"/>
                    <a:pt x="892" y="982"/>
                  </a:cubicBezTo>
                  <a:cubicBezTo>
                    <a:pt x="895" y="982"/>
                    <a:pt x="896" y="977"/>
                    <a:pt x="899" y="979"/>
                  </a:cubicBezTo>
                  <a:cubicBezTo>
                    <a:pt x="902" y="967"/>
                    <a:pt x="887" y="975"/>
                    <a:pt x="879" y="973"/>
                  </a:cubicBezTo>
                  <a:close/>
                  <a:moveTo>
                    <a:pt x="726" y="988"/>
                  </a:moveTo>
                  <a:cubicBezTo>
                    <a:pt x="730" y="988"/>
                    <a:pt x="729" y="984"/>
                    <a:pt x="732" y="986"/>
                  </a:cubicBezTo>
                  <a:cubicBezTo>
                    <a:pt x="732" y="984"/>
                    <a:pt x="732" y="982"/>
                    <a:pt x="733" y="982"/>
                  </a:cubicBezTo>
                  <a:cubicBezTo>
                    <a:pt x="735" y="982"/>
                    <a:pt x="734" y="984"/>
                    <a:pt x="735" y="984"/>
                  </a:cubicBezTo>
                  <a:cubicBezTo>
                    <a:pt x="736" y="981"/>
                    <a:pt x="739" y="979"/>
                    <a:pt x="739" y="975"/>
                  </a:cubicBezTo>
                  <a:cubicBezTo>
                    <a:pt x="737" y="975"/>
                    <a:pt x="736" y="974"/>
                    <a:pt x="734" y="974"/>
                  </a:cubicBezTo>
                  <a:cubicBezTo>
                    <a:pt x="734" y="981"/>
                    <a:pt x="728" y="982"/>
                    <a:pt x="726" y="988"/>
                  </a:cubicBezTo>
                  <a:close/>
                  <a:moveTo>
                    <a:pt x="744" y="978"/>
                  </a:moveTo>
                  <a:cubicBezTo>
                    <a:pt x="744" y="977"/>
                    <a:pt x="747" y="977"/>
                    <a:pt x="746" y="975"/>
                  </a:cubicBezTo>
                  <a:cubicBezTo>
                    <a:pt x="744" y="972"/>
                    <a:pt x="741" y="977"/>
                    <a:pt x="744" y="978"/>
                  </a:cubicBezTo>
                  <a:close/>
                  <a:moveTo>
                    <a:pt x="920" y="982"/>
                  </a:moveTo>
                  <a:cubicBezTo>
                    <a:pt x="919" y="979"/>
                    <a:pt x="919" y="975"/>
                    <a:pt x="917" y="974"/>
                  </a:cubicBezTo>
                  <a:cubicBezTo>
                    <a:pt x="915" y="977"/>
                    <a:pt x="916" y="982"/>
                    <a:pt x="920" y="982"/>
                  </a:cubicBezTo>
                  <a:close/>
                  <a:moveTo>
                    <a:pt x="927" y="984"/>
                  </a:moveTo>
                  <a:cubicBezTo>
                    <a:pt x="926" y="981"/>
                    <a:pt x="926" y="977"/>
                    <a:pt x="925" y="975"/>
                  </a:cubicBezTo>
                  <a:cubicBezTo>
                    <a:pt x="924" y="975"/>
                    <a:pt x="924" y="974"/>
                    <a:pt x="923" y="974"/>
                  </a:cubicBezTo>
                  <a:cubicBezTo>
                    <a:pt x="924" y="978"/>
                    <a:pt x="923" y="983"/>
                    <a:pt x="927" y="984"/>
                  </a:cubicBezTo>
                  <a:close/>
                  <a:moveTo>
                    <a:pt x="729" y="980"/>
                  </a:moveTo>
                  <a:cubicBezTo>
                    <a:pt x="728" y="977"/>
                    <a:pt x="730" y="977"/>
                    <a:pt x="729" y="975"/>
                  </a:cubicBezTo>
                  <a:cubicBezTo>
                    <a:pt x="729" y="975"/>
                    <a:pt x="728" y="975"/>
                    <a:pt x="727" y="975"/>
                  </a:cubicBezTo>
                  <a:cubicBezTo>
                    <a:pt x="727" y="977"/>
                    <a:pt x="725" y="979"/>
                    <a:pt x="729" y="980"/>
                  </a:cubicBezTo>
                  <a:close/>
                  <a:moveTo>
                    <a:pt x="877" y="975"/>
                  </a:moveTo>
                  <a:cubicBezTo>
                    <a:pt x="873" y="975"/>
                    <a:pt x="871" y="975"/>
                    <a:pt x="869" y="977"/>
                  </a:cubicBezTo>
                  <a:cubicBezTo>
                    <a:pt x="872" y="982"/>
                    <a:pt x="876" y="987"/>
                    <a:pt x="882" y="991"/>
                  </a:cubicBezTo>
                  <a:cubicBezTo>
                    <a:pt x="884" y="989"/>
                    <a:pt x="887" y="987"/>
                    <a:pt x="889" y="985"/>
                  </a:cubicBezTo>
                  <a:cubicBezTo>
                    <a:pt x="887" y="979"/>
                    <a:pt x="879" y="980"/>
                    <a:pt x="877" y="975"/>
                  </a:cubicBezTo>
                  <a:close/>
                  <a:moveTo>
                    <a:pt x="1211" y="976"/>
                  </a:moveTo>
                  <a:cubicBezTo>
                    <a:pt x="1213" y="977"/>
                    <a:pt x="1215" y="977"/>
                    <a:pt x="1218" y="978"/>
                  </a:cubicBezTo>
                  <a:cubicBezTo>
                    <a:pt x="1219" y="973"/>
                    <a:pt x="1212" y="974"/>
                    <a:pt x="1211" y="976"/>
                  </a:cubicBezTo>
                  <a:close/>
                  <a:moveTo>
                    <a:pt x="752" y="992"/>
                  </a:moveTo>
                  <a:cubicBezTo>
                    <a:pt x="757" y="992"/>
                    <a:pt x="755" y="986"/>
                    <a:pt x="758" y="984"/>
                  </a:cubicBezTo>
                  <a:cubicBezTo>
                    <a:pt x="758" y="987"/>
                    <a:pt x="755" y="992"/>
                    <a:pt x="760" y="992"/>
                  </a:cubicBezTo>
                  <a:cubicBezTo>
                    <a:pt x="760" y="990"/>
                    <a:pt x="761" y="987"/>
                    <a:pt x="761" y="982"/>
                  </a:cubicBezTo>
                  <a:cubicBezTo>
                    <a:pt x="758" y="983"/>
                    <a:pt x="759" y="981"/>
                    <a:pt x="757" y="980"/>
                  </a:cubicBezTo>
                  <a:cubicBezTo>
                    <a:pt x="756" y="981"/>
                    <a:pt x="757" y="983"/>
                    <a:pt x="754" y="983"/>
                  </a:cubicBezTo>
                  <a:cubicBezTo>
                    <a:pt x="752" y="981"/>
                    <a:pt x="755" y="979"/>
                    <a:pt x="755" y="976"/>
                  </a:cubicBezTo>
                  <a:cubicBezTo>
                    <a:pt x="754" y="976"/>
                    <a:pt x="754" y="975"/>
                    <a:pt x="753" y="975"/>
                  </a:cubicBezTo>
                  <a:cubicBezTo>
                    <a:pt x="751" y="981"/>
                    <a:pt x="755" y="986"/>
                    <a:pt x="752" y="992"/>
                  </a:cubicBezTo>
                  <a:close/>
                  <a:moveTo>
                    <a:pt x="761" y="979"/>
                  </a:moveTo>
                  <a:cubicBezTo>
                    <a:pt x="763" y="979"/>
                    <a:pt x="763" y="976"/>
                    <a:pt x="761" y="976"/>
                  </a:cubicBezTo>
                  <a:cubicBezTo>
                    <a:pt x="761" y="977"/>
                    <a:pt x="761" y="978"/>
                    <a:pt x="761" y="979"/>
                  </a:cubicBezTo>
                  <a:close/>
                  <a:moveTo>
                    <a:pt x="767" y="986"/>
                  </a:moveTo>
                  <a:cubicBezTo>
                    <a:pt x="766" y="986"/>
                    <a:pt x="765" y="987"/>
                    <a:pt x="765" y="989"/>
                  </a:cubicBezTo>
                  <a:cubicBezTo>
                    <a:pt x="766" y="991"/>
                    <a:pt x="772" y="993"/>
                    <a:pt x="772" y="990"/>
                  </a:cubicBezTo>
                  <a:cubicBezTo>
                    <a:pt x="770" y="989"/>
                    <a:pt x="769" y="991"/>
                    <a:pt x="768" y="990"/>
                  </a:cubicBezTo>
                  <a:cubicBezTo>
                    <a:pt x="769" y="988"/>
                    <a:pt x="767" y="985"/>
                    <a:pt x="769" y="985"/>
                  </a:cubicBezTo>
                  <a:cubicBezTo>
                    <a:pt x="775" y="989"/>
                    <a:pt x="779" y="977"/>
                    <a:pt x="785" y="979"/>
                  </a:cubicBezTo>
                  <a:cubicBezTo>
                    <a:pt x="782" y="982"/>
                    <a:pt x="778" y="985"/>
                    <a:pt x="774" y="987"/>
                  </a:cubicBezTo>
                  <a:cubicBezTo>
                    <a:pt x="774" y="989"/>
                    <a:pt x="775" y="991"/>
                    <a:pt x="778" y="991"/>
                  </a:cubicBezTo>
                  <a:cubicBezTo>
                    <a:pt x="781" y="987"/>
                    <a:pt x="786" y="983"/>
                    <a:pt x="789" y="977"/>
                  </a:cubicBezTo>
                  <a:cubicBezTo>
                    <a:pt x="783" y="976"/>
                    <a:pt x="775" y="976"/>
                    <a:pt x="767" y="976"/>
                  </a:cubicBezTo>
                  <a:cubicBezTo>
                    <a:pt x="766" y="979"/>
                    <a:pt x="766" y="982"/>
                    <a:pt x="767" y="986"/>
                  </a:cubicBezTo>
                  <a:close/>
                  <a:moveTo>
                    <a:pt x="782" y="992"/>
                  </a:moveTo>
                  <a:cubicBezTo>
                    <a:pt x="791" y="991"/>
                    <a:pt x="803" y="994"/>
                    <a:pt x="810" y="990"/>
                  </a:cubicBezTo>
                  <a:cubicBezTo>
                    <a:pt x="803" y="987"/>
                    <a:pt x="799" y="982"/>
                    <a:pt x="793" y="978"/>
                  </a:cubicBezTo>
                  <a:cubicBezTo>
                    <a:pt x="790" y="984"/>
                    <a:pt x="784" y="986"/>
                    <a:pt x="782" y="992"/>
                  </a:cubicBezTo>
                  <a:close/>
                  <a:moveTo>
                    <a:pt x="738" y="991"/>
                  </a:moveTo>
                  <a:cubicBezTo>
                    <a:pt x="740" y="992"/>
                    <a:pt x="744" y="992"/>
                    <a:pt x="747" y="992"/>
                  </a:cubicBezTo>
                  <a:cubicBezTo>
                    <a:pt x="748" y="989"/>
                    <a:pt x="746" y="985"/>
                    <a:pt x="746" y="979"/>
                  </a:cubicBezTo>
                  <a:cubicBezTo>
                    <a:pt x="740" y="980"/>
                    <a:pt x="740" y="987"/>
                    <a:pt x="738" y="991"/>
                  </a:cubicBezTo>
                  <a:close/>
                  <a:moveTo>
                    <a:pt x="907" y="990"/>
                  </a:moveTo>
                  <a:cubicBezTo>
                    <a:pt x="909" y="990"/>
                    <a:pt x="911" y="991"/>
                    <a:pt x="912" y="990"/>
                  </a:cubicBezTo>
                  <a:cubicBezTo>
                    <a:pt x="912" y="985"/>
                    <a:pt x="908" y="982"/>
                    <a:pt x="907" y="979"/>
                  </a:cubicBezTo>
                  <a:cubicBezTo>
                    <a:pt x="905" y="982"/>
                    <a:pt x="907" y="988"/>
                    <a:pt x="907" y="990"/>
                  </a:cubicBezTo>
                  <a:close/>
                  <a:moveTo>
                    <a:pt x="865" y="980"/>
                  </a:moveTo>
                  <a:cubicBezTo>
                    <a:pt x="862" y="983"/>
                    <a:pt x="856" y="985"/>
                    <a:pt x="854" y="990"/>
                  </a:cubicBezTo>
                  <a:cubicBezTo>
                    <a:pt x="860" y="990"/>
                    <a:pt x="868" y="991"/>
                    <a:pt x="873" y="990"/>
                  </a:cubicBezTo>
                  <a:cubicBezTo>
                    <a:pt x="872" y="984"/>
                    <a:pt x="868" y="983"/>
                    <a:pt x="865" y="980"/>
                  </a:cubicBezTo>
                  <a:close/>
                  <a:moveTo>
                    <a:pt x="895" y="984"/>
                  </a:moveTo>
                  <a:cubicBezTo>
                    <a:pt x="897" y="985"/>
                    <a:pt x="898" y="988"/>
                    <a:pt x="901" y="988"/>
                  </a:cubicBezTo>
                  <a:cubicBezTo>
                    <a:pt x="902" y="980"/>
                    <a:pt x="897" y="978"/>
                    <a:pt x="895" y="984"/>
                  </a:cubicBezTo>
                  <a:close/>
                  <a:moveTo>
                    <a:pt x="1350" y="984"/>
                  </a:moveTo>
                  <a:cubicBezTo>
                    <a:pt x="1349" y="982"/>
                    <a:pt x="1350" y="980"/>
                    <a:pt x="1348" y="980"/>
                  </a:cubicBezTo>
                  <a:cubicBezTo>
                    <a:pt x="1349" y="983"/>
                    <a:pt x="1347" y="984"/>
                    <a:pt x="1350" y="984"/>
                  </a:cubicBezTo>
                  <a:close/>
                  <a:moveTo>
                    <a:pt x="1162" y="986"/>
                  </a:moveTo>
                  <a:cubicBezTo>
                    <a:pt x="1163" y="985"/>
                    <a:pt x="1164" y="980"/>
                    <a:pt x="1162" y="981"/>
                  </a:cubicBezTo>
                  <a:cubicBezTo>
                    <a:pt x="1162" y="982"/>
                    <a:pt x="1161" y="985"/>
                    <a:pt x="1162" y="986"/>
                  </a:cubicBezTo>
                  <a:close/>
                  <a:moveTo>
                    <a:pt x="918" y="992"/>
                  </a:moveTo>
                  <a:cubicBezTo>
                    <a:pt x="919" y="990"/>
                    <a:pt x="922" y="992"/>
                    <a:pt x="923" y="990"/>
                  </a:cubicBezTo>
                  <a:cubicBezTo>
                    <a:pt x="923" y="986"/>
                    <a:pt x="920" y="985"/>
                    <a:pt x="917" y="984"/>
                  </a:cubicBezTo>
                  <a:cubicBezTo>
                    <a:pt x="916" y="986"/>
                    <a:pt x="916" y="991"/>
                    <a:pt x="918" y="992"/>
                  </a:cubicBezTo>
                  <a:close/>
                  <a:moveTo>
                    <a:pt x="886" y="988"/>
                  </a:moveTo>
                  <a:cubicBezTo>
                    <a:pt x="887" y="994"/>
                    <a:pt x="895" y="989"/>
                    <a:pt x="899" y="991"/>
                  </a:cubicBezTo>
                  <a:cubicBezTo>
                    <a:pt x="897" y="985"/>
                    <a:pt x="891" y="986"/>
                    <a:pt x="886" y="988"/>
                  </a:cubicBezTo>
                  <a:close/>
                  <a:moveTo>
                    <a:pt x="729" y="991"/>
                  </a:moveTo>
                  <a:cubicBezTo>
                    <a:pt x="730" y="992"/>
                    <a:pt x="731" y="992"/>
                    <a:pt x="733" y="992"/>
                  </a:cubicBezTo>
                  <a:cubicBezTo>
                    <a:pt x="733" y="991"/>
                    <a:pt x="733" y="990"/>
                    <a:pt x="733" y="989"/>
                  </a:cubicBezTo>
                  <a:cubicBezTo>
                    <a:pt x="732" y="989"/>
                    <a:pt x="732" y="988"/>
                    <a:pt x="731" y="988"/>
                  </a:cubicBezTo>
                  <a:cubicBezTo>
                    <a:pt x="730" y="989"/>
                    <a:pt x="730" y="990"/>
                    <a:pt x="729" y="991"/>
                  </a:cubicBezTo>
                  <a:close/>
                  <a:moveTo>
                    <a:pt x="1194" y="990"/>
                  </a:moveTo>
                  <a:cubicBezTo>
                    <a:pt x="1187" y="990"/>
                    <a:pt x="1171" y="984"/>
                    <a:pt x="1166" y="992"/>
                  </a:cubicBezTo>
                  <a:cubicBezTo>
                    <a:pt x="1170" y="988"/>
                    <a:pt x="1173" y="994"/>
                    <a:pt x="1175" y="996"/>
                  </a:cubicBezTo>
                  <a:cubicBezTo>
                    <a:pt x="1178" y="994"/>
                    <a:pt x="1184" y="992"/>
                    <a:pt x="1186" y="995"/>
                  </a:cubicBezTo>
                  <a:cubicBezTo>
                    <a:pt x="1187" y="993"/>
                    <a:pt x="1185" y="991"/>
                    <a:pt x="1186" y="991"/>
                  </a:cubicBezTo>
                  <a:cubicBezTo>
                    <a:pt x="1190" y="991"/>
                    <a:pt x="1190" y="995"/>
                    <a:pt x="1193" y="995"/>
                  </a:cubicBezTo>
                  <a:cubicBezTo>
                    <a:pt x="1197" y="993"/>
                    <a:pt x="1200" y="993"/>
                    <a:pt x="1204" y="994"/>
                  </a:cubicBezTo>
                  <a:cubicBezTo>
                    <a:pt x="1206" y="994"/>
                    <a:pt x="1205" y="991"/>
                    <a:pt x="1207" y="991"/>
                  </a:cubicBezTo>
                  <a:cubicBezTo>
                    <a:pt x="1211" y="994"/>
                    <a:pt x="1216" y="992"/>
                    <a:pt x="1220" y="990"/>
                  </a:cubicBezTo>
                  <a:cubicBezTo>
                    <a:pt x="1212" y="986"/>
                    <a:pt x="1203" y="990"/>
                    <a:pt x="1194" y="990"/>
                  </a:cubicBezTo>
                  <a:close/>
                  <a:moveTo>
                    <a:pt x="1321" y="995"/>
                  </a:moveTo>
                  <a:cubicBezTo>
                    <a:pt x="1323" y="995"/>
                    <a:pt x="1322" y="993"/>
                    <a:pt x="1324" y="995"/>
                  </a:cubicBezTo>
                  <a:cubicBezTo>
                    <a:pt x="1324" y="993"/>
                    <a:pt x="1322" y="990"/>
                    <a:pt x="1320" y="992"/>
                  </a:cubicBezTo>
                  <a:cubicBezTo>
                    <a:pt x="1322" y="992"/>
                    <a:pt x="1321" y="994"/>
                    <a:pt x="1321" y="995"/>
                  </a:cubicBezTo>
                  <a:close/>
                  <a:moveTo>
                    <a:pt x="1133" y="998"/>
                  </a:moveTo>
                  <a:cubicBezTo>
                    <a:pt x="1136" y="998"/>
                    <a:pt x="1135" y="1000"/>
                    <a:pt x="1134" y="1001"/>
                  </a:cubicBezTo>
                  <a:cubicBezTo>
                    <a:pt x="1136" y="1001"/>
                    <a:pt x="1139" y="1004"/>
                    <a:pt x="1141" y="1001"/>
                  </a:cubicBezTo>
                  <a:cubicBezTo>
                    <a:pt x="1141" y="1002"/>
                    <a:pt x="1142" y="1003"/>
                    <a:pt x="1142" y="1003"/>
                  </a:cubicBezTo>
                  <a:cubicBezTo>
                    <a:pt x="1144" y="1002"/>
                    <a:pt x="1148" y="1003"/>
                    <a:pt x="1149" y="1001"/>
                  </a:cubicBezTo>
                  <a:cubicBezTo>
                    <a:pt x="1146" y="999"/>
                    <a:pt x="1140" y="1000"/>
                    <a:pt x="1138" y="997"/>
                  </a:cubicBezTo>
                  <a:cubicBezTo>
                    <a:pt x="1136" y="997"/>
                    <a:pt x="1133" y="996"/>
                    <a:pt x="1133" y="998"/>
                  </a:cubicBezTo>
                  <a:close/>
                  <a:moveTo>
                    <a:pt x="1102" y="1003"/>
                  </a:moveTo>
                  <a:cubicBezTo>
                    <a:pt x="1104" y="1005"/>
                    <a:pt x="1107" y="1003"/>
                    <a:pt x="1109" y="1004"/>
                  </a:cubicBezTo>
                  <a:cubicBezTo>
                    <a:pt x="1108" y="1002"/>
                    <a:pt x="1109" y="999"/>
                    <a:pt x="1106" y="999"/>
                  </a:cubicBezTo>
                  <a:cubicBezTo>
                    <a:pt x="1106" y="1002"/>
                    <a:pt x="1102" y="1000"/>
                    <a:pt x="1102" y="1003"/>
                  </a:cubicBezTo>
                  <a:close/>
                  <a:moveTo>
                    <a:pt x="1125" y="1004"/>
                  </a:moveTo>
                  <a:cubicBezTo>
                    <a:pt x="1125" y="1001"/>
                    <a:pt x="1124" y="999"/>
                    <a:pt x="1121" y="999"/>
                  </a:cubicBezTo>
                  <a:cubicBezTo>
                    <a:pt x="1122" y="1001"/>
                    <a:pt x="1122" y="1005"/>
                    <a:pt x="1125" y="1004"/>
                  </a:cubicBezTo>
                  <a:close/>
                  <a:moveTo>
                    <a:pt x="1095" y="1003"/>
                  </a:moveTo>
                  <a:cubicBezTo>
                    <a:pt x="1096" y="1003"/>
                    <a:pt x="1097" y="1004"/>
                    <a:pt x="1098" y="1003"/>
                  </a:cubicBezTo>
                  <a:cubicBezTo>
                    <a:pt x="1099" y="1002"/>
                    <a:pt x="1098" y="1002"/>
                    <a:pt x="1099" y="1000"/>
                  </a:cubicBezTo>
                  <a:cubicBezTo>
                    <a:pt x="1096" y="999"/>
                    <a:pt x="1096" y="1001"/>
                    <a:pt x="1095" y="1003"/>
                  </a:cubicBezTo>
                  <a:close/>
                  <a:moveTo>
                    <a:pt x="1177" y="1003"/>
                  </a:moveTo>
                  <a:cubicBezTo>
                    <a:pt x="1178" y="1003"/>
                    <a:pt x="1179" y="1003"/>
                    <a:pt x="1179" y="1003"/>
                  </a:cubicBezTo>
                  <a:cubicBezTo>
                    <a:pt x="1180" y="1002"/>
                    <a:pt x="1179" y="1001"/>
                    <a:pt x="1178" y="1001"/>
                  </a:cubicBezTo>
                  <a:cubicBezTo>
                    <a:pt x="1178" y="1002"/>
                    <a:pt x="1176" y="1002"/>
                    <a:pt x="1177" y="1003"/>
                  </a:cubicBezTo>
                  <a:close/>
                  <a:moveTo>
                    <a:pt x="1128" y="1002"/>
                  </a:moveTo>
                  <a:cubicBezTo>
                    <a:pt x="1128" y="1005"/>
                    <a:pt x="1133" y="1004"/>
                    <a:pt x="1133" y="1001"/>
                  </a:cubicBezTo>
                  <a:cubicBezTo>
                    <a:pt x="1131" y="1001"/>
                    <a:pt x="1130" y="1002"/>
                    <a:pt x="1128" y="1002"/>
                  </a:cubicBezTo>
                  <a:close/>
                  <a:moveTo>
                    <a:pt x="1208" y="1006"/>
                  </a:moveTo>
                  <a:cubicBezTo>
                    <a:pt x="1207" y="1004"/>
                    <a:pt x="1211" y="1005"/>
                    <a:pt x="1210" y="1003"/>
                  </a:cubicBezTo>
                  <a:cubicBezTo>
                    <a:pt x="1209" y="1003"/>
                    <a:pt x="1205" y="1002"/>
                    <a:pt x="1205" y="1003"/>
                  </a:cubicBezTo>
                  <a:cubicBezTo>
                    <a:pt x="1206" y="1004"/>
                    <a:pt x="1207" y="1006"/>
                    <a:pt x="1208" y="1006"/>
                  </a:cubicBezTo>
                  <a:close/>
                  <a:moveTo>
                    <a:pt x="889" y="1008"/>
                  </a:moveTo>
                  <a:cubicBezTo>
                    <a:pt x="889" y="1011"/>
                    <a:pt x="891" y="1010"/>
                    <a:pt x="893" y="1010"/>
                  </a:cubicBezTo>
                  <a:cubicBezTo>
                    <a:pt x="893" y="1008"/>
                    <a:pt x="890" y="1007"/>
                    <a:pt x="889" y="1008"/>
                  </a:cubicBezTo>
                  <a:close/>
                  <a:moveTo>
                    <a:pt x="994" y="1015"/>
                  </a:moveTo>
                  <a:cubicBezTo>
                    <a:pt x="997" y="1011"/>
                    <a:pt x="989" y="1007"/>
                    <a:pt x="988" y="1009"/>
                  </a:cubicBezTo>
                  <a:cubicBezTo>
                    <a:pt x="991" y="1010"/>
                    <a:pt x="992" y="1013"/>
                    <a:pt x="994" y="1015"/>
                  </a:cubicBezTo>
                  <a:close/>
                  <a:moveTo>
                    <a:pt x="1054" y="1010"/>
                  </a:moveTo>
                  <a:cubicBezTo>
                    <a:pt x="1054" y="1007"/>
                    <a:pt x="1052" y="1007"/>
                    <a:pt x="1050" y="1008"/>
                  </a:cubicBezTo>
                  <a:cubicBezTo>
                    <a:pt x="1050" y="1009"/>
                    <a:pt x="1052" y="1009"/>
                    <a:pt x="1054" y="1010"/>
                  </a:cubicBezTo>
                  <a:close/>
                  <a:moveTo>
                    <a:pt x="842" y="1015"/>
                  </a:moveTo>
                  <a:cubicBezTo>
                    <a:pt x="845" y="1018"/>
                    <a:pt x="847" y="1013"/>
                    <a:pt x="851" y="1014"/>
                  </a:cubicBezTo>
                  <a:cubicBezTo>
                    <a:pt x="849" y="1007"/>
                    <a:pt x="844" y="1011"/>
                    <a:pt x="842" y="1015"/>
                  </a:cubicBezTo>
                  <a:close/>
                  <a:moveTo>
                    <a:pt x="1002" y="1011"/>
                  </a:moveTo>
                  <a:cubicBezTo>
                    <a:pt x="1004" y="1011"/>
                    <a:pt x="1006" y="1012"/>
                    <a:pt x="1007" y="1010"/>
                  </a:cubicBezTo>
                  <a:cubicBezTo>
                    <a:pt x="1005" y="1010"/>
                    <a:pt x="1002" y="1008"/>
                    <a:pt x="1002" y="1011"/>
                  </a:cubicBezTo>
                  <a:close/>
                  <a:moveTo>
                    <a:pt x="1104" y="1012"/>
                  </a:moveTo>
                  <a:cubicBezTo>
                    <a:pt x="1105" y="1010"/>
                    <a:pt x="1103" y="1009"/>
                    <a:pt x="1102" y="1010"/>
                  </a:cubicBezTo>
                  <a:cubicBezTo>
                    <a:pt x="1101" y="1012"/>
                    <a:pt x="1103" y="1013"/>
                    <a:pt x="1104" y="1012"/>
                  </a:cubicBezTo>
                  <a:close/>
                  <a:moveTo>
                    <a:pt x="901" y="1013"/>
                  </a:moveTo>
                  <a:cubicBezTo>
                    <a:pt x="901" y="1014"/>
                    <a:pt x="904" y="1015"/>
                    <a:pt x="905" y="1014"/>
                  </a:cubicBezTo>
                  <a:cubicBezTo>
                    <a:pt x="905" y="1012"/>
                    <a:pt x="905" y="1011"/>
                    <a:pt x="903" y="1010"/>
                  </a:cubicBezTo>
                  <a:cubicBezTo>
                    <a:pt x="903" y="1012"/>
                    <a:pt x="900" y="1010"/>
                    <a:pt x="901" y="1013"/>
                  </a:cubicBezTo>
                  <a:close/>
                  <a:moveTo>
                    <a:pt x="927" y="1014"/>
                  </a:moveTo>
                  <a:cubicBezTo>
                    <a:pt x="930" y="1015"/>
                    <a:pt x="930" y="1009"/>
                    <a:pt x="927" y="1010"/>
                  </a:cubicBezTo>
                  <a:cubicBezTo>
                    <a:pt x="926" y="1011"/>
                    <a:pt x="928" y="1012"/>
                    <a:pt x="927" y="1014"/>
                  </a:cubicBezTo>
                  <a:close/>
                  <a:moveTo>
                    <a:pt x="869" y="1016"/>
                  </a:moveTo>
                  <a:cubicBezTo>
                    <a:pt x="873" y="1018"/>
                    <a:pt x="875" y="1018"/>
                    <a:pt x="880" y="1016"/>
                  </a:cubicBezTo>
                  <a:cubicBezTo>
                    <a:pt x="880" y="1018"/>
                    <a:pt x="879" y="1018"/>
                    <a:pt x="880" y="1020"/>
                  </a:cubicBezTo>
                  <a:cubicBezTo>
                    <a:pt x="881" y="1020"/>
                    <a:pt x="884" y="1022"/>
                    <a:pt x="886" y="1021"/>
                  </a:cubicBezTo>
                  <a:cubicBezTo>
                    <a:pt x="884" y="1020"/>
                    <a:pt x="883" y="1020"/>
                    <a:pt x="882" y="1019"/>
                  </a:cubicBezTo>
                  <a:cubicBezTo>
                    <a:pt x="885" y="1017"/>
                    <a:pt x="888" y="1015"/>
                    <a:pt x="892" y="1014"/>
                  </a:cubicBezTo>
                  <a:cubicBezTo>
                    <a:pt x="895" y="1016"/>
                    <a:pt x="895" y="1016"/>
                    <a:pt x="894" y="1019"/>
                  </a:cubicBezTo>
                  <a:cubicBezTo>
                    <a:pt x="900" y="1020"/>
                    <a:pt x="901" y="1019"/>
                    <a:pt x="903" y="1021"/>
                  </a:cubicBezTo>
                  <a:cubicBezTo>
                    <a:pt x="908" y="1015"/>
                    <a:pt x="894" y="1016"/>
                    <a:pt x="892" y="1012"/>
                  </a:cubicBezTo>
                  <a:cubicBezTo>
                    <a:pt x="886" y="1014"/>
                    <a:pt x="881" y="1014"/>
                    <a:pt x="875" y="1016"/>
                  </a:cubicBezTo>
                  <a:cubicBezTo>
                    <a:pt x="875" y="1015"/>
                    <a:pt x="875" y="1015"/>
                    <a:pt x="875" y="1014"/>
                  </a:cubicBezTo>
                  <a:cubicBezTo>
                    <a:pt x="877" y="1015"/>
                    <a:pt x="876" y="1013"/>
                    <a:pt x="876" y="1012"/>
                  </a:cubicBezTo>
                  <a:cubicBezTo>
                    <a:pt x="874" y="1012"/>
                    <a:pt x="873" y="1011"/>
                    <a:pt x="871" y="1011"/>
                  </a:cubicBezTo>
                  <a:cubicBezTo>
                    <a:pt x="873" y="1015"/>
                    <a:pt x="868" y="1013"/>
                    <a:pt x="869" y="1016"/>
                  </a:cubicBezTo>
                  <a:close/>
                  <a:moveTo>
                    <a:pt x="949" y="1012"/>
                  </a:moveTo>
                  <a:cubicBezTo>
                    <a:pt x="948" y="1015"/>
                    <a:pt x="951" y="1014"/>
                    <a:pt x="951" y="1016"/>
                  </a:cubicBezTo>
                  <a:cubicBezTo>
                    <a:pt x="953" y="1016"/>
                    <a:pt x="953" y="1014"/>
                    <a:pt x="955" y="1014"/>
                  </a:cubicBezTo>
                  <a:cubicBezTo>
                    <a:pt x="957" y="1015"/>
                    <a:pt x="958" y="1017"/>
                    <a:pt x="959" y="1018"/>
                  </a:cubicBezTo>
                  <a:cubicBezTo>
                    <a:pt x="960" y="1014"/>
                    <a:pt x="964" y="1018"/>
                    <a:pt x="965" y="1014"/>
                  </a:cubicBezTo>
                  <a:cubicBezTo>
                    <a:pt x="958" y="1013"/>
                    <a:pt x="955" y="1011"/>
                    <a:pt x="949" y="1012"/>
                  </a:cubicBezTo>
                  <a:close/>
                  <a:moveTo>
                    <a:pt x="918" y="1013"/>
                  </a:moveTo>
                  <a:cubicBezTo>
                    <a:pt x="918" y="1012"/>
                    <a:pt x="916" y="1012"/>
                    <a:pt x="914" y="1012"/>
                  </a:cubicBezTo>
                  <a:cubicBezTo>
                    <a:pt x="913" y="1014"/>
                    <a:pt x="918" y="1014"/>
                    <a:pt x="918" y="1013"/>
                  </a:cubicBezTo>
                  <a:close/>
                  <a:moveTo>
                    <a:pt x="1020" y="1018"/>
                  </a:moveTo>
                  <a:cubicBezTo>
                    <a:pt x="1018" y="1017"/>
                    <a:pt x="1017" y="1015"/>
                    <a:pt x="1015" y="1014"/>
                  </a:cubicBezTo>
                  <a:cubicBezTo>
                    <a:pt x="1014" y="1015"/>
                    <a:pt x="1018" y="1019"/>
                    <a:pt x="1020" y="1018"/>
                  </a:cubicBezTo>
                  <a:close/>
                  <a:moveTo>
                    <a:pt x="942" y="1019"/>
                  </a:moveTo>
                  <a:cubicBezTo>
                    <a:pt x="944" y="1019"/>
                    <a:pt x="946" y="1019"/>
                    <a:pt x="948" y="1019"/>
                  </a:cubicBezTo>
                  <a:cubicBezTo>
                    <a:pt x="946" y="1017"/>
                    <a:pt x="945" y="1015"/>
                    <a:pt x="942" y="1015"/>
                  </a:cubicBezTo>
                  <a:cubicBezTo>
                    <a:pt x="940" y="1018"/>
                    <a:pt x="943" y="1016"/>
                    <a:pt x="942" y="1019"/>
                  </a:cubicBezTo>
                  <a:close/>
                  <a:moveTo>
                    <a:pt x="866" y="1018"/>
                  </a:moveTo>
                  <a:cubicBezTo>
                    <a:pt x="865" y="1016"/>
                    <a:pt x="861" y="1015"/>
                    <a:pt x="859" y="1017"/>
                  </a:cubicBezTo>
                  <a:cubicBezTo>
                    <a:pt x="860" y="1019"/>
                    <a:pt x="865" y="1023"/>
                    <a:pt x="866" y="1018"/>
                  </a:cubicBezTo>
                  <a:close/>
                  <a:moveTo>
                    <a:pt x="1009" y="1018"/>
                  </a:moveTo>
                  <a:cubicBezTo>
                    <a:pt x="1009" y="1017"/>
                    <a:pt x="1005" y="1018"/>
                    <a:pt x="1004" y="1018"/>
                  </a:cubicBezTo>
                  <a:cubicBezTo>
                    <a:pt x="1004" y="1019"/>
                    <a:pt x="1009" y="1021"/>
                    <a:pt x="1009" y="1018"/>
                  </a:cubicBezTo>
                  <a:close/>
                  <a:moveTo>
                    <a:pt x="1035" y="1022"/>
                  </a:moveTo>
                  <a:cubicBezTo>
                    <a:pt x="1036" y="1020"/>
                    <a:pt x="1035" y="1019"/>
                    <a:pt x="1033" y="1018"/>
                  </a:cubicBezTo>
                  <a:cubicBezTo>
                    <a:pt x="1033" y="1020"/>
                    <a:pt x="1033" y="1022"/>
                    <a:pt x="1035" y="1022"/>
                  </a:cubicBezTo>
                  <a:close/>
                  <a:moveTo>
                    <a:pt x="1052" y="1020"/>
                  </a:moveTo>
                  <a:cubicBezTo>
                    <a:pt x="1050" y="1020"/>
                    <a:pt x="1050" y="1018"/>
                    <a:pt x="1048" y="1018"/>
                  </a:cubicBezTo>
                  <a:cubicBezTo>
                    <a:pt x="1048" y="1020"/>
                    <a:pt x="1051" y="1021"/>
                    <a:pt x="1052" y="1020"/>
                  </a:cubicBezTo>
                  <a:close/>
                  <a:moveTo>
                    <a:pt x="836" y="1022"/>
                  </a:moveTo>
                  <a:cubicBezTo>
                    <a:pt x="839" y="1021"/>
                    <a:pt x="840" y="1022"/>
                    <a:pt x="841" y="1023"/>
                  </a:cubicBezTo>
                  <a:cubicBezTo>
                    <a:pt x="841" y="1020"/>
                    <a:pt x="839" y="1020"/>
                    <a:pt x="836" y="1019"/>
                  </a:cubicBezTo>
                  <a:cubicBezTo>
                    <a:pt x="836" y="1020"/>
                    <a:pt x="836" y="1021"/>
                    <a:pt x="836" y="1022"/>
                  </a:cubicBezTo>
                  <a:close/>
                  <a:moveTo>
                    <a:pt x="961" y="1025"/>
                  </a:moveTo>
                  <a:cubicBezTo>
                    <a:pt x="961" y="1024"/>
                    <a:pt x="961" y="1023"/>
                    <a:pt x="961" y="1022"/>
                  </a:cubicBezTo>
                  <a:cubicBezTo>
                    <a:pt x="958" y="1021"/>
                    <a:pt x="959" y="1024"/>
                    <a:pt x="956" y="1023"/>
                  </a:cubicBezTo>
                  <a:cubicBezTo>
                    <a:pt x="957" y="1020"/>
                    <a:pt x="953" y="1021"/>
                    <a:pt x="953" y="1020"/>
                  </a:cubicBezTo>
                  <a:cubicBezTo>
                    <a:pt x="951" y="1025"/>
                    <a:pt x="956" y="1025"/>
                    <a:pt x="961" y="1025"/>
                  </a:cubicBezTo>
                  <a:close/>
                  <a:moveTo>
                    <a:pt x="855" y="1025"/>
                  </a:moveTo>
                  <a:cubicBezTo>
                    <a:pt x="855" y="1024"/>
                    <a:pt x="856" y="1023"/>
                    <a:pt x="856" y="1022"/>
                  </a:cubicBezTo>
                  <a:cubicBezTo>
                    <a:pt x="853" y="1023"/>
                    <a:pt x="854" y="1020"/>
                    <a:pt x="851" y="1021"/>
                  </a:cubicBezTo>
                  <a:cubicBezTo>
                    <a:pt x="851" y="1024"/>
                    <a:pt x="854" y="1023"/>
                    <a:pt x="855" y="1025"/>
                  </a:cubicBezTo>
                  <a:close/>
                  <a:moveTo>
                    <a:pt x="866" y="1024"/>
                  </a:moveTo>
                  <a:cubicBezTo>
                    <a:pt x="866" y="1023"/>
                    <a:pt x="866" y="1022"/>
                    <a:pt x="866" y="1021"/>
                  </a:cubicBezTo>
                  <a:cubicBezTo>
                    <a:pt x="865" y="1021"/>
                    <a:pt x="864" y="1021"/>
                    <a:pt x="862" y="1021"/>
                  </a:cubicBezTo>
                  <a:cubicBezTo>
                    <a:pt x="862" y="1024"/>
                    <a:pt x="864" y="1024"/>
                    <a:pt x="866" y="1024"/>
                  </a:cubicBezTo>
                  <a:close/>
                  <a:moveTo>
                    <a:pt x="1071" y="1025"/>
                  </a:moveTo>
                  <a:cubicBezTo>
                    <a:pt x="1072" y="1025"/>
                    <a:pt x="1074" y="1025"/>
                    <a:pt x="1075" y="1025"/>
                  </a:cubicBezTo>
                  <a:cubicBezTo>
                    <a:pt x="1075" y="1023"/>
                    <a:pt x="1074" y="1022"/>
                    <a:pt x="1073" y="1021"/>
                  </a:cubicBezTo>
                  <a:cubicBezTo>
                    <a:pt x="1072" y="1023"/>
                    <a:pt x="1071" y="1023"/>
                    <a:pt x="1071" y="1025"/>
                  </a:cubicBezTo>
                  <a:close/>
                  <a:moveTo>
                    <a:pt x="911" y="1024"/>
                  </a:moveTo>
                  <a:cubicBezTo>
                    <a:pt x="913" y="1025"/>
                    <a:pt x="917" y="1025"/>
                    <a:pt x="917" y="1023"/>
                  </a:cubicBezTo>
                  <a:cubicBezTo>
                    <a:pt x="917" y="1023"/>
                    <a:pt x="916" y="1023"/>
                    <a:pt x="916" y="1022"/>
                  </a:cubicBezTo>
                  <a:cubicBezTo>
                    <a:pt x="914" y="1023"/>
                    <a:pt x="912" y="1021"/>
                    <a:pt x="911" y="1024"/>
                  </a:cubicBezTo>
                  <a:close/>
                  <a:moveTo>
                    <a:pt x="678" y="1026"/>
                  </a:moveTo>
                  <a:cubicBezTo>
                    <a:pt x="680" y="1027"/>
                    <a:pt x="680" y="1029"/>
                    <a:pt x="683" y="1029"/>
                  </a:cubicBezTo>
                  <a:cubicBezTo>
                    <a:pt x="682" y="1027"/>
                    <a:pt x="685" y="1028"/>
                    <a:pt x="685" y="1027"/>
                  </a:cubicBezTo>
                  <a:cubicBezTo>
                    <a:pt x="684" y="1026"/>
                    <a:pt x="684" y="1025"/>
                    <a:pt x="683" y="1024"/>
                  </a:cubicBezTo>
                  <a:cubicBezTo>
                    <a:pt x="681" y="1024"/>
                    <a:pt x="679" y="1024"/>
                    <a:pt x="678" y="1026"/>
                  </a:cubicBezTo>
                  <a:close/>
                  <a:moveTo>
                    <a:pt x="892" y="1025"/>
                  </a:moveTo>
                  <a:cubicBezTo>
                    <a:pt x="892" y="1028"/>
                    <a:pt x="894" y="1025"/>
                    <a:pt x="897" y="1027"/>
                  </a:cubicBezTo>
                  <a:cubicBezTo>
                    <a:pt x="897" y="1023"/>
                    <a:pt x="894" y="1024"/>
                    <a:pt x="892" y="1025"/>
                  </a:cubicBezTo>
                  <a:close/>
                  <a:moveTo>
                    <a:pt x="1339" y="1033"/>
                  </a:moveTo>
                  <a:cubicBezTo>
                    <a:pt x="1336" y="1033"/>
                    <a:pt x="1332" y="1032"/>
                    <a:pt x="1330" y="1033"/>
                  </a:cubicBezTo>
                  <a:cubicBezTo>
                    <a:pt x="1333" y="1033"/>
                    <a:pt x="1337" y="1034"/>
                    <a:pt x="1339" y="1033"/>
                  </a:cubicBezTo>
                  <a:close/>
                  <a:moveTo>
                    <a:pt x="1159" y="1036"/>
                  </a:moveTo>
                  <a:cubicBezTo>
                    <a:pt x="1163" y="1036"/>
                    <a:pt x="1167" y="1036"/>
                    <a:pt x="1169" y="1036"/>
                  </a:cubicBezTo>
                  <a:cubicBezTo>
                    <a:pt x="1167" y="1034"/>
                    <a:pt x="1161" y="1034"/>
                    <a:pt x="1159" y="1036"/>
                  </a:cubicBezTo>
                  <a:close/>
                  <a:moveTo>
                    <a:pt x="1199" y="1041"/>
                  </a:moveTo>
                  <a:cubicBezTo>
                    <a:pt x="1198" y="1038"/>
                    <a:pt x="1193" y="1039"/>
                    <a:pt x="1194" y="1035"/>
                  </a:cubicBezTo>
                  <a:cubicBezTo>
                    <a:pt x="1192" y="1035"/>
                    <a:pt x="1188" y="1034"/>
                    <a:pt x="1187" y="1036"/>
                  </a:cubicBezTo>
                  <a:cubicBezTo>
                    <a:pt x="1190" y="1036"/>
                    <a:pt x="1191" y="1039"/>
                    <a:pt x="1194" y="1037"/>
                  </a:cubicBezTo>
                  <a:cubicBezTo>
                    <a:pt x="1194" y="1039"/>
                    <a:pt x="1195" y="1043"/>
                    <a:pt x="1199" y="1041"/>
                  </a:cubicBezTo>
                  <a:close/>
                  <a:moveTo>
                    <a:pt x="1210" y="1041"/>
                  </a:moveTo>
                  <a:cubicBezTo>
                    <a:pt x="1210" y="1039"/>
                    <a:pt x="1208" y="1038"/>
                    <a:pt x="1207" y="1036"/>
                  </a:cubicBezTo>
                  <a:cubicBezTo>
                    <a:pt x="1207" y="1036"/>
                    <a:pt x="1206" y="1036"/>
                    <a:pt x="1205" y="1036"/>
                  </a:cubicBezTo>
                  <a:cubicBezTo>
                    <a:pt x="1206" y="1038"/>
                    <a:pt x="1207" y="1041"/>
                    <a:pt x="1210" y="1041"/>
                  </a:cubicBezTo>
                  <a:close/>
                  <a:moveTo>
                    <a:pt x="1211" y="1038"/>
                  </a:moveTo>
                  <a:cubicBezTo>
                    <a:pt x="1213" y="1039"/>
                    <a:pt x="1213" y="1038"/>
                    <a:pt x="1216" y="1038"/>
                  </a:cubicBezTo>
                  <a:cubicBezTo>
                    <a:pt x="1216" y="1036"/>
                    <a:pt x="1214" y="1036"/>
                    <a:pt x="1212" y="1036"/>
                  </a:cubicBezTo>
                  <a:cubicBezTo>
                    <a:pt x="1212" y="1037"/>
                    <a:pt x="1211" y="1038"/>
                    <a:pt x="1211" y="1038"/>
                  </a:cubicBezTo>
                  <a:close/>
                  <a:moveTo>
                    <a:pt x="1233" y="1038"/>
                  </a:moveTo>
                  <a:cubicBezTo>
                    <a:pt x="1234" y="1038"/>
                    <a:pt x="1238" y="1039"/>
                    <a:pt x="1239" y="1038"/>
                  </a:cubicBezTo>
                  <a:cubicBezTo>
                    <a:pt x="1237" y="1037"/>
                    <a:pt x="1233" y="1035"/>
                    <a:pt x="1233" y="1038"/>
                  </a:cubicBezTo>
                  <a:close/>
                  <a:moveTo>
                    <a:pt x="1220" y="1038"/>
                  </a:moveTo>
                  <a:cubicBezTo>
                    <a:pt x="1221" y="1039"/>
                    <a:pt x="1221" y="1040"/>
                    <a:pt x="1221" y="1042"/>
                  </a:cubicBezTo>
                  <a:cubicBezTo>
                    <a:pt x="1222" y="1042"/>
                    <a:pt x="1223" y="1041"/>
                    <a:pt x="1224" y="1040"/>
                  </a:cubicBezTo>
                  <a:cubicBezTo>
                    <a:pt x="1222" y="1040"/>
                    <a:pt x="1224" y="1038"/>
                    <a:pt x="1223" y="1037"/>
                  </a:cubicBezTo>
                  <a:cubicBezTo>
                    <a:pt x="1221" y="1037"/>
                    <a:pt x="1220" y="1037"/>
                    <a:pt x="1220" y="1038"/>
                  </a:cubicBezTo>
                  <a:close/>
                  <a:moveTo>
                    <a:pt x="1240" y="1038"/>
                  </a:moveTo>
                  <a:cubicBezTo>
                    <a:pt x="1242" y="1038"/>
                    <a:pt x="1243" y="1038"/>
                    <a:pt x="1245" y="1038"/>
                  </a:cubicBezTo>
                  <a:cubicBezTo>
                    <a:pt x="1245" y="1038"/>
                    <a:pt x="1245" y="1037"/>
                    <a:pt x="1245" y="1037"/>
                  </a:cubicBezTo>
                  <a:cubicBezTo>
                    <a:pt x="1243" y="1037"/>
                    <a:pt x="1242" y="1037"/>
                    <a:pt x="1240" y="1037"/>
                  </a:cubicBezTo>
                  <a:cubicBezTo>
                    <a:pt x="1240" y="1037"/>
                    <a:pt x="1240" y="1038"/>
                    <a:pt x="1240" y="1038"/>
                  </a:cubicBezTo>
                  <a:close/>
                  <a:moveTo>
                    <a:pt x="1252" y="1041"/>
                  </a:moveTo>
                  <a:cubicBezTo>
                    <a:pt x="1252" y="1039"/>
                    <a:pt x="1250" y="1038"/>
                    <a:pt x="1248" y="1037"/>
                  </a:cubicBezTo>
                  <a:cubicBezTo>
                    <a:pt x="1248" y="1040"/>
                    <a:pt x="1249" y="1041"/>
                    <a:pt x="1252" y="1041"/>
                  </a:cubicBezTo>
                  <a:close/>
                  <a:moveTo>
                    <a:pt x="1285" y="1038"/>
                  </a:moveTo>
                  <a:cubicBezTo>
                    <a:pt x="1282" y="1039"/>
                    <a:pt x="1281" y="1035"/>
                    <a:pt x="1279" y="1038"/>
                  </a:cubicBezTo>
                  <a:cubicBezTo>
                    <a:pt x="1280" y="1038"/>
                    <a:pt x="1284" y="1040"/>
                    <a:pt x="1285" y="1038"/>
                  </a:cubicBezTo>
                  <a:close/>
                  <a:moveTo>
                    <a:pt x="1166" y="1042"/>
                  </a:moveTo>
                  <a:cubicBezTo>
                    <a:pt x="1163" y="1043"/>
                    <a:pt x="1160" y="1041"/>
                    <a:pt x="1159" y="1042"/>
                  </a:cubicBezTo>
                  <a:cubicBezTo>
                    <a:pt x="1159" y="1044"/>
                    <a:pt x="1166" y="1045"/>
                    <a:pt x="1166" y="1042"/>
                  </a:cubicBezTo>
                  <a:close/>
                  <a:moveTo>
                    <a:pt x="1110" y="1054"/>
                  </a:moveTo>
                  <a:cubicBezTo>
                    <a:pt x="1112" y="1055"/>
                    <a:pt x="1114" y="1048"/>
                    <a:pt x="1112" y="1049"/>
                  </a:cubicBezTo>
                  <a:cubicBezTo>
                    <a:pt x="1112" y="1052"/>
                    <a:pt x="1109" y="1051"/>
                    <a:pt x="1110" y="1054"/>
                  </a:cubicBezTo>
                  <a:close/>
                </a:path>
              </a:pathLst>
            </a:custGeom>
            <a:solidFill>
              <a:srgbClr val="DA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-2916238" y="180975"/>
              <a:ext cx="9628846" cy="7134383"/>
            </a:xfrm>
            <a:custGeom>
              <a:avLst/>
              <a:gdLst>
                <a:gd name="T0" fmla="*/ 2147483647 w 1435"/>
                <a:gd name="T1" fmla="*/ 2147483647 h 1062"/>
                <a:gd name="T2" fmla="*/ 2147483647 w 1435"/>
                <a:gd name="T3" fmla="*/ 2147483647 h 1062"/>
                <a:gd name="T4" fmla="*/ 2147483647 w 1435"/>
                <a:gd name="T5" fmla="*/ 2147483647 h 1062"/>
                <a:gd name="T6" fmla="*/ 2147483647 w 1435"/>
                <a:gd name="T7" fmla="*/ 2147483647 h 1062"/>
                <a:gd name="T8" fmla="*/ 2147483647 w 1435"/>
                <a:gd name="T9" fmla="*/ 2147483647 h 1062"/>
                <a:gd name="T10" fmla="*/ 2147483647 w 1435"/>
                <a:gd name="T11" fmla="*/ 2147483647 h 1062"/>
                <a:gd name="T12" fmla="*/ 2147483647 w 1435"/>
                <a:gd name="T13" fmla="*/ 2147483647 h 1062"/>
                <a:gd name="T14" fmla="*/ 2147483647 w 1435"/>
                <a:gd name="T15" fmla="*/ 2147483647 h 1062"/>
                <a:gd name="T16" fmla="*/ 2147483647 w 1435"/>
                <a:gd name="T17" fmla="*/ 2147483647 h 1062"/>
                <a:gd name="T18" fmla="*/ 2147483647 w 1435"/>
                <a:gd name="T19" fmla="*/ 2147483647 h 1062"/>
                <a:gd name="T20" fmla="*/ 2147483647 w 1435"/>
                <a:gd name="T21" fmla="*/ 2147483647 h 1062"/>
                <a:gd name="T22" fmla="*/ 2147483647 w 1435"/>
                <a:gd name="T23" fmla="*/ 2147483647 h 1062"/>
                <a:gd name="T24" fmla="*/ 2147483647 w 1435"/>
                <a:gd name="T25" fmla="*/ 2147483647 h 1062"/>
                <a:gd name="T26" fmla="*/ 2147483647 w 1435"/>
                <a:gd name="T27" fmla="*/ 2147483647 h 1062"/>
                <a:gd name="T28" fmla="*/ 2147483647 w 1435"/>
                <a:gd name="T29" fmla="*/ 2147483647 h 1062"/>
                <a:gd name="T30" fmla="*/ 2147483647 w 1435"/>
                <a:gd name="T31" fmla="*/ 2147483647 h 1062"/>
                <a:gd name="T32" fmla="*/ 2147483647 w 1435"/>
                <a:gd name="T33" fmla="*/ 2147483647 h 1062"/>
                <a:gd name="T34" fmla="*/ 2147483647 w 1435"/>
                <a:gd name="T35" fmla="*/ 2147483647 h 1062"/>
                <a:gd name="T36" fmla="*/ 2147483647 w 1435"/>
                <a:gd name="T37" fmla="*/ 2147483647 h 1062"/>
                <a:gd name="T38" fmla="*/ 2147483647 w 1435"/>
                <a:gd name="T39" fmla="*/ 2147483647 h 1062"/>
                <a:gd name="T40" fmla="*/ 2147483647 w 1435"/>
                <a:gd name="T41" fmla="*/ 2147483647 h 1062"/>
                <a:gd name="T42" fmla="*/ 2147483647 w 1435"/>
                <a:gd name="T43" fmla="*/ 2147483647 h 1062"/>
                <a:gd name="T44" fmla="*/ 2147483647 w 1435"/>
                <a:gd name="T45" fmla="*/ 2147483647 h 1062"/>
                <a:gd name="T46" fmla="*/ 2147483647 w 1435"/>
                <a:gd name="T47" fmla="*/ 2147483647 h 1062"/>
                <a:gd name="T48" fmla="*/ 2147483647 w 1435"/>
                <a:gd name="T49" fmla="*/ 2147483647 h 1062"/>
                <a:gd name="T50" fmla="*/ 2147483647 w 1435"/>
                <a:gd name="T51" fmla="*/ 2147483647 h 1062"/>
                <a:gd name="T52" fmla="*/ 2147483647 w 1435"/>
                <a:gd name="T53" fmla="*/ 2147483647 h 1062"/>
                <a:gd name="T54" fmla="*/ 2147483647 w 1435"/>
                <a:gd name="T55" fmla="*/ 2147483647 h 1062"/>
                <a:gd name="T56" fmla="*/ 2147483647 w 1435"/>
                <a:gd name="T57" fmla="*/ 2147483647 h 1062"/>
                <a:gd name="T58" fmla="*/ 2147483647 w 1435"/>
                <a:gd name="T59" fmla="*/ 2147483647 h 1062"/>
                <a:gd name="T60" fmla="*/ 2147483647 w 1435"/>
                <a:gd name="T61" fmla="*/ 2147483647 h 1062"/>
                <a:gd name="T62" fmla="*/ 2147483647 w 1435"/>
                <a:gd name="T63" fmla="*/ 2147483647 h 1062"/>
                <a:gd name="T64" fmla="*/ 2147483647 w 1435"/>
                <a:gd name="T65" fmla="*/ 2147483647 h 1062"/>
                <a:gd name="T66" fmla="*/ 2147483647 w 1435"/>
                <a:gd name="T67" fmla="*/ 2147483647 h 1062"/>
                <a:gd name="T68" fmla="*/ 2147483647 w 1435"/>
                <a:gd name="T69" fmla="*/ 2147483647 h 1062"/>
                <a:gd name="T70" fmla="*/ 2147483647 w 1435"/>
                <a:gd name="T71" fmla="*/ 2147483647 h 1062"/>
                <a:gd name="T72" fmla="*/ 2147483647 w 1435"/>
                <a:gd name="T73" fmla="*/ 2147483647 h 1062"/>
                <a:gd name="T74" fmla="*/ 2147483647 w 1435"/>
                <a:gd name="T75" fmla="*/ 2147483647 h 1062"/>
                <a:gd name="T76" fmla="*/ 2147483647 w 1435"/>
                <a:gd name="T77" fmla="*/ 2147483647 h 1062"/>
                <a:gd name="T78" fmla="*/ 2147483647 w 1435"/>
                <a:gd name="T79" fmla="*/ 2147483647 h 1062"/>
                <a:gd name="T80" fmla="*/ 2147483647 w 1435"/>
                <a:gd name="T81" fmla="*/ 2147483647 h 1062"/>
                <a:gd name="T82" fmla="*/ 2147483647 w 1435"/>
                <a:gd name="T83" fmla="*/ 2147483647 h 1062"/>
                <a:gd name="T84" fmla="*/ 2147483647 w 1435"/>
                <a:gd name="T85" fmla="*/ 2147483647 h 1062"/>
                <a:gd name="T86" fmla="*/ 2147483647 w 1435"/>
                <a:gd name="T87" fmla="*/ 2147483647 h 1062"/>
                <a:gd name="T88" fmla="*/ 2147483647 w 1435"/>
                <a:gd name="T89" fmla="*/ 2147483647 h 1062"/>
                <a:gd name="T90" fmla="*/ 2147483647 w 1435"/>
                <a:gd name="T91" fmla="*/ 2147483647 h 1062"/>
                <a:gd name="T92" fmla="*/ 2147483647 w 1435"/>
                <a:gd name="T93" fmla="*/ 2147483647 h 1062"/>
                <a:gd name="T94" fmla="*/ 2147483647 w 1435"/>
                <a:gd name="T95" fmla="*/ 2147483647 h 1062"/>
                <a:gd name="T96" fmla="*/ 2147483647 w 1435"/>
                <a:gd name="T97" fmla="*/ 2147483647 h 1062"/>
                <a:gd name="T98" fmla="*/ 2147483647 w 1435"/>
                <a:gd name="T99" fmla="*/ 2147483647 h 1062"/>
                <a:gd name="T100" fmla="*/ 2147483647 w 1435"/>
                <a:gd name="T101" fmla="*/ 2147483647 h 1062"/>
                <a:gd name="T102" fmla="*/ 2147483647 w 1435"/>
                <a:gd name="T103" fmla="*/ 2147483647 h 1062"/>
                <a:gd name="T104" fmla="*/ 2147483647 w 1435"/>
                <a:gd name="T105" fmla="*/ 2147483647 h 1062"/>
                <a:gd name="T106" fmla="*/ 2147483647 w 1435"/>
                <a:gd name="T107" fmla="*/ 2147483647 h 1062"/>
                <a:gd name="T108" fmla="*/ 2147483647 w 1435"/>
                <a:gd name="T109" fmla="*/ 2147483647 h 1062"/>
                <a:gd name="T110" fmla="*/ 2147483647 w 1435"/>
                <a:gd name="T111" fmla="*/ 2147483647 h 1062"/>
                <a:gd name="T112" fmla="*/ 2147483647 w 1435"/>
                <a:gd name="T113" fmla="*/ 2147483647 h 1062"/>
                <a:gd name="T114" fmla="*/ 2147483647 w 1435"/>
                <a:gd name="T115" fmla="*/ 2147483647 h 1062"/>
                <a:gd name="T116" fmla="*/ 2147483647 w 1435"/>
                <a:gd name="T117" fmla="*/ 2147483647 h 1062"/>
                <a:gd name="T118" fmla="*/ 2147483647 w 1435"/>
                <a:gd name="T119" fmla="*/ 2147483647 h 1062"/>
                <a:gd name="T120" fmla="*/ 2147483647 w 1435"/>
                <a:gd name="T121" fmla="*/ 2147483647 h 1062"/>
                <a:gd name="T122" fmla="*/ 2147483647 w 1435"/>
                <a:gd name="T123" fmla="*/ 2147483647 h 10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35" h="1062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20" y="12"/>
                    <a:pt x="39" y="25"/>
                    <a:pt x="56" y="37"/>
                  </a:cubicBezTo>
                  <a:cubicBezTo>
                    <a:pt x="61" y="41"/>
                    <a:pt x="66" y="46"/>
                    <a:pt x="72" y="46"/>
                  </a:cubicBezTo>
                  <a:cubicBezTo>
                    <a:pt x="53" y="30"/>
                    <a:pt x="30" y="17"/>
                    <a:pt x="11" y="0"/>
                  </a:cubicBezTo>
                  <a:cubicBezTo>
                    <a:pt x="13" y="0"/>
                    <a:pt x="14" y="0"/>
                    <a:pt x="16" y="0"/>
                  </a:cubicBezTo>
                  <a:cubicBezTo>
                    <a:pt x="22" y="6"/>
                    <a:pt x="31" y="12"/>
                    <a:pt x="41" y="19"/>
                  </a:cubicBezTo>
                  <a:cubicBezTo>
                    <a:pt x="52" y="27"/>
                    <a:pt x="62" y="39"/>
                    <a:pt x="76" y="33"/>
                  </a:cubicBezTo>
                  <a:cubicBezTo>
                    <a:pt x="70" y="28"/>
                    <a:pt x="64" y="23"/>
                    <a:pt x="56" y="18"/>
                  </a:cubicBezTo>
                  <a:cubicBezTo>
                    <a:pt x="49" y="12"/>
                    <a:pt x="39" y="8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52" y="11"/>
                    <a:pt x="66" y="22"/>
                    <a:pt x="81" y="31"/>
                  </a:cubicBezTo>
                  <a:cubicBezTo>
                    <a:pt x="116" y="59"/>
                    <a:pt x="155" y="84"/>
                    <a:pt x="190" y="112"/>
                  </a:cubicBezTo>
                  <a:cubicBezTo>
                    <a:pt x="290" y="183"/>
                    <a:pt x="389" y="254"/>
                    <a:pt x="489" y="324"/>
                  </a:cubicBezTo>
                  <a:cubicBezTo>
                    <a:pt x="514" y="338"/>
                    <a:pt x="535" y="356"/>
                    <a:pt x="559" y="370"/>
                  </a:cubicBezTo>
                  <a:cubicBezTo>
                    <a:pt x="567" y="379"/>
                    <a:pt x="580" y="383"/>
                    <a:pt x="587" y="392"/>
                  </a:cubicBezTo>
                  <a:cubicBezTo>
                    <a:pt x="624" y="413"/>
                    <a:pt x="657" y="437"/>
                    <a:pt x="692" y="459"/>
                  </a:cubicBezTo>
                  <a:cubicBezTo>
                    <a:pt x="695" y="452"/>
                    <a:pt x="693" y="440"/>
                    <a:pt x="691" y="435"/>
                  </a:cubicBezTo>
                  <a:cubicBezTo>
                    <a:pt x="718" y="428"/>
                    <a:pt x="741" y="416"/>
                    <a:pt x="766" y="407"/>
                  </a:cubicBezTo>
                  <a:cubicBezTo>
                    <a:pt x="758" y="392"/>
                    <a:pt x="746" y="381"/>
                    <a:pt x="738" y="367"/>
                  </a:cubicBezTo>
                  <a:cubicBezTo>
                    <a:pt x="736" y="367"/>
                    <a:pt x="735" y="366"/>
                    <a:pt x="733" y="366"/>
                  </a:cubicBezTo>
                  <a:cubicBezTo>
                    <a:pt x="732" y="364"/>
                    <a:pt x="734" y="363"/>
                    <a:pt x="734" y="362"/>
                  </a:cubicBezTo>
                  <a:cubicBezTo>
                    <a:pt x="733" y="363"/>
                    <a:pt x="727" y="361"/>
                    <a:pt x="729" y="358"/>
                  </a:cubicBezTo>
                  <a:cubicBezTo>
                    <a:pt x="731" y="356"/>
                    <a:pt x="733" y="359"/>
                    <a:pt x="734" y="361"/>
                  </a:cubicBezTo>
                  <a:cubicBezTo>
                    <a:pt x="739" y="359"/>
                    <a:pt x="731" y="355"/>
                    <a:pt x="733" y="354"/>
                  </a:cubicBezTo>
                  <a:cubicBezTo>
                    <a:pt x="733" y="350"/>
                    <a:pt x="736" y="356"/>
                    <a:pt x="737" y="353"/>
                  </a:cubicBezTo>
                  <a:cubicBezTo>
                    <a:pt x="736" y="340"/>
                    <a:pt x="737" y="322"/>
                    <a:pt x="736" y="303"/>
                  </a:cubicBezTo>
                  <a:cubicBezTo>
                    <a:pt x="734" y="299"/>
                    <a:pt x="729" y="297"/>
                    <a:pt x="727" y="293"/>
                  </a:cubicBezTo>
                  <a:cubicBezTo>
                    <a:pt x="731" y="291"/>
                    <a:pt x="730" y="297"/>
                    <a:pt x="734" y="296"/>
                  </a:cubicBezTo>
                  <a:cubicBezTo>
                    <a:pt x="723" y="284"/>
                    <a:pt x="708" y="275"/>
                    <a:pt x="699" y="261"/>
                  </a:cubicBezTo>
                  <a:cubicBezTo>
                    <a:pt x="713" y="272"/>
                    <a:pt x="725" y="286"/>
                    <a:pt x="740" y="297"/>
                  </a:cubicBezTo>
                  <a:cubicBezTo>
                    <a:pt x="741" y="297"/>
                    <a:pt x="742" y="296"/>
                    <a:pt x="743" y="295"/>
                  </a:cubicBezTo>
                  <a:cubicBezTo>
                    <a:pt x="713" y="268"/>
                    <a:pt x="678" y="233"/>
                    <a:pt x="649" y="205"/>
                  </a:cubicBezTo>
                  <a:cubicBezTo>
                    <a:pt x="645" y="201"/>
                    <a:pt x="644" y="199"/>
                    <a:pt x="639" y="202"/>
                  </a:cubicBezTo>
                  <a:cubicBezTo>
                    <a:pt x="658" y="223"/>
                    <a:pt x="680" y="241"/>
                    <a:pt x="699" y="261"/>
                  </a:cubicBezTo>
                  <a:cubicBezTo>
                    <a:pt x="692" y="259"/>
                    <a:pt x="691" y="252"/>
                    <a:pt x="684" y="250"/>
                  </a:cubicBezTo>
                  <a:cubicBezTo>
                    <a:pt x="684" y="249"/>
                    <a:pt x="683" y="248"/>
                    <a:pt x="683" y="247"/>
                  </a:cubicBezTo>
                  <a:cubicBezTo>
                    <a:pt x="668" y="234"/>
                    <a:pt x="653" y="220"/>
                    <a:pt x="639" y="206"/>
                  </a:cubicBezTo>
                  <a:cubicBezTo>
                    <a:pt x="640" y="211"/>
                    <a:pt x="647" y="216"/>
                    <a:pt x="652" y="219"/>
                  </a:cubicBezTo>
                  <a:cubicBezTo>
                    <a:pt x="655" y="225"/>
                    <a:pt x="660" y="230"/>
                    <a:pt x="666" y="233"/>
                  </a:cubicBezTo>
                  <a:cubicBezTo>
                    <a:pt x="679" y="250"/>
                    <a:pt x="698" y="262"/>
                    <a:pt x="712" y="279"/>
                  </a:cubicBezTo>
                  <a:cubicBezTo>
                    <a:pt x="713" y="279"/>
                    <a:pt x="714" y="279"/>
                    <a:pt x="715" y="279"/>
                  </a:cubicBezTo>
                  <a:cubicBezTo>
                    <a:pt x="717" y="286"/>
                    <a:pt x="726" y="286"/>
                    <a:pt x="727" y="293"/>
                  </a:cubicBezTo>
                  <a:cubicBezTo>
                    <a:pt x="623" y="199"/>
                    <a:pt x="522" y="100"/>
                    <a:pt x="422" y="0"/>
                  </a:cubicBezTo>
                  <a:cubicBezTo>
                    <a:pt x="424" y="0"/>
                    <a:pt x="425" y="0"/>
                    <a:pt x="427" y="0"/>
                  </a:cubicBezTo>
                  <a:cubicBezTo>
                    <a:pt x="443" y="19"/>
                    <a:pt x="464" y="38"/>
                    <a:pt x="482" y="56"/>
                  </a:cubicBezTo>
                  <a:cubicBezTo>
                    <a:pt x="531" y="104"/>
                    <a:pt x="581" y="154"/>
                    <a:pt x="630" y="200"/>
                  </a:cubicBezTo>
                  <a:cubicBezTo>
                    <a:pt x="627" y="194"/>
                    <a:pt x="622" y="190"/>
                    <a:pt x="618" y="186"/>
                  </a:cubicBezTo>
                  <a:cubicBezTo>
                    <a:pt x="588" y="159"/>
                    <a:pt x="559" y="128"/>
                    <a:pt x="529" y="100"/>
                  </a:cubicBezTo>
                  <a:cubicBezTo>
                    <a:pt x="495" y="67"/>
                    <a:pt x="462" y="34"/>
                    <a:pt x="429" y="0"/>
                  </a:cubicBezTo>
                  <a:cubicBezTo>
                    <a:pt x="430" y="0"/>
                    <a:pt x="432" y="0"/>
                    <a:pt x="433" y="0"/>
                  </a:cubicBezTo>
                  <a:cubicBezTo>
                    <a:pt x="433" y="1"/>
                    <a:pt x="433" y="2"/>
                    <a:pt x="434" y="2"/>
                  </a:cubicBezTo>
                  <a:cubicBezTo>
                    <a:pt x="497" y="64"/>
                    <a:pt x="558" y="128"/>
                    <a:pt x="624" y="189"/>
                  </a:cubicBezTo>
                  <a:cubicBezTo>
                    <a:pt x="628" y="193"/>
                    <a:pt x="633" y="199"/>
                    <a:pt x="639" y="197"/>
                  </a:cubicBezTo>
                  <a:cubicBezTo>
                    <a:pt x="632" y="188"/>
                    <a:pt x="623" y="180"/>
                    <a:pt x="615" y="172"/>
                  </a:cubicBezTo>
                  <a:cubicBezTo>
                    <a:pt x="590" y="148"/>
                    <a:pt x="564" y="124"/>
                    <a:pt x="540" y="99"/>
                  </a:cubicBezTo>
                  <a:cubicBezTo>
                    <a:pt x="508" y="66"/>
                    <a:pt x="474" y="34"/>
                    <a:pt x="443" y="0"/>
                  </a:cubicBezTo>
                  <a:cubicBezTo>
                    <a:pt x="444" y="0"/>
                    <a:pt x="445" y="0"/>
                    <a:pt x="447" y="0"/>
                  </a:cubicBezTo>
                  <a:cubicBezTo>
                    <a:pt x="543" y="101"/>
                    <a:pt x="644" y="198"/>
                    <a:pt x="745" y="295"/>
                  </a:cubicBezTo>
                  <a:cubicBezTo>
                    <a:pt x="767" y="287"/>
                    <a:pt x="789" y="278"/>
                    <a:pt x="810" y="270"/>
                  </a:cubicBezTo>
                  <a:cubicBezTo>
                    <a:pt x="809" y="267"/>
                    <a:pt x="811" y="262"/>
                    <a:pt x="810" y="259"/>
                  </a:cubicBezTo>
                  <a:cubicBezTo>
                    <a:pt x="809" y="254"/>
                    <a:pt x="798" y="247"/>
                    <a:pt x="794" y="243"/>
                  </a:cubicBezTo>
                  <a:cubicBezTo>
                    <a:pt x="779" y="227"/>
                    <a:pt x="763" y="210"/>
                    <a:pt x="747" y="193"/>
                  </a:cubicBezTo>
                  <a:cubicBezTo>
                    <a:pt x="730" y="176"/>
                    <a:pt x="714" y="156"/>
                    <a:pt x="697" y="138"/>
                  </a:cubicBezTo>
                  <a:cubicBezTo>
                    <a:pt x="655" y="94"/>
                    <a:pt x="612" y="47"/>
                    <a:pt x="572" y="0"/>
                  </a:cubicBezTo>
                  <a:cubicBezTo>
                    <a:pt x="574" y="0"/>
                    <a:pt x="576" y="0"/>
                    <a:pt x="577" y="0"/>
                  </a:cubicBezTo>
                  <a:cubicBezTo>
                    <a:pt x="614" y="44"/>
                    <a:pt x="653" y="86"/>
                    <a:pt x="692" y="128"/>
                  </a:cubicBezTo>
                  <a:cubicBezTo>
                    <a:pt x="710" y="147"/>
                    <a:pt x="727" y="167"/>
                    <a:pt x="745" y="187"/>
                  </a:cubicBezTo>
                  <a:cubicBezTo>
                    <a:pt x="760" y="202"/>
                    <a:pt x="775" y="217"/>
                    <a:pt x="790" y="232"/>
                  </a:cubicBezTo>
                  <a:cubicBezTo>
                    <a:pt x="793" y="236"/>
                    <a:pt x="797" y="241"/>
                    <a:pt x="802" y="244"/>
                  </a:cubicBezTo>
                  <a:cubicBezTo>
                    <a:pt x="803" y="243"/>
                    <a:pt x="803" y="241"/>
                    <a:pt x="803" y="240"/>
                  </a:cubicBezTo>
                  <a:cubicBezTo>
                    <a:pt x="799" y="237"/>
                    <a:pt x="796" y="233"/>
                    <a:pt x="792" y="230"/>
                  </a:cubicBezTo>
                  <a:cubicBezTo>
                    <a:pt x="798" y="230"/>
                    <a:pt x="801" y="239"/>
                    <a:pt x="807" y="241"/>
                  </a:cubicBezTo>
                  <a:cubicBezTo>
                    <a:pt x="808" y="245"/>
                    <a:pt x="805" y="244"/>
                    <a:pt x="805" y="247"/>
                  </a:cubicBezTo>
                  <a:cubicBezTo>
                    <a:pt x="805" y="251"/>
                    <a:pt x="808" y="252"/>
                    <a:pt x="811" y="254"/>
                  </a:cubicBezTo>
                  <a:cubicBezTo>
                    <a:pt x="812" y="247"/>
                    <a:pt x="814" y="237"/>
                    <a:pt x="816" y="229"/>
                  </a:cubicBezTo>
                  <a:cubicBezTo>
                    <a:pt x="820" y="229"/>
                    <a:pt x="824" y="229"/>
                    <a:pt x="828" y="229"/>
                  </a:cubicBezTo>
                  <a:cubicBezTo>
                    <a:pt x="831" y="241"/>
                    <a:pt x="833" y="256"/>
                    <a:pt x="835" y="270"/>
                  </a:cubicBezTo>
                  <a:cubicBezTo>
                    <a:pt x="862" y="274"/>
                    <a:pt x="888" y="282"/>
                    <a:pt x="913" y="286"/>
                  </a:cubicBezTo>
                  <a:cubicBezTo>
                    <a:pt x="914" y="288"/>
                    <a:pt x="913" y="290"/>
                    <a:pt x="910" y="290"/>
                  </a:cubicBezTo>
                  <a:cubicBezTo>
                    <a:pt x="913" y="305"/>
                    <a:pt x="908" y="327"/>
                    <a:pt x="914" y="341"/>
                  </a:cubicBezTo>
                  <a:cubicBezTo>
                    <a:pt x="915" y="344"/>
                    <a:pt x="911" y="341"/>
                    <a:pt x="911" y="343"/>
                  </a:cubicBezTo>
                  <a:cubicBezTo>
                    <a:pt x="913" y="345"/>
                    <a:pt x="915" y="347"/>
                    <a:pt x="914" y="352"/>
                  </a:cubicBezTo>
                  <a:cubicBezTo>
                    <a:pt x="913" y="350"/>
                    <a:pt x="909" y="348"/>
                    <a:pt x="907" y="349"/>
                  </a:cubicBezTo>
                  <a:cubicBezTo>
                    <a:pt x="907" y="353"/>
                    <a:pt x="910" y="353"/>
                    <a:pt x="911" y="355"/>
                  </a:cubicBezTo>
                  <a:cubicBezTo>
                    <a:pt x="914" y="364"/>
                    <a:pt x="919" y="371"/>
                    <a:pt x="924" y="379"/>
                  </a:cubicBezTo>
                  <a:cubicBezTo>
                    <a:pt x="928" y="391"/>
                    <a:pt x="938" y="401"/>
                    <a:pt x="940" y="413"/>
                  </a:cubicBezTo>
                  <a:cubicBezTo>
                    <a:pt x="928" y="395"/>
                    <a:pt x="919" y="376"/>
                    <a:pt x="909" y="357"/>
                  </a:cubicBezTo>
                  <a:cubicBezTo>
                    <a:pt x="907" y="356"/>
                    <a:pt x="907" y="354"/>
                    <a:pt x="904" y="354"/>
                  </a:cubicBezTo>
                  <a:cubicBezTo>
                    <a:pt x="904" y="353"/>
                    <a:pt x="904" y="352"/>
                    <a:pt x="904" y="351"/>
                  </a:cubicBezTo>
                  <a:cubicBezTo>
                    <a:pt x="885" y="333"/>
                    <a:pt x="866" y="315"/>
                    <a:pt x="848" y="297"/>
                  </a:cubicBezTo>
                  <a:cubicBezTo>
                    <a:pt x="845" y="297"/>
                    <a:pt x="841" y="296"/>
                    <a:pt x="839" y="297"/>
                  </a:cubicBezTo>
                  <a:cubicBezTo>
                    <a:pt x="841" y="328"/>
                    <a:pt x="843" y="366"/>
                    <a:pt x="846" y="392"/>
                  </a:cubicBezTo>
                  <a:cubicBezTo>
                    <a:pt x="885" y="402"/>
                    <a:pt x="924" y="411"/>
                    <a:pt x="963" y="420"/>
                  </a:cubicBezTo>
                  <a:cubicBezTo>
                    <a:pt x="962" y="422"/>
                    <a:pt x="960" y="422"/>
                    <a:pt x="959" y="423"/>
                  </a:cubicBezTo>
                  <a:cubicBezTo>
                    <a:pt x="956" y="451"/>
                    <a:pt x="971" y="462"/>
                    <a:pt x="979" y="480"/>
                  </a:cubicBezTo>
                  <a:cubicBezTo>
                    <a:pt x="981" y="482"/>
                    <a:pt x="981" y="476"/>
                    <a:pt x="984" y="479"/>
                  </a:cubicBezTo>
                  <a:cubicBezTo>
                    <a:pt x="986" y="483"/>
                    <a:pt x="982" y="482"/>
                    <a:pt x="982" y="485"/>
                  </a:cubicBezTo>
                  <a:cubicBezTo>
                    <a:pt x="992" y="503"/>
                    <a:pt x="1002" y="520"/>
                    <a:pt x="1012" y="538"/>
                  </a:cubicBezTo>
                  <a:cubicBezTo>
                    <a:pt x="993" y="511"/>
                    <a:pt x="978" y="480"/>
                    <a:pt x="960" y="452"/>
                  </a:cubicBezTo>
                  <a:cubicBezTo>
                    <a:pt x="960" y="457"/>
                    <a:pt x="958" y="471"/>
                    <a:pt x="963" y="474"/>
                  </a:cubicBezTo>
                  <a:cubicBezTo>
                    <a:pt x="963" y="476"/>
                    <a:pt x="960" y="475"/>
                    <a:pt x="960" y="478"/>
                  </a:cubicBezTo>
                  <a:cubicBezTo>
                    <a:pt x="961" y="480"/>
                    <a:pt x="962" y="478"/>
                    <a:pt x="964" y="478"/>
                  </a:cubicBezTo>
                  <a:cubicBezTo>
                    <a:pt x="962" y="481"/>
                    <a:pt x="964" y="483"/>
                    <a:pt x="963" y="485"/>
                  </a:cubicBezTo>
                  <a:cubicBezTo>
                    <a:pt x="960" y="487"/>
                    <a:pt x="960" y="483"/>
                    <a:pt x="956" y="484"/>
                  </a:cubicBezTo>
                  <a:cubicBezTo>
                    <a:pt x="958" y="489"/>
                    <a:pt x="964" y="496"/>
                    <a:pt x="966" y="503"/>
                  </a:cubicBezTo>
                  <a:cubicBezTo>
                    <a:pt x="959" y="500"/>
                    <a:pt x="958" y="492"/>
                    <a:pt x="954" y="487"/>
                  </a:cubicBezTo>
                  <a:cubicBezTo>
                    <a:pt x="948" y="484"/>
                    <a:pt x="945" y="478"/>
                    <a:pt x="939" y="476"/>
                  </a:cubicBezTo>
                  <a:cubicBezTo>
                    <a:pt x="944" y="471"/>
                    <a:pt x="948" y="484"/>
                    <a:pt x="954" y="481"/>
                  </a:cubicBezTo>
                  <a:cubicBezTo>
                    <a:pt x="954" y="477"/>
                    <a:pt x="951" y="476"/>
                    <a:pt x="952" y="471"/>
                  </a:cubicBezTo>
                  <a:cubicBezTo>
                    <a:pt x="953" y="470"/>
                    <a:pt x="954" y="470"/>
                    <a:pt x="955" y="470"/>
                  </a:cubicBezTo>
                  <a:cubicBezTo>
                    <a:pt x="958" y="450"/>
                    <a:pt x="953" y="433"/>
                    <a:pt x="945" y="424"/>
                  </a:cubicBezTo>
                  <a:cubicBezTo>
                    <a:pt x="928" y="424"/>
                    <a:pt x="913" y="427"/>
                    <a:pt x="897" y="428"/>
                  </a:cubicBezTo>
                  <a:cubicBezTo>
                    <a:pt x="895" y="427"/>
                    <a:pt x="895" y="430"/>
                    <a:pt x="894" y="430"/>
                  </a:cubicBezTo>
                  <a:cubicBezTo>
                    <a:pt x="892" y="430"/>
                    <a:pt x="892" y="429"/>
                    <a:pt x="890" y="428"/>
                  </a:cubicBezTo>
                  <a:cubicBezTo>
                    <a:pt x="878" y="432"/>
                    <a:pt x="859" y="429"/>
                    <a:pt x="848" y="434"/>
                  </a:cubicBezTo>
                  <a:cubicBezTo>
                    <a:pt x="852" y="460"/>
                    <a:pt x="853" y="487"/>
                    <a:pt x="856" y="513"/>
                  </a:cubicBezTo>
                  <a:cubicBezTo>
                    <a:pt x="883" y="522"/>
                    <a:pt x="910" y="530"/>
                    <a:pt x="939" y="536"/>
                  </a:cubicBezTo>
                  <a:cubicBezTo>
                    <a:pt x="940" y="539"/>
                    <a:pt x="937" y="538"/>
                    <a:pt x="937" y="540"/>
                  </a:cubicBezTo>
                  <a:cubicBezTo>
                    <a:pt x="940" y="555"/>
                    <a:pt x="934" y="578"/>
                    <a:pt x="940" y="590"/>
                  </a:cubicBezTo>
                  <a:cubicBezTo>
                    <a:pt x="938" y="595"/>
                    <a:pt x="941" y="598"/>
                    <a:pt x="941" y="603"/>
                  </a:cubicBezTo>
                  <a:cubicBezTo>
                    <a:pt x="938" y="604"/>
                    <a:pt x="939" y="602"/>
                    <a:pt x="937" y="602"/>
                  </a:cubicBezTo>
                  <a:cubicBezTo>
                    <a:pt x="941" y="616"/>
                    <a:pt x="953" y="627"/>
                    <a:pt x="962" y="640"/>
                  </a:cubicBezTo>
                  <a:cubicBezTo>
                    <a:pt x="969" y="649"/>
                    <a:pt x="973" y="660"/>
                    <a:pt x="983" y="667"/>
                  </a:cubicBezTo>
                  <a:cubicBezTo>
                    <a:pt x="985" y="679"/>
                    <a:pt x="996" y="687"/>
                    <a:pt x="1003" y="696"/>
                  </a:cubicBezTo>
                  <a:cubicBezTo>
                    <a:pt x="1006" y="693"/>
                    <a:pt x="1002" y="692"/>
                    <a:pt x="1000" y="689"/>
                  </a:cubicBezTo>
                  <a:cubicBezTo>
                    <a:pt x="996" y="684"/>
                    <a:pt x="990" y="675"/>
                    <a:pt x="984" y="670"/>
                  </a:cubicBezTo>
                  <a:cubicBezTo>
                    <a:pt x="984" y="660"/>
                    <a:pt x="973" y="657"/>
                    <a:pt x="972" y="650"/>
                  </a:cubicBezTo>
                  <a:cubicBezTo>
                    <a:pt x="984" y="661"/>
                    <a:pt x="992" y="676"/>
                    <a:pt x="1003" y="689"/>
                  </a:cubicBezTo>
                  <a:cubicBezTo>
                    <a:pt x="1006" y="689"/>
                    <a:pt x="1007" y="689"/>
                    <a:pt x="1009" y="689"/>
                  </a:cubicBezTo>
                  <a:cubicBezTo>
                    <a:pt x="1009" y="692"/>
                    <a:pt x="1007" y="697"/>
                    <a:pt x="1004" y="698"/>
                  </a:cubicBezTo>
                  <a:cubicBezTo>
                    <a:pt x="1010" y="711"/>
                    <a:pt x="1021" y="718"/>
                    <a:pt x="1027" y="730"/>
                  </a:cubicBezTo>
                  <a:cubicBezTo>
                    <a:pt x="1016" y="723"/>
                    <a:pt x="1011" y="709"/>
                    <a:pt x="1001" y="701"/>
                  </a:cubicBezTo>
                  <a:cubicBezTo>
                    <a:pt x="987" y="679"/>
                    <a:pt x="972" y="659"/>
                    <a:pt x="956" y="640"/>
                  </a:cubicBezTo>
                  <a:cubicBezTo>
                    <a:pt x="956" y="638"/>
                    <a:pt x="956" y="637"/>
                    <a:pt x="955" y="636"/>
                  </a:cubicBezTo>
                  <a:cubicBezTo>
                    <a:pt x="949" y="628"/>
                    <a:pt x="944" y="620"/>
                    <a:pt x="937" y="614"/>
                  </a:cubicBezTo>
                  <a:cubicBezTo>
                    <a:pt x="937" y="610"/>
                    <a:pt x="935" y="607"/>
                    <a:pt x="932" y="609"/>
                  </a:cubicBezTo>
                  <a:cubicBezTo>
                    <a:pt x="934" y="617"/>
                    <a:pt x="942" y="620"/>
                    <a:pt x="945" y="628"/>
                  </a:cubicBezTo>
                  <a:cubicBezTo>
                    <a:pt x="935" y="618"/>
                    <a:pt x="928" y="606"/>
                    <a:pt x="916" y="599"/>
                  </a:cubicBezTo>
                  <a:cubicBezTo>
                    <a:pt x="917" y="594"/>
                    <a:pt x="912" y="592"/>
                    <a:pt x="909" y="590"/>
                  </a:cubicBezTo>
                  <a:cubicBezTo>
                    <a:pt x="911" y="587"/>
                    <a:pt x="904" y="587"/>
                    <a:pt x="904" y="583"/>
                  </a:cubicBezTo>
                  <a:cubicBezTo>
                    <a:pt x="908" y="583"/>
                    <a:pt x="913" y="587"/>
                    <a:pt x="915" y="590"/>
                  </a:cubicBezTo>
                  <a:cubicBezTo>
                    <a:pt x="922" y="588"/>
                    <a:pt x="924" y="598"/>
                    <a:pt x="930" y="599"/>
                  </a:cubicBezTo>
                  <a:cubicBezTo>
                    <a:pt x="932" y="596"/>
                    <a:pt x="932" y="593"/>
                    <a:pt x="934" y="590"/>
                  </a:cubicBezTo>
                  <a:cubicBezTo>
                    <a:pt x="934" y="588"/>
                    <a:pt x="931" y="590"/>
                    <a:pt x="932" y="591"/>
                  </a:cubicBezTo>
                  <a:cubicBezTo>
                    <a:pt x="929" y="589"/>
                    <a:pt x="934" y="587"/>
                    <a:pt x="934" y="585"/>
                  </a:cubicBezTo>
                  <a:cubicBezTo>
                    <a:pt x="934" y="571"/>
                    <a:pt x="931" y="554"/>
                    <a:pt x="934" y="541"/>
                  </a:cubicBezTo>
                  <a:cubicBezTo>
                    <a:pt x="916" y="539"/>
                    <a:pt x="896" y="544"/>
                    <a:pt x="877" y="545"/>
                  </a:cubicBezTo>
                  <a:cubicBezTo>
                    <a:pt x="885" y="558"/>
                    <a:pt x="897" y="568"/>
                    <a:pt x="905" y="581"/>
                  </a:cubicBezTo>
                  <a:cubicBezTo>
                    <a:pt x="894" y="571"/>
                    <a:pt x="885" y="557"/>
                    <a:pt x="874" y="545"/>
                  </a:cubicBezTo>
                  <a:cubicBezTo>
                    <a:pt x="869" y="546"/>
                    <a:pt x="862" y="545"/>
                    <a:pt x="859" y="548"/>
                  </a:cubicBezTo>
                  <a:cubicBezTo>
                    <a:pt x="861" y="552"/>
                    <a:pt x="859" y="561"/>
                    <a:pt x="863" y="562"/>
                  </a:cubicBezTo>
                  <a:cubicBezTo>
                    <a:pt x="863" y="563"/>
                    <a:pt x="861" y="563"/>
                    <a:pt x="861" y="564"/>
                  </a:cubicBezTo>
                  <a:cubicBezTo>
                    <a:pt x="879" y="707"/>
                    <a:pt x="908" y="843"/>
                    <a:pt x="933" y="980"/>
                  </a:cubicBezTo>
                  <a:cubicBezTo>
                    <a:pt x="935" y="982"/>
                    <a:pt x="935" y="976"/>
                    <a:pt x="938" y="978"/>
                  </a:cubicBezTo>
                  <a:cubicBezTo>
                    <a:pt x="939" y="983"/>
                    <a:pt x="940" y="989"/>
                    <a:pt x="938" y="993"/>
                  </a:cubicBezTo>
                  <a:cubicBezTo>
                    <a:pt x="939" y="995"/>
                    <a:pt x="941" y="993"/>
                    <a:pt x="942" y="994"/>
                  </a:cubicBezTo>
                  <a:cubicBezTo>
                    <a:pt x="942" y="1000"/>
                    <a:pt x="932" y="1000"/>
                    <a:pt x="930" y="995"/>
                  </a:cubicBezTo>
                  <a:cubicBezTo>
                    <a:pt x="928" y="995"/>
                    <a:pt x="930" y="998"/>
                    <a:pt x="928" y="999"/>
                  </a:cubicBezTo>
                  <a:cubicBezTo>
                    <a:pt x="930" y="999"/>
                    <a:pt x="931" y="1000"/>
                    <a:pt x="933" y="1000"/>
                  </a:cubicBezTo>
                  <a:cubicBezTo>
                    <a:pt x="931" y="1002"/>
                    <a:pt x="935" y="1004"/>
                    <a:pt x="937" y="1006"/>
                  </a:cubicBezTo>
                  <a:cubicBezTo>
                    <a:pt x="940" y="1003"/>
                    <a:pt x="941" y="1005"/>
                    <a:pt x="945" y="1006"/>
                  </a:cubicBezTo>
                  <a:cubicBezTo>
                    <a:pt x="950" y="1003"/>
                    <a:pt x="960" y="1004"/>
                    <a:pt x="964" y="1007"/>
                  </a:cubicBezTo>
                  <a:cubicBezTo>
                    <a:pt x="971" y="1005"/>
                    <a:pt x="976" y="1004"/>
                    <a:pt x="982" y="1004"/>
                  </a:cubicBezTo>
                  <a:cubicBezTo>
                    <a:pt x="982" y="1001"/>
                    <a:pt x="980" y="1001"/>
                    <a:pt x="982" y="998"/>
                  </a:cubicBezTo>
                  <a:cubicBezTo>
                    <a:pt x="987" y="1001"/>
                    <a:pt x="990" y="1005"/>
                    <a:pt x="997" y="1006"/>
                  </a:cubicBezTo>
                  <a:cubicBezTo>
                    <a:pt x="998" y="1005"/>
                    <a:pt x="996" y="1003"/>
                    <a:pt x="997" y="1001"/>
                  </a:cubicBezTo>
                  <a:cubicBezTo>
                    <a:pt x="999" y="1007"/>
                    <a:pt x="1008" y="1002"/>
                    <a:pt x="1012" y="1004"/>
                  </a:cubicBezTo>
                  <a:cubicBezTo>
                    <a:pt x="1012" y="1010"/>
                    <a:pt x="1005" y="1005"/>
                    <a:pt x="1004" y="1008"/>
                  </a:cubicBezTo>
                  <a:cubicBezTo>
                    <a:pt x="1007" y="1010"/>
                    <a:pt x="1010" y="1008"/>
                    <a:pt x="1014" y="1007"/>
                  </a:cubicBezTo>
                  <a:cubicBezTo>
                    <a:pt x="1015" y="1006"/>
                    <a:pt x="1014" y="1004"/>
                    <a:pt x="1014" y="1002"/>
                  </a:cubicBezTo>
                  <a:cubicBezTo>
                    <a:pt x="1018" y="1002"/>
                    <a:pt x="1019" y="1004"/>
                    <a:pt x="1021" y="1006"/>
                  </a:cubicBezTo>
                  <a:cubicBezTo>
                    <a:pt x="1024" y="1002"/>
                    <a:pt x="1032" y="998"/>
                    <a:pt x="1035" y="1004"/>
                  </a:cubicBezTo>
                  <a:cubicBezTo>
                    <a:pt x="1037" y="1003"/>
                    <a:pt x="1038" y="1003"/>
                    <a:pt x="1040" y="1002"/>
                  </a:cubicBezTo>
                  <a:cubicBezTo>
                    <a:pt x="1039" y="999"/>
                    <a:pt x="1038" y="997"/>
                    <a:pt x="1034" y="997"/>
                  </a:cubicBezTo>
                  <a:cubicBezTo>
                    <a:pt x="1035" y="994"/>
                    <a:pt x="1041" y="996"/>
                    <a:pt x="1043" y="995"/>
                  </a:cubicBezTo>
                  <a:cubicBezTo>
                    <a:pt x="1044" y="998"/>
                    <a:pt x="1045" y="1002"/>
                    <a:pt x="1046" y="1004"/>
                  </a:cubicBezTo>
                  <a:cubicBezTo>
                    <a:pt x="1049" y="1005"/>
                    <a:pt x="1049" y="1002"/>
                    <a:pt x="1052" y="1002"/>
                  </a:cubicBezTo>
                  <a:cubicBezTo>
                    <a:pt x="1053" y="999"/>
                    <a:pt x="1046" y="999"/>
                    <a:pt x="1049" y="996"/>
                  </a:cubicBezTo>
                  <a:cubicBezTo>
                    <a:pt x="1052" y="996"/>
                    <a:pt x="1051" y="998"/>
                    <a:pt x="1052" y="1000"/>
                  </a:cubicBezTo>
                  <a:cubicBezTo>
                    <a:pt x="1053" y="1000"/>
                    <a:pt x="1053" y="998"/>
                    <a:pt x="1055" y="999"/>
                  </a:cubicBezTo>
                  <a:cubicBezTo>
                    <a:pt x="1052" y="1004"/>
                    <a:pt x="1057" y="1004"/>
                    <a:pt x="1060" y="1006"/>
                  </a:cubicBezTo>
                  <a:cubicBezTo>
                    <a:pt x="1061" y="1005"/>
                    <a:pt x="1060" y="1002"/>
                    <a:pt x="1062" y="1002"/>
                  </a:cubicBezTo>
                  <a:cubicBezTo>
                    <a:pt x="1067" y="1004"/>
                    <a:pt x="1074" y="1005"/>
                    <a:pt x="1079" y="1006"/>
                  </a:cubicBezTo>
                  <a:cubicBezTo>
                    <a:pt x="1077" y="1004"/>
                    <a:pt x="1077" y="1000"/>
                    <a:pt x="1074" y="1000"/>
                  </a:cubicBezTo>
                  <a:cubicBezTo>
                    <a:pt x="1072" y="1000"/>
                    <a:pt x="1071" y="1002"/>
                    <a:pt x="1068" y="1002"/>
                  </a:cubicBezTo>
                  <a:cubicBezTo>
                    <a:pt x="1067" y="999"/>
                    <a:pt x="1063" y="1000"/>
                    <a:pt x="1062" y="998"/>
                  </a:cubicBezTo>
                  <a:cubicBezTo>
                    <a:pt x="1067" y="995"/>
                    <a:pt x="1076" y="998"/>
                    <a:pt x="1083" y="996"/>
                  </a:cubicBezTo>
                  <a:cubicBezTo>
                    <a:pt x="1082" y="999"/>
                    <a:pt x="1085" y="998"/>
                    <a:pt x="1086" y="999"/>
                  </a:cubicBezTo>
                  <a:cubicBezTo>
                    <a:pt x="1087" y="1001"/>
                    <a:pt x="1083" y="999"/>
                    <a:pt x="1083" y="1001"/>
                  </a:cubicBezTo>
                  <a:cubicBezTo>
                    <a:pt x="1084" y="1007"/>
                    <a:pt x="1088" y="999"/>
                    <a:pt x="1092" y="1003"/>
                  </a:cubicBezTo>
                  <a:cubicBezTo>
                    <a:pt x="1091" y="999"/>
                    <a:pt x="1085" y="998"/>
                    <a:pt x="1087" y="993"/>
                  </a:cubicBezTo>
                  <a:cubicBezTo>
                    <a:pt x="1090" y="993"/>
                    <a:pt x="1096" y="997"/>
                    <a:pt x="1096" y="1000"/>
                  </a:cubicBezTo>
                  <a:cubicBezTo>
                    <a:pt x="1097" y="1000"/>
                    <a:pt x="1098" y="1000"/>
                    <a:pt x="1099" y="1000"/>
                  </a:cubicBezTo>
                  <a:cubicBezTo>
                    <a:pt x="1101" y="999"/>
                    <a:pt x="1098" y="998"/>
                    <a:pt x="1099" y="996"/>
                  </a:cubicBezTo>
                  <a:cubicBezTo>
                    <a:pt x="1105" y="997"/>
                    <a:pt x="1111" y="999"/>
                    <a:pt x="1114" y="995"/>
                  </a:cubicBezTo>
                  <a:cubicBezTo>
                    <a:pt x="1120" y="999"/>
                    <a:pt x="1128" y="991"/>
                    <a:pt x="1132" y="996"/>
                  </a:cubicBezTo>
                  <a:cubicBezTo>
                    <a:pt x="1132" y="994"/>
                    <a:pt x="1133" y="992"/>
                    <a:pt x="1135" y="990"/>
                  </a:cubicBezTo>
                  <a:cubicBezTo>
                    <a:pt x="1137" y="990"/>
                    <a:pt x="1138" y="992"/>
                    <a:pt x="1139" y="993"/>
                  </a:cubicBezTo>
                  <a:cubicBezTo>
                    <a:pt x="1141" y="993"/>
                    <a:pt x="1140" y="989"/>
                    <a:pt x="1142" y="989"/>
                  </a:cubicBezTo>
                  <a:cubicBezTo>
                    <a:pt x="1144" y="993"/>
                    <a:pt x="1149" y="994"/>
                    <a:pt x="1152" y="996"/>
                  </a:cubicBezTo>
                  <a:cubicBezTo>
                    <a:pt x="1161" y="994"/>
                    <a:pt x="1159" y="988"/>
                    <a:pt x="1160" y="978"/>
                  </a:cubicBezTo>
                  <a:cubicBezTo>
                    <a:pt x="1161" y="969"/>
                    <a:pt x="1164" y="958"/>
                    <a:pt x="1166" y="946"/>
                  </a:cubicBezTo>
                  <a:cubicBezTo>
                    <a:pt x="1168" y="939"/>
                    <a:pt x="1166" y="930"/>
                    <a:pt x="1168" y="924"/>
                  </a:cubicBezTo>
                  <a:cubicBezTo>
                    <a:pt x="1175" y="899"/>
                    <a:pt x="1174" y="869"/>
                    <a:pt x="1178" y="842"/>
                  </a:cubicBezTo>
                  <a:cubicBezTo>
                    <a:pt x="1169" y="840"/>
                    <a:pt x="1154" y="844"/>
                    <a:pt x="1148" y="842"/>
                  </a:cubicBezTo>
                  <a:cubicBezTo>
                    <a:pt x="1151" y="838"/>
                    <a:pt x="1158" y="838"/>
                    <a:pt x="1163" y="836"/>
                  </a:cubicBezTo>
                  <a:cubicBezTo>
                    <a:pt x="1169" y="835"/>
                    <a:pt x="1175" y="832"/>
                    <a:pt x="1179" y="830"/>
                  </a:cubicBezTo>
                  <a:cubicBezTo>
                    <a:pt x="1179" y="820"/>
                    <a:pt x="1179" y="810"/>
                    <a:pt x="1180" y="801"/>
                  </a:cubicBezTo>
                  <a:cubicBezTo>
                    <a:pt x="1171" y="801"/>
                    <a:pt x="1155" y="800"/>
                    <a:pt x="1142" y="801"/>
                  </a:cubicBezTo>
                  <a:cubicBezTo>
                    <a:pt x="1141" y="811"/>
                    <a:pt x="1144" y="818"/>
                    <a:pt x="1142" y="826"/>
                  </a:cubicBezTo>
                  <a:cubicBezTo>
                    <a:pt x="1136" y="823"/>
                    <a:pt x="1142" y="808"/>
                    <a:pt x="1139" y="799"/>
                  </a:cubicBezTo>
                  <a:cubicBezTo>
                    <a:pt x="1154" y="796"/>
                    <a:pt x="1166" y="790"/>
                    <a:pt x="1180" y="786"/>
                  </a:cubicBezTo>
                  <a:cubicBezTo>
                    <a:pt x="1182" y="777"/>
                    <a:pt x="1180" y="761"/>
                    <a:pt x="1182" y="752"/>
                  </a:cubicBezTo>
                  <a:cubicBezTo>
                    <a:pt x="1176" y="750"/>
                    <a:pt x="1167" y="753"/>
                    <a:pt x="1158" y="752"/>
                  </a:cubicBezTo>
                  <a:cubicBezTo>
                    <a:pt x="1157" y="753"/>
                    <a:pt x="1159" y="756"/>
                    <a:pt x="1157" y="758"/>
                  </a:cubicBezTo>
                  <a:cubicBezTo>
                    <a:pt x="1157" y="759"/>
                    <a:pt x="1158" y="765"/>
                    <a:pt x="1157" y="763"/>
                  </a:cubicBezTo>
                  <a:cubicBezTo>
                    <a:pt x="1157" y="759"/>
                    <a:pt x="1155" y="757"/>
                    <a:pt x="1157" y="755"/>
                  </a:cubicBezTo>
                  <a:cubicBezTo>
                    <a:pt x="1156" y="753"/>
                    <a:pt x="1155" y="752"/>
                    <a:pt x="1155" y="750"/>
                  </a:cubicBezTo>
                  <a:cubicBezTo>
                    <a:pt x="1163" y="746"/>
                    <a:pt x="1174" y="745"/>
                    <a:pt x="1183" y="741"/>
                  </a:cubicBezTo>
                  <a:cubicBezTo>
                    <a:pt x="1185" y="734"/>
                    <a:pt x="1182" y="726"/>
                    <a:pt x="1189" y="726"/>
                  </a:cubicBezTo>
                  <a:cubicBezTo>
                    <a:pt x="1190" y="730"/>
                    <a:pt x="1193" y="733"/>
                    <a:pt x="1192" y="739"/>
                  </a:cubicBezTo>
                  <a:cubicBezTo>
                    <a:pt x="1195" y="742"/>
                    <a:pt x="1200" y="743"/>
                    <a:pt x="1204" y="744"/>
                  </a:cubicBezTo>
                  <a:cubicBezTo>
                    <a:pt x="1202" y="749"/>
                    <a:pt x="1196" y="743"/>
                    <a:pt x="1193" y="745"/>
                  </a:cubicBezTo>
                  <a:cubicBezTo>
                    <a:pt x="1193" y="750"/>
                    <a:pt x="1200" y="746"/>
                    <a:pt x="1205" y="747"/>
                  </a:cubicBezTo>
                  <a:cubicBezTo>
                    <a:pt x="1207" y="746"/>
                    <a:pt x="1204" y="745"/>
                    <a:pt x="1206" y="744"/>
                  </a:cubicBezTo>
                  <a:cubicBezTo>
                    <a:pt x="1211" y="745"/>
                    <a:pt x="1216" y="747"/>
                    <a:pt x="1221" y="748"/>
                  </a:cubicBezTo>
                  <a:cubicBezTo>
                    <a:pt x="1220" y="756"/>
                    <a:pt x="1222" y="767"/>
                    <a:pt x="1221" y="775"/>
                  </a:cubicBezTo>
                  <a:cubicBezTo>
                    <a:pt x="1214" y="773"/>
                    <a:pt x="1222" y="758"/>
                    <a:pt x="1219" y="750"/>
                  </a:cubicBezTo>
                  <a:cubicBezTo>
                    <a:pt x="1212" y="749"/>
                    <a:pt x="1203" y="750"/>
                    <a:pt x="1194" y="751"/>
                  </a:cubicBezTo>
                  <a:cubicBezTo>
                    <a:pt x="1195" y="760"/>
                    <a:pt x="1196" y="774"/>
                    <a:pt x="1197" y="786"/>
                  </a:cubicBezTo>
                  <a:cubicBezTo>
                    <a:pt x="1206" y="788"/>
                    <a:pt x="1217" y="792"/>
                    <a:pt x="1226" y="793"/>
                  </a:cubicBezTo>
                  <a:cubicBezTo>
                    <a:pt x="1229" y="796"/>
                    <a:pt x="1237" y="795"/>
                    <a:pt x="1239" y="799"/>
                  </a:cubicBezTo>
                  <a:cubicBezTo>
                    <a:pt x="1227" y="800"/>
                    <a:pt x="1210" y="798"/>
                    <a:pt x="1198" y="801"/>
                  </a:cubicBezTo>
                  <a:cubicBezTo>
                    <a:pt x="1198" y="811"/>
                    <a:pt x="1201" y="820"/>
                    <a:pt x="1200" y="829"/>
                  </a:cubicBezTo>
                  <a:cubicBezTo>
                    <a:pt x="1202" y="834"/>
                    <a:pt x="1217" y="831"/>
                    <a:pt x="1217" y="837"/>
                  </a:cubicBezTo>
                  <a:cubicBezTo>
                    <a:pt x="1223" y="835"/>
                    <a:pt x="1226" y="838"/>
                    <a:pt x="1231" y="838"/>
                  </a:cubicBezTo>
                  <a:cubicBezTo>
                    <a:pt x="1229" y="848"/>
                    <a:pt x="1234" y="860"/>
                    <a:pt x="1230" y="866"/>
                  </a:cubicBezTo>
                  <a:cubicBezTo>
                    <a:pt x="1227" y="861"/>
                    <a:pt x="1230" y="850"/>
                    <a:pt x="1230" y="841"/>
                  </a:cubicBezTo>
                  <a:cubicBezTo>
                    <a:pt x="1222" y="839"/>
                    <a:pt x="1210" y="842"/>
                    <a:pt x="1203" y="840"/>
                  </a:cubicBezTo>
                  <a:cubicBezTo>
                    <a:pt x="1201" y="849"/>
                    <a:pt x="1204" y="866"/>
                    <a:pt x="1208" y="874"/>
                  </a:cubicBezTo>
                  <a:cubicBezTo>
                    <a:pt x="1206" y="885"/>
                    <a:pt x="1212" y="918"/>
                    <a:pt x="1216" y="929"/>
                  </a:cubicBezTo>
                  <a:cubicBezTo>
                    <a:pt x="1219" y="952"/>
                    <a:pt x="1223" y="973"/>
                    <a:pt x="1228" y="995"/>
                  </a:cubicBezTo>
                  <a:cubicBezTo>
                    <a:pt x="1231" y="992"/>
                    <a:pt x="1235" y="997"/>
                    <a:pt x="1236" y="992"/>
                  </a:cubicBezTo>
                  <a:cubicBezTo>
                    <a:pt x="1241" y="997"/>
                    <a:pt x="1249" y="994"/>
                    <a:pt x="1254" y="996"/>
                  </a:cubicBezTo>
                  <a:cubicBezTo>
                    <a:pt x="1261" y="982"/>
                    <a:pt x="1259" y="959"/>
                    <a:pt x="1262" y="942"/>
                  </a:cubicBezTo>
                  <a:cubicBezTo>
                    <a:pt x="1258" y="938"/>
                    <a:pt x="1249" y="943"/>
                    <a:pt x="1245" y="941"/>
                  </a:cubicBezTo>
                  <a:cubicBezTo>
                    <a:pt x="1247" y="937"/>
                    <a:pt x="1256" y="939"/>
                    <a:pt x="1259" y="935"/>
                  </a:cubicBezTo>
                  <a:cubicBezTo>
                    <a:pt x="1260" y="934"/>
                    <a:pt x="1261" y="934"/>
                    <a:pt x="1261" y="936"/>
                  </a:cubicBezTo>
                  <a:cubicBezTo>
                    <a:pt x="1264" y="930"/>
                    <a:pt x="1262" y="924"/>
                    <a:pt x="1264" y="917"/>
                  </a:cubicBezTo>
                  <a:cubicBezTo>
                    <a:pt x="1257" y="913"/>
                    <a:pt x="1247" y="917"/>
                    <a:pt x="1239" y="916"/>
                  </a:cubicBezTo>
                  <a:cubicBezTo>
                    <a:pt x="1241" y="913"/>
                    <a:pt x="1247" y="913"/>
                    <a:pt x="1250" y="911"/>
                  </a:cubicBezTo>
                  <a:cubicBezTo>
                    <a:pt x="1254" y="913"/>
                    <a:pt x="1263" y="916"/>
                    <a:pt x="1265" y="911"/>
                  </a:cubicBezTo>
                  <a:cubicBezTo>
                    <a:pt x="1262" y="906"/>
                    <a:pt x="1258" y="914"/>
                    <a:pt x="1254" y="911"/>
                  </a:cubicBezTo>
                  <a:cubicBezTo>
                    <a:pt x="1257" y="909"/>
                    <a:pt x="1262" y="909"/>
                    <a:pt x="1265" y="906"/>
                  </a:cubicBezTo>
                  <a:cubicBezTo>
                    <a:pt x="1264" y="897"/>
                    <a:pt x="1265" y="893"/>
                    <a:pt x="1265" y="886"/>
                  </a:cubicBezTo>
                  <a:cubicBezTo>
                    <a:pt x="1261" y="887"/>
                    <a:pt x="1253" y="884"/>
                    <a:pt x="1249" y="887"/>
                  </a:cubicBezTo>
                  <a:cubicBezTo>
                    <a:pt x="1252" y="881"/>
                    <a:pt x="1264" y="880"/>
                    <a:pt x="1270" y="879"/>
                  </a:cubicBezTo>
                  <a:cubicBezTo>
                    <a:pt x="1270" y="878"/>
                    <a:pt x="1269" y="877"/>
                    <a:pt x="1269" y="877"/>
                  </a:cubicBezTo>
                  <a:cubicBezTo>
                    <a:pt x="1271" y="875"/>
                    <a:pt x="1272" y="880"/>
                    <a:pt x="1273" y="881"/>
                  </a:cubicBezTo>
                  <a:cubicBezTo>
                    <a:pt x="1278" y="883"/>
                    <a:pt x="1286" y="880"/>
                    <a:pt x="1288" y="885"/>
                  </a:cubicBezTo>
                  <a:cubicBezTo>
                    <a:pt x="1286" y="887"/>
                    <a:pt x="1277" y="884"/>
                    <a:pt x="1273" y="886"/>
                  </a:cubicBezTo>
                  <a:cubicBezTo>
                    <a:pt x="1274" y="894"/>
                    <a:pt x="1274" y="900"/>
                    <a:pt x="1273" y="906"/>
                  </a:cubicBezTo>
                  <a:cubicBezTo>
                    <a:pt x="1275" y="908"/>
                    <a:pt x="1280" y="907"/>
                    <a:pt x="1282" y="910"/>
                  </a:cubicBezTo>
                  <a:cubicBezTo>
                    <a:pt x="1280" y="915"/>
                    <a:pt x="1276" y="906"/>
                    <a:pt x="1274" y="911"/>
                  </a:cubicBezTo>
                  <a:cubicBezTo>
                    <a:pt x="1277" y="915"/>
                    <a:pt x="1291" y="915"/>
                    <a:pt x="1290" y="907"/>
                  </a:cubicBezTo>
                  <a:cubicBezTo>
                    <a:pt x="1293" y="910"/>
                    <a:pt x="1294" y="914"/>
                    <a:pt x="1299" y="914"/>
                  </a:cubicBezTo>
                  <a:cubicBezTo>
                    <a:pt x="1293" y="918"/>
                    <a:pt x="1280" y="912"/>
                    <a:pt x="1275" y="916"/>
                  </a:cubicBezTo>
                  <a:cubicBezTo>
                    <a:pt x="1277" y="920"/>
                    <a:pt x="1275" y="929"/>
                    <a:pt x="1277" y="937"/>
                  </a:cubicBezTo>
                  <a:cubicBezTo>
                    <a:pt x="1278" y="938"/>
                    <a:pt x="1280" y="935"/>
                    <a:pt x="1282" y="935"/>
                  </a:cubicBezTo>
                  <a:cubicBezTo>
                    <a:pt x="1285" y="938"/>
                    <a:pt x="1295" y="937"/>
                    <a:pt x="1298" y="938"/>
                  </a:cubicBezTo>
                  <a:cubicBezTo>
                    <a:pt x="1301" y="936"/>
                    <a:pt x="1300" y="932"/>
                    <a:pt x="1297" y="930"/>
                  </a:cubicBezTo>
                  <a:cubicBezTo>
                    <a:pt x="1298" y="928"/>
                    <a:pt x="1298" y="925"/>
                    <a:pt x="1299" y="924"/>
                  </a:cubicBezTo>
                  <a:cubicBezTo>
                    <a:pt x="1298" y="923"/>
                    <a:pt x="1296" y="922"/>
                    <a:pt x="1295" y="920"/>
                  </a:cubicBezTo>
                  <a:cubicBezTo>
                    <a:pt x="1293" y="920"/>
                    <a:pt x="1294" y="924"/>
                    <a:pt x="1290" y="922"/>
                  </a:cubicBezTo>
                  <a:cubicBezTo>
                    <a:pt x="1290" y="918"/>
                    <a:pt x="1294" y="918"/>
                    <a:pt x="1297" y="918"/>
                  </a:cubicBezTo>
                  <a:cubicBezTo>
                    <a:pt x="1302" y="914"/>
                    <a:pt x="1305" y="905"/>
                    <a:pt x="1300" y="901"/>
                  </a:cubicBezTo>
                  <a:cubicBezTo>
                    <a:pt x="1301" y="899"/>
                    <a:pt x="1303" y="898"/>
                    <a:pt x="1303" y="895"/>
                  </a:cubicBezTo>
                  <a:cubicBezTo>
                    <a:pt x="1306" y="896"/>
                    <a:pt x="1305" y="900"/>
                    <a:pt x="1309" y="899"/>
                  </a:cubicBezTo>
                  <a:cubicBezTo>
                    <a:pt x="1309" y="901"/>
                    <a:pt x="1307" y="900"/>
                    <a:pt x="1307" y="903"/>
                  </a:cubicBezTo>
                  <a:cubicBezTo>
                    <a:pt x="1308" y="917"/>
                    <a:pt x="1310" y="924"/>
                    <a:pt x="1310" y="935"/>
                  </a:cubicBezTo>
                  <a:cubicBezTo>
                    <a:pt x="1313" y="939"/>
                    <a:pt x="1317" y="937"/>
                    <a:pt x="1321" y="936"/>
                  </a:cubicBezTo>
                  <a:cubicBezTo>
                    <a:pt x="1322" y="934"/>
                    <a:pt x="1318" y="936"/>
                    <a:pt x="1319" y="933"/>
                  </a:cubicBezTo>
                  <a:cubicBezTo>
                    <a:pt x="1320" y="934"/>
                    <a:pt x="1321" y="935"/>
                    <a:pt x="1322" y="933"/>
                  </a:cubicBezTo>
                  <a:cubicBezTo>
                    <a:pt x="1324" y="930"/>
                    <a:pt x="1318" y="930"/>
                    <a:pt x="1320" y="929"/>
                  </a:cubicBezTo>
                  <a:cubicBezTo>
                    <a:pt x="1327" y="924"/>
                    <a:pt x="1322" y="940"/>
                    <a:pt x="1327" y="942"/>
                  </a:cubicBezTo>
                  <a:cubicBezTo>
                    <a:pt x="1326" y="943"/>
                    <a:pt x="1325" y="944"/>
                    <a:pt x="1324" y="945"/>
                  </a:cubicBezTo>
                  <a:cubicBezTo>
                    <a:pt x="1326" y="948"/>
                    <a:pt x="1326" y="955"/>
                    <a:pt x="1329" y="957"/>
                  </a:cubicBezTo>
                  <a:cubicBezTo>
                    <a:pt x="1329" y="957"/>
                    <a:pt x="1328" y="957"/>
                    <a:pt x="1327" y="957"/>
                  </a:cubicBezTo>
                  <a:cubicBezTo>
                    <a:pt x="1329" y="963"/>
                    <a:pt x="1328" y="967"/>
                    <a:pt x="1329" y="973"/>
                  </a:cubicBezTo>
                  <a:cubicBezTo>
                    <a:pt x="1332" y="970"/>
                    <a:pt x="1331" y="962"/>
                    <a:pt x="1334" y="959"/>
                  </a:cubicBezTo>
                  <a:cubicBezTo>
                    <a:pt x="1333" y="958"/>
                    <a:pt x="1333" y="957"/>
                    <a:pt x="1331" y="957"/>
                  </a:cubicBezTo>
                  <a:cubicBezTo>
                    <a:pt x="1331" y="955"/>
                    <a:pt x="1333" y="955"/>
                    <a:pt x="1334" y="953"/>
                  </a:cubicBezTo>
                  <a:cubicBezTo>
                    <a:pt x="1334" y="950"/>
                    <a:pt x="1329" y="951"/>
                    <a:pt x="1329" y="948"/>
                  </a:cubicBezTo>
                  <a:cubicBezTo>
                    <a:pt x="1333" y="947"/>
                    <a:pt x="1336" y="947"/>
                    <a:pt x="1340" y="948"/>
                  </a:cubicBezTo>
                  <a:cubicBezTo>
                    <a:pt x="1340" y="951"/>
                    <a:pt x="1338" y="950"/>
                    <a:pt x="1336" y="950"/>
                  </a:cubicBezTo>
                  <a:cubicBezTo>
                    <a:pt x="1339" y="955"/>
                    <a:pt x="1335" y="958"/>
                    <a:pt x="1338" y="963"/>
                  </a:cubicBezTo>
                  <a:cubicBezTo>
                    <a:pt x="1342" y="961"/>
                    <a:pt x="1341" y="955"/>
                    <a:pt x="1344" y="952"/>
                  </a:cubicBezTo>
                  <a:cubicBezTo>
                    <a:pt x="1347" y="954"/>
                    <a:pt x="1345" y="957"/>
                    <a:pt x="1344" y="959"/>
                  </a:cubicBezTo>
                  <a:cubicBezTo>
                    <a:pt x="1347" y="963"/>
                    <a:pt x="1354" y="962"/>
                    <a:pt x="1355" y="966"/>
                  </a:cubicBezTo>
                  <a:cubicBezTo>
                    <a:pt x="1355" y="970"/>
                    <a:pt x="1354" y="965"/>
                    <a:pt x="1351" y="966"/>
                  </a:cubicBezTo>
                  <a:cubicBezTo>
                    <a:pt x="1350" y="971"/>
                    <a:pt x="1352" y="978"/>
                    <a:pt x="1354" y="981"/>
                  </a:cubicBezTo>
                  <a:cubicBezTo>
                    <a:pt x="1354" y="983"/>
                    <a:pt x="1351" y="982"/>
                    <a:pt x="1351" y="983"/>
                  </a:cubicBezTo>
                  <a:cubicBezTo>
                    <a:pt x="1353" y="986"/>
                    <a:pt x="1353" y="989"/>
                    <a:pt x="1354" y="993"/>
                  </a:cubicBezTo>
                  <a:cubicBezTo>
                    <a:pt x="1358" y="995"/>
                    <a:pt x="1363" y="994"/>
                    <a:pt x="1364" y="990"/>
                  </a:cubicBezTo>
                  <a:cubicBezTo>
                    <a:pt x="1367" y="990"/>
                    <a:pt x="1365" y="994"/>
                    <a:pt x="1366" y="995"/>
                  </a:cubicBezTo>
                  <a:cubicBezTo>
                    <a:pt x="1375" y="995"/>
                    <a:pt x="1378" y="989"/>
                    <a:pt x="1382" y="984"/>
                  </a:cubicBezTo>
                  <a:cubicBezTo>
                    <a:pt x="1386" y="984"/>
                    <a:pt x="1384" y="989"/>
                    <a:pt x="1383" y="991"/>
                  </a:cubicBezTo>
                  <a:cubicBezTo>
                    <a:pt x="1385" y="995"/>
                    <a:pt x="1390" y="994"/>
                    <a:pt x="1394" y="993"/>
                  </a:cubicBezTo>
                  <a:cubicBezTo>
                    <a:pt x="1394" y="991"/>
                    <a:pt x="1392" y="989"/>
                    <a:pt x="1394" y="987"/>
                  </a:cubicBezTo>
                  <a:cubicBezTo>
                    <a:pt x="1398" y="987"/>
                    <a:pt x="1397" y="992"/>
                    <a:pt x="1398" y="993"/>
                  </a:cubicBezTo>
                  <a:cubicBezTo>
                    <a:pt x="1402" y="994"/>
                    <a:pt x="1400" y="989"/>
                    <a:pt x="1401" y="987"/>
                  </a:cubicBezTo>
                  <a:cubicBezTo>
                    <a:pt x="1404" y="987"/>
                    <a:pt x="1403" y="992"/>
                    <a:pt x="1405" y="993"/>
                  </a:cubicBezTo>
                  <a:cubicBezTo>
                    <a:pt x="1409" y="993"/>
                    <a:pt x="1412" y="992"/>
                    <a:pt x="1415" y="991"/>
                  </a:cubicBezTo>
                  <a:cubicBezTo>
                    <a:pt x="1414" y="986"/>
                    <a:pt x="1415" y="979"/>
                    <a:pt x="1412" y="976"/>
                  </a:cubicBezTo>
                  <a:cubicBezTo>
                    <a:pt x="1417" y="966"/>
                    <a:pt x="1411" y="947"/>
                    <a:pt x="1418" y="937"/>
                  </a:cubicBezTo>
                  <a:cubicBezTo>
                    <a:pt x="1418" y="942"/>
                    <a:pt x="1423" y="948"/>
                    <a:pt x="1420" y="952"/>
                  </a:cubicBezTo>
                  <a:cubicBezTo>
                    <a:pt x="1421" y="955"/>
                    <a:pt x="1422" y="957"/>
                    <a:pt x="1424" y="959"/>
                  </a:cubicBezTo>
                  <a:cubicBezTo>
                    <a:pt x="1425" y="961"/>
                    <a:pt x="1423" y="962"/>
                    <a:pt x="1422" y="963"/>
                  </a:cubicBezTo>
                  <a:cubicBezTo>
                    <a:pt x="1426" y="966"/>
                    <a:pt x="1430" y="962"/>
                    <a:pt x="1431" y="959"/>
                  </a:cubicBezTo>
                  <a:cubicBezTo>
                    <a:pt x="1434" y="967"/>
                    <a:pt x="1429" y="981"/>
                    <a:pt x="1435" y="989"/>
                  </a:cubicBezTo>
                  <a:cubicBezTo>
                    <a:pt x="1435" y="1012"/>
                    <a:pt x="1435" y="1036"/>
                    <a:pt x="1435" y="1060"/>
                  </a:cubicBezTo>
                  <a:cubicBezTo>
                    <a:pt x="1349" y="1060"/>
                    <a:pt x="1254" y="1060"/>
                    <a:pt x="1165" y="1060"/>
                  </a:cubicBezTo>
                  <a:cubicBezTo>
                    <a:pt x="1155" y="1060"/>
                    <a:pt x="1132" y="1062"/>
                    <a:pt x="1127" y="1059"/>
                  </a:cubicBezTo>
                  <a:cubicBezTo>
                    <a:pt x="1125" y="1057"/>
                    <a:pt x="1130" y="1054"/>
                    <a:pt x="1127" y="1052"/>
                  </a:cubicBezTo>
                  <a:cubicBezTo>
                    <a:pt x="1128" y="1052"/>
                    <a:pt x="1129" y="1055"/>
                    <a:pt x="1129" y="1053"/>
                  </a:cubicBezTo>
                  <a:cubicBezTo>
                    <a:pt x="1130" y="1051"/>
                    <a:pt x="1129" y="1046"/>
                    <a:pt x="1126" y="1047"/>
                  </a:cubicBezTo>
                  <a:cubicBezTo>
                    <a:pt x="1127" y="1049"/>
                    <a:pt x="1123" y="1056"/>
                    <a:pt x="1122" y="1052"/>
                  </a:cubicBezTo>
                  <a:cubicBezTo>
                    <a:pt x="1120" y="1057"/>
                    <a:pt x="1126" y="1054"/>
                    <a:pt x="1126" y="1058"/>
                  </a:cubicBezTo>
                  <a:cubicBezTo>
                    <a:pt x="1125" y="1059"/>
                    <a:pt x="1125" y="1059"/>
                    <a:pt x="1125" y="1060"/>
                  </a:cubicBezTo>
                  <a:cubicBezTo>
                    <a:pt x="1115" y="1059"/>
                    <a:pt x="1103" y="1061"/>
                    <a:pt x="1094" y="1059"/>
                  </a:cubicBezTo>
                  <a:cubicBezTo>
                    <a:pt x="1093" y="1048"/>
                    <a:pt x="1108" y="1052"/>
                    <a:pt x="1112" y="1046"/>
                  </a:cubicBezTo>
                  <a:cubicBezTo>
                    <a:pt x="1112" y="1049"/>
                    <a:pt x="1118" y="1046"/>
                    <a:pt x="1118" y="1049"/>
                  </a:cubicBezTo>
                  <a:cubicBezTo>
                    <a:pt x="1120" y="1047"/>
                    <a:pt x="1123" y="1046"/>
                    <a:pt x="1124" y="1043"/>
                  </a:cubicBezTo>
                  <a:cubicBezTo>
                    <a:pt x="1127" y="1043"/>
                    <a:pt x="1131" y="1045"/>
                    <a:pt x="1134" y="1041"/>
                  </a:cubicBezTo>
                  <a:cubicBezTo>
                    <a:pt x="1135" y="1042"/>
                    <a:pt x="1135" y="1043"/>
                    <a:pt x="1135" y="1044"/>
                  </a:cubicBezTo>
                  <a:cubicBezTo>
                    <a:pt x="1137" y="1043"/>
                    <a:pt x="1140" y="1040"/>
                    <a:pt x="1138" y="1044"/>
                  </a:cubicBezTo>
                  <a:cubicBezTo>
                    <a:pt x="1141" y="1044"/>
                    <a:pt x="1139" y="1039"/>
                    <a:pt x="1142" y="1039"/>
                  </a:cubicBezTo>
                  <a:cubicBezTo>
                    <a:pt x="1143" y="1039"/>
                    <a:pt x="1142" y="1042"/>
                    <a:pt x="1144" y="1042"/>
                  </a:cubicBezTo>
                  <a:cubicBezTo>
                    <a:pt x="1145" y="1041"/>
                    <a:pt x="1146" y="1039"/>
                    <a:pt x="1148" y="1039"/>
                  </a:cubicBezTo>
                  <a:cubicBezTo>
                    <a:pt x="1148" y="1040"/>
                    <a:pt x="1148" y="1042"/>
                    <a:pt x="1150" y="1043"/>
                  </a:cubicBezTo>
                  <a:cubicBezTo>
                    <a:pt x="1152" y="1041"/>
                    <a:pt x="1147" y="1039"/>
                    <a:pt x="1150" y="1039"/>
                  </a:cubicBezTo>
                  <a:cubicBezTo>
                    <a:pt x="1153" y="1038"/>
                    <a:pt x="1150" y="1043"/>
                    <a:pt x="1154" y="1041"/>
                  </a:cubicBezTo>
                  <a:cubicBezTo>
                    <a:pt x="1155" y="1038"/>
                    <a:pt x="1155" y="1038"/>
                    <a:pt x="1157" y="1035"/>
                  </a:cubicBezTo>
                  <a:cubicBezTo>
                    <a:pt x="1154" y="1036"/>
                    <a:pt x="1148" y="1034"/>
                    <a:pt x="1146" y="1038"/>
                  </a:cubicBezTo>
                  <a:cubicBezTo>
                    <a:pt x="1145" y="1037"/>
                    <a:pt x="1145" y="1036"/>
                    <a:pt x="1144" y="1036"/>
                  </a:cubicBezTo>
                  <a:cubicBezTo>
                    <a:pt x="1127" y="1038"/>
                    <a:pt x="1111" y="1039"/>
                    <a:pt x="1090" y="1039"/>
                  </a:cubicBezTo>
                  <a:cubicBezTo>
                    <a:pt x="1091" y="1044"/>
                    <a:pt x="1089" y="1044"/>
                    <a:pt x="1090" y="1048"/>
                  </a:cubicBezTo>
                  <a:cubicBezTo>
                    <a:pt x="1082" y="1050"/>
                    <a:pt x="1074" y="1049"/>
                    <a:pt x="1070" y="1044"/>
                  </a:cubicBezTo>
                  <a:cubicBezTo>
                    <a:pt x="1074" y="1045"/>
                    <a:pt x="1076" y="1042"/>
                    <a:pt x="1078" y="1040"/>
                  </a:cubicBezTo>
                  <a:cubicBezTo>
                    <a:pt x="1065" y="1041"/>
                    <a:pt x="1059" y="1040"/>
                    <a:pt x="1049" y="1043"/>
                  </a:cubicBezTo>
                  <a:cubicBezTo>
                    <a:pt x="1043" y="1039"/>
                    <a:pt x="1029" y="1046"/>
                    <a:pt x="1023" y="1041"/>
                  </a:cubicBezTo>
                  <a:cubicBezTo>
                    <a:pt x="1017" y="1044"/>
                    <a:pt x="1008" y="1037"/>
                    <a:pt x="1000" y="1041"/>
                  </a:cubicBezTo>
                  <a:cubicBezTo>
                    <a:pt x="998" y="1036"/>
                    <a:pt x="993" y="1039"/>
                    <a:pt x="991" y="1037"/>
                  </a:cubicBezTo>
                  <a:cubicBezTo>
                    <a:pt x="984" y="1041"/>
                    <a:pt x="974" y="1037"/>
                    <a:pt x="965" y="1038"/>
                  </a:cubicBezTo>
                  <a:cubicBezTo>
                    <a:pt x="961" y="1038"/>
                    <a:pt x="956" y="1041"/>
                    <a:pt x="952" y="1039"/>
                  </a:cubicBezTo>
                  <a:cubicBezTo>
                    <a:pt x="951" y="1039"/>
                    <a:pt x="950" y="1041"/>
                    <a:pt x="948" y="1041"/>
                  </a:cubicBezTo>
                  <a:cubicBezTo>
                    <a:pt x="936" y="1038"/>
                    <a:pt x="926" y="1044"/>
                    <a:pt x="913" y="1041"/>
                  </a:cubicBezTo>
                  <a:cubicBezTo>
                    <a:pt x="903" y="1041"/>
                    <a:pt x="889" y="1045"/>
                    <a:pt x="877" y="1039"/>
                  </a:cubicBezTo>
                  <a:cubicBezTo>
                    <a:pt x="873" y="1039"/>
                    <a:pt x="866" y="1039"/>
                    <a:pt x="863" y="1036"/>
                  </a:cubicBezTo>
                  <a:cubicBezTo>
                    <a:pt x="861" y="1039"/>
                    <a:pt x="854" y="1036"/>
                    <a:pt x="851" y="1034"/>
                  </a:cubicBezTo>
                  <a:cubicBezTo>
                    <a:pt x="846" y="1037"/>
                    <a:pt x="839" y="1033"/>
                    <a:pt x="834" y="1034"/>
                  </a:cubicBezTo>
                  <a:cubicBezTo>
                    <a:pt x="831" y="1032"/>
                    <a:pt x="826" y="1031"/>
                    <a:pt x="821" y="1031"/>
                  </a:cubicBezTo>
                  <a:cubicBezTo>
                    <a:pt x="820" y="1030"/>
                    <a:pt x="819" y="1028"/>
                    <a:pt x="818" y="1027"/>
                  </a:cubicBezTo>
                  <a:cubicBezTo>
                    <a:pt x="821" y="1025"/>
                    <a:pt x="825" y="1024"/>
                    <a:pt x="827" y="1022"/>
                  </a:cubicBezTo>
                  <a:cubicBezTo>
                    <a:pt x="822" y="1021"/>
                    <a:pt x="815" y="1022"/>
                    <a:pt x="809" y="1021"/>
                  </a:cubicBezTo>
                  <a:cubicBezTo>
                    <a:pt x="808" y="1018"/>
                    <a:pt x="806" y="1014"/>
                    <a:pt x="803" y="1015"/>
                  </a:cubicBezTo>
                  <a:cubicBezTo>
                    <a:pt x="800" y="1017"/>
                    <a:pt x="803" y="1017"/>
                    <a:pt x="803" y="1020"/>
                  </a:cubicBezTo>
                  <a:cubicBezTo>
                    <a:pt x="801" y="1024"/>
                    <a:pt x="799" y="1019"/>
                    <a:pt x="797" y="1022"/>
                  </a:cubicBezTo>
                  <a:cubicBezTo>
                    <a:pt x="799" y="1022"/>
                    <a:pt x="801" y="1026"/>
                    <a:pt x="800" y="1028"/>
                  </a:cubicBezTo>
                  <a:cubicBezTo>
                    <a:pt x="792" y="1023"/>
                    <a:pt x="780" y="1029"/>
                    <a:pt x="773" y="1028"/>
                  </a:cubicBezTo>
                  <a:cubicBezTo>
                    <a:pt x="771" y="1029"/>
                    <a:pt x="774" y="1031"/>
                    <a:pt x="771" y="1032"/>
                  </a:cubicBezTo>
                  <a:cubicBezTo>
                    <a:pt x="753" y="1027"/>
                    <a:pt x="739" y="1033"/>
                    <a:pt x="722" y="1035"/>
                  </a:cubicBezTo>
                  <a:cubicBezTo>
                    <a:pt x="721" y="1039"/>
                    <a:pt x="718" y="1042"/>
                    <a:pt x="718" y="1044"/>
                  </a:cubicBezTo>
                  <a:cubicBezTo>
                    <a:pt x="721" y="1045"/>
                    <a:pt x="719" y="1041"/>
                    <a:pt x="721" y="1042"/>
                  </a:cubicBezTo>
                  <a:cubicBezTo>
                    <a:pt x="726" y="1047"/>
                    <a:pt x="713" y="1048"/>
                    <a:pt x="711" y="1044"/>
                  </a:cubicBezTo>
                  <a:cubicBezTo>
                    <a:pt x="712" y="1042"/>
                    <a:pt x="714" y="1044"/>
                    <a:pt x="714" y="1041"/>
                  </a:cubicBezTo>
                  <a:cubicBezTo>
                    <a:pt x="712" y="1041"/>
                    <a:pt x="712" y="1042"/>
                    <a:pt x="710" y="1042"/>
                  </a:cubicBezTo>
                  <a:cubicBezTo>
                    <a:pt x="709" y="1041"/>
                    <a:pt x="709" y="1038"/>
                    <a:pt x="707" y="1039"/>
                  </a:cubicBezTo>
                  <a:cubicBezTo>
                    <a:pt x="698" y="1041"/>
                    <a:pt x="691" y="1037"/>
                    <a:pt x="686" y="1036"/>
                  </a:cubicBezTo>
                  <a:cubicBezTo>
                    <a:pt x="688" y="1038"/>
                    <a:pt x="685" y="1037"/>
                    <a:pt x="684" y="1038"/>
                  </a:cubicBezTo>
                  <a:cubicBezTo>
                    <a:pt x="673" y="1034"/>
                    <a:pt x="663" y="1034"/>
                    <a:pt x="650" y="1031"/>
                  </a:cubicBezTo>
                  <a:cubicBezTo>
                    <a:pt x="639" y="1024"/>
                    <a:pt x="618" y="1032"/>
                    <a:pt x="609" y="1025"/>
                  </a:cubicBezTo>
                  <a:cubicBezTo>
                    <a:pt x="610" y="1022"/>
                    <a:pt x="613" y="1022"/>
                    <a:pt x="613" y="1018"/>
                  </a:cubicBezTo>
                  <a:cubicBezTo>
                    <a:pt x="610" y="1017"/>
                    <a:pt x="609" y="1020"/>
                    <a:pt x="609" y="1017"/>
                  </a:cubicBezTo>
                  <a:cubicBezTo>
                    <a:pt x="611" y="1015"/>
                    <a:pt x="613" y="1019"/>
                    <a:pt x="615" y="1017"/>
                  </a:cubicBezTo>
                  <a:cubicBezTo>
                    <a:pt x="613" y="1015"/>
                    <a:pt x="613" y="1012"/>
                    <a:pt x="616" y="1011"/>
                  </a:cubicBezTo>
                  <a:cubicBezTo>
                    <a:pt x="614" y="1009"/>
                    <a:pt x="611" y="1010"/>
                    <a:pt x="611" y="1008"/>
                  </a:cubicBezTo>
                  <a:cubicBezTo>
                    <a:pt x="613" y="1003"/>
                    <a:pt x="607" y="1004"/>
                    <a:pt x="606" y="1000"/>
                  </a:cubicBezTo>
                  <a:cubicBezTo>
                    <a:pt x="607" y="999"/>
                    <a:pt x="608" y="998"/>
                    <a:pt x="610" y="998"/>
                  </a:cubicBezTo>
                  <a:cubicBezTo>
                    <a:pt x="612" y="1000"/>
                    <a:pt x="613" y="1003"/>
                    <a:pt x="614" y="1006"/>
                  </a:cubicBezTo>
                  <a:cubicBezTo>
                    <a:pt x="619" y="1006"/>
                    <a:pt x="623" y="1006"/>
                    <a:pt x="624" y="1010"/>
                  </a:cubicBezTo>
                  <a:cubicBezTo>
                    <a:pt x="621" y="1012"/>
                    <a:pt x="619" y="1007"/>
                    <a:pt x="617" y="1011"/>
                  </a:cubicBezTo>
                  <a:cubicBezTo>
                    <a:pt x="619" y="1016"/>
                    <a:pt x="622" y="1017"/>
                    <a:pt x="621" y="1025"/>
                  </a:cubicBezTo>
                  <a:cubicBezTo>
                    <a:pt x="627" y="1019"/>
                    <a:pt x="636" y="1026"/>
                    <a:pt x="642" y="1024"/>
                  </a:cubicBezTo>
                  <a:cubicBezTo>
                    <a:pt x="643" y="1021"/>
                    <a:pt x="640" y="1023"/>
                    <a:pt x="641" y="1021"/>
                  </a:cubicBezTo>
                  <a:cubicBezTo>
                    <a:pt x="642" y="1021"/>
                    <a:pt x="647" y="1018"/>
                    <a:pt x="648" y="1022"/>
                  </a:cubicBezTo>
                  <a:cubicBezTo>
                    <a:pt x="650" y="1023"/>
                    <a:pt x="649" y="1019"/>
                    <a:pt x="652" y="1019"/>
                  </a:cubicBezTo>
                  <a:cubicBezTo>
                    <a:pt x="654" y="1022"/>
                    <a:pt x="655" y="1025"/>
                    <a:pt x="657" y="1028"/>
                  </a:cubicBezTo>
                  <a:cubicBezTo>
                    <a:pt x="657" y="1024"/>
                    <a:pt x="659" y="1023"/>
                    <a:pt x="660" y="1021"/>
                  </a:cubicBezTo>
                  <a:cubicBezTo>
                    <a:pt x="663" y="1020"/>
                    <a:pt x="665" y="1024"/>
                    <a:pt x="667" y="1021"/>
                  </a:cubicBezTo>
                  <a:cubicBezTo>
                    <a:pt x="665" y="1020"/>
                    <a:pt x="662" y="1020"/>
                    <a:pt x="662" y="1018"/>
                  </a:cubicBezTo>
                  <a:cubicBezTo>
                    <a:pt x="662" y="1015"/>
                    <a:pt x="662" y="1011"/>
                    <a:pt x="665" y="1012"/>
                  </a:cubicBezTo>
                  <a:cubicBezTo>
                    <a:pt x="667" y="1012"/>
                    <a:pt x="668" y="1017"/>
                    <a:pt x="666" y="1017"/>
                  </a:cubicBezTo>
                  <a:cubicBezTo>
                    <a:pt x="668" y="1018"/>
                    <a:pt x="669" y="1014"/>
                    <a:pt x="670" y="1017"/>
                  </a:cubicBezTo>
                  <a:cubicBezTo>
                    <a:pt x="670" y="1012"/>
                    <a:pt x="667" y="1011"/>
                    <a:pt x="663" y="1009"/>
                  </a:cubicBezTo>
                  <a:cubicBezTo>
                    <a:pt x="660" y="1011"/>
                    <a:pt x="657" y="1015"/>
                    <a:pt x="653" y="1012"/>
                  </a:cubicBezTo>
                  <a:cubicBezTo>
                    <a:pt x="653" y="1011"/>
                    <a:pt x="654" y="1008"/>
                    <a:pt x="652" y="1009"/>
                  </a:cubicBezTo>
                  <a:cubicBezTo>
                    <a:pt x="652" y="1009"/>
                    <a:pt x="652" y="1010"/>
                    <a:pt x="652" y="1011"/>
                  </a:cubicBezTo>
                  <a:cubicBezTo>
                    <a:pt x="651" y="1009"/>
                    <a:pt x="649" y="1008"/>
                    <a:pt x="648" y="1007"/>
                  </a:cubicBezTo>
                  <a:cubicBezTo>
                    <a:pt x="653" y="1007"/>
                    <a:pt x="657" y="1009"/>
                    <a:pt x="661" y="1005"/>
                  </a:cubicBezTo>
                  <a:cubicBezTo>
                    <a:pt x="663" y="1006"/>
                    <a:pt x="664" y="1008"/>
                    <a:pt x="667" y="1008"/>
                  </a:cubicBezTo>
                  <a:cubicBezTo>
                    <a:pt x="667" y="1005"/>
                    <a:pt x="669" y="1007"/>
                    <a:pt x="671" y="1005"/>
                  </a:cubicBezTo>
                  <a:cubicBezTo>
                    <a:pt x="670" y="1001"/>
                    <a:pt x="665" y="1002"/>
                    <a:pt x="663" y="999"/>
                  </a:cubicBezTo>
                  <a:cubicBezTo>
                    <a:pt x="665" y="999"/>
                    <a:pt x="675" y="997"/>
                    <a:pt x="676" y="1002"/>
                  </a:cubicBezTo>
                  <a:cubicBezTo>
                    <a:pt x="677" y="1004"/>
                    <a:pt x="673" y="1002"/>
                    <a:pt x="673" y="1005"/>
                  </a:cubicBezTo>
                  <a:cubicBezTo>
                    <a:pt x="681" y="1012"/>
                    <a:pt x="693" y="1005"/>
                    <a:pt x="701" y="1012"/>
                  </a:cubicBezTo>
                  <a:cubicBezTo>
                    <a:pt x="695" y="1014"/>
                    <a:pt x="692" y="1011"/>
                    <a:pt x="687" y="1010"/>
                  </a:cubicBezTo>
                  <a:cubicBezTo>
                    <a:pt x="686" y="1011"/>
                    <a:pt x="686" y="1014"/>
                    <a:pt x="685" y="1015"/>
                  </a:cubicBezTo>
                  <a:cubicBezTo>
                    <a:pt x="680" y="1015"/>
                    <a:pt x="679" y="1006"/>
                    <a:pt x="673" y="1009"/>
                  </a:cubicBezTo>
                  <a:cubicBezTo>
                    <a:pt x="680" y="1010"/>
                    <a:pt x="676" y="1019"/>
                    <a:pt x="683" y="1020"/>
                  </a:cubicBezTo>
                  <a:cubicBezTo>
                    <a:pt x="685" y="1019"/>
                    <a:pt x="684" y="1015"/>
                    <a:pt x="687" y="1015"/>
                  </a:cubicBezTo>
                  <a:cubicBezTo>
                    <a:pt x="689" y="1015"/>
                    <a:pt x="689" y="1017"/>
                    <a:pt x="690" y="1017"/>
                  </a:cubicBezTo>
                  <a:cubicBezTo>
                    <a:pt x="690" y="1019"/>
                    <a:pt x="687" y="1018"/>
                    <a:pt x="688" y="1020"/>
                  </a:cubicBezTo>
                  <a:cubicBezTo>
                    <a:pt x="693" y="1016"/>
                    <a:pt x="696" y="1026"/>
                    <a:pt x="698" y="1020"/>
                  </a:cubicBezTo>
                  <a:cubicBezTo>
                    <a:pt x="696" y="1019"/>
                    <a:pt x="692" y="1019"/>
                    <a:pt x="691" y="1017"/>
                  </a:cubicBezTo>
                  <a:cubicBezTo>
                    <a:pt x="693" y="1015"/>
                    <a:pt x="696" y="1016"/>
                    <a:pt x="699" y="1014"/>
                  </a:cubicBezTo>
                  <a:cubicBezTo>
                    <a:pt x="701" y="1016"/>
                    <a:pt x="704" y="1017"/>
                    <a:pt x="705" y="1020"/>
                  </a:cubicBezTo>
                  <a:cubicBezTo>
                    <a:pt x="706" y="1017"/>
                    <a:pt x="703" y="1017"/>
                    <a:pt x="704" y="1015"/>
                  </a:cubicBezTo>
                  <a:cubicBezTo>
                    <a:pt x="710" y="1014"/>
                    <a:pt x="712" y="1020"/>
                    <a:pt x="717" y="1021"/>
                  </a:cubicBezTo>
                  <a:cubicBezTo>
                    <a:pt x="717" y="1015"/>
                    <a:pt x="707" y="1015"/>
                    <a:pt x="704" y="1011"/>
                  </a:cubicBezTo>
                  <a:cubicBezTo>
                    <a:pt x="705" y="1010"/>
                    <a:pt x="709" y="1011"/>
                    <a:pt x="709" y="1009"/>
                  </a:cubicBezTo>
                  <a:cubicBezTo>
                    <a:pt x="707" y="1008"/>
                    <a:pt x="702" y="1010"/>
                    <a:pt x="701" y="1007"/>
                  </a:cubicBezTo>
                  <a:cubicBezTo>
                    <a:pt x="704" y="1005"/>
                    <a:pt x="710" y="1006"/>
                    <a:pt x="712" y="1008"/>
                  </a:cubicBezTo>
                  <a:cubicBezTo>
                    <a:pt x="711" y="1010"/>
                    <a:pt x="711" y="1011"/>
                    <a:pt x="712" y="1013"/>
                  </a:cubicBezTo>
                  <a:cubicBezTo>
                    <a:pt x="714" y="1014"/>
                    <a:pt x="715" y="1011"/>
                    <a:pt x="719" y="1012"/>
                  </a:cubicBezTo>
                  <a:cubicBezTo>
                    <a:pt x="720" y="1015"/>
                    <a:pt x="724" y="1015"/>
                    <a:pt x="724" y="1019"/>
                  </a:cubicBezTo>
                  <a:cubicBezTo>
                    <a:pt x="729" y="1020"/>
                    <a:pt x="732" y="1016"/>
                    <a:pt x="736" y="1014"/>
                  </a:cubicBezTo>
                  <a:cubicBezTo>
                    <a:pt x="733" y="1013"/>
                    <a:pt x="732" y="1011"/>
                    <a:pt x="730" y="1009"/>
                  </a:cubicBezTo>
                  <a:cubicBezTo>
                    <a:pt x="730" y="1012"/>
                    <a:pt x="727" y="1010"/>
                    <a:pt x="726" y="1011"/>
                  </a:cubicBezTo>
                  <a:cubicBezTo>
                    <a:pt x="726" y="1012"/>
                    <a:pt x="727" y="1015"/>
                    <a:pt x="725" y="1015"/>
                  </a:cubicBezTo>
                  <a:cubicBezTo>
                    <a:pt x="722" y="1013"/>
                    <a:pt x="717" y="1012"/>
                    <a:pt x="713" y="1009"/>
                  </a:cubicBezTo>
                  <a:cubicBezTo>
                    <a:pt x="720" y="1003"/>
                    <a:pt x="732" y="1007"/>
                    <a:pt x="740" y="1007"/>
                  </a:cubicBezTo>
                  <a:cubicBezTo>
                    <a:pt x="740" y="1002"/>
                    <a:pt x="734" y="1004"/>
                    <a:pt x="734" y="1000"/>
                  </a:cubicBezTo>
                  <a:cubicBezTo>
                    <a:pt x="735" y="1000"/>
                    <a:pt x="734" y="997"/>
                    <a:pt x="736" y="997"/>
                  </a:cubicBezTo>
                  <a:cubicBezTo>
                    <a:pt x="740" y="996"/>
                    <a:pt x="739" y="1000"/>
                    <a:pt x="741" y="1000"/>
                  </a:cubicBezTo>
                  <a:cubicBezTo>
                    <a:pt x="741" y="1000"/>
                    <a:pt x="740" y="1004"/>
                    <a:pt x="741" y="1006"/>
                  </a:cubicBezTo>
                  <a:cubicBezTo>
                    <a:pt x="746" y="1006"/>
                    <a:pt x="751" y="1008"/>
                    <a:pt x="751" y="1012"/>
                  </a:cubicBezTo>
                  <a:cubicBezTo>
                    <a:pt x="753" y="1008"/>
                    <a:pt x="762" y="1007"/>
                    <a:pt x="764" y="1012"/>
                  </a:cubicBezTo>
                  <a:cubicBezTo>
                    <a:pt x="762" y="1015"/>
                    <a:pt x="756" y="1009"/>
                    <a:pt x="755" y="1013"/>
                  </a:cubicBezTo>
                  <a:cubicBezTo>
                    <a:pt x="759" y="1014"/>
                    <a:pt x="758" y="1016"/>
                    <a:pt x="759" y="1017"/>
                  </a:cubicBezTo>
                  <a:cubicBezTo>
                    <a:pt x="764" y="1017"/>
                    <a:pt x="765" y="1015"/>
                    <a:pt x="770" y="1015"/>
                  </a:cubicBezTo>
                  <a:cubicBezTo>
                    <a:pt x="772" y="1017"/>
                    <a:pt x="771" y="1019"/>
                    <a:pt x="771" y="1021"/>
                  </a:cubicBezTo>
                  <a:cubicBezTo>
                    <a:pt x="773" y="1022"/>
                    <a:pt x="771" y="1019"/>
                    <a:pt x="773" y="1019"/>
                  </a:cubicBezTo>
                  <a:cubicBezTo>
                    <a:pt x="777" y="1023"/>
                    <a:pt x="781" y="1022"/>
                    <a:pt x="785" y="1024"/>
                  </a:cubicBezTo>
                  <a:cubicBezTo>
                    <a:pt x="783" y="1019"/>
                    <a:pt x="781" y="1016"/>
                    <a:pt x="774" y="1017"/>
                  </a:cubicBezTo>
                  <a:cubicBezTo>
                    <a:pt x="773" y="1014"/>
                    <a:pt x="770" y="1012"/>
                    <a:pt x="768" y="1013"/>
                  </a:cubicBezTo>
                  <a:cubicBezTo>
                    <a:pt x="769" y="1010"/>
                    <a:pt x="764" y="1009"/>
                    <a:pt x="766" y="1008"/>
                  </a:cubicBezTo>
                  <a:cubicBezTo>
                    <a:pt x="769" y="1008"/>
                    <a:pt x="770" y="1010"/>
                    <a:pt x="772" y="1013"/>
                  </a:cubicBezTo>
                  <a:cubicBezTo>
                    <a:pt x="779" y="1013"/>
                    <a:pt x="787" y="1016"/>
                    <a:pt x="792" y="1020"/>
                  </a:cubicBezTo>
                  <a:cubicBezTo>
                    <a:pt x="793" y="1018"/>
                    <a:pt x="794" y="1015"/>
                    <a:pt x="793" y="1013"/>
                  </a:cubicBezTo>
                  <a:cubicBezTo>
                    <a:pt x="788" y="1016"/>
                    <a:pt x="784" y="1013"/>
                    <a:pt x="783" y="1008"/>
                  </a:cubicBezTo>
                  <a:cubicBezTo>
                    <a:pt x="786" y="1006"/>
                    <a:pt x="792" y="1008"/>
                    <a:pt x="790" y="1012"/>
                  </a:cubicBezTo>
                  <a:cubicBezTo>
                    <a:pt x="793" y="1008"/>
                    <a:pt x="797" y="1014"/>
                    <a:pt x="799" y="1009"/>
                  </a:cubicBezTo>
                  <a:cubicBezTo>
                    <a:pt x="797" y="1007"/>
                    <a:pt x="792" y="1008"/>
                    <a:pt x="792" y="1004"/>
                  </a:cubicBezTo>
                  <a:cubicBezTo>
                    <a:pt x="797" y="1005"/>
                    <a:pt x="802" y="1003"/>
                    <a:pt x="803" y="1007"/>
                  </a:cubicBezTo>
                  <a:cubicBezTo>
                    <a:pt x="803" y="1009"/>
                    <a:pt x="801" y="1008"/>
                    <a:pt x="802" y="1010"/>
                  </a:cubicBezTo>
                  <a:cubicBezTo>
                    <a:pt x="809" y="1009"/>
                    <a:pt x="812" y="1017"/>
                    <a:pt x="818" y="1019"/>
                  </a:cubicBezTo>
                  <a:cubicBezTo>
                    <a:pt x="818" y="1014"/>
                    <a:pt x="825" y="1017"/>
                    <a:pt x="825" y="1013"/>
                  </a:cubicBezTo>
                  <a:cubicBezTo>
                    <a:pt x="823" y="1013"/>
                    <a:pt x="821" y="1015"/>
                    <a:pt x="820" y="1013"/>
                  </a:cubicBezTo>
                  <a:cubicBezTo>
                    <a:pt x="820" y="1010"/>
                    <a:pt x="824" y="1011"/>
                    <a:pt x="825" y="1009"/>
                  </a:cubicBezTo>
                  <a:cubicBezTo>
                    <a:pt x="821" y="1008"/>
                    <a:pt x="815" y="1009"/>
                    <a:pt x="809" y="1011"/>
                  </a:cubicBezTo>
                  <a:cubicBezTo>
                    <a:pt x="810" y="1009"/>
                    <a:pt x="809" y="1009"/>
                    <a:pt x="809" y="1007"/>
                  </a:cubicBezTo>
                  <a:cubicBezTo>
                    <a:pt x="815" y="1006"/>
                    <a:pt x="824" y="1004"/>
                    <a:pt x="829" y="1008"/>
                  </a:cubicBezTo>
                  <a:cubicBezTo>
                    <a:pt x="829" y="1013"/>
                    <a:pt x="834" y="1012"/>
                    <a:pt x="835" y="1016"/>
                  </a:cubicBezTo>
                  <a:cubicBezTo>
                    <a:pt x="834" y="1017"/>
                    <a:pt x="828" y="1016"/>
                    <a:pt x="831" y="1019"/>
                  </a:cubicBezTo>
                  <a:cubicBezTo>
                    <a:pt x="834" y="1021"/>
                    <a:pt x="834" y="1014"/>
                    <a:pt x="837" y="1018"/>
                  </a:cubicBezTo>
                  <a:cubicBezTo>
                    <a:pt x="838" y="1016"/>
                    <a:pt x="842" y="1016"/>
                    <a:pt x="840" y="1013"/>
                  </a:cubicBezTo>
                  <a:cubicBezTo>
                    <a:pt x="837" y="1013"/>
                    <a:pt x="838" y="1016"/>
                    <a:pt x="835" y="1014"/>
                  </a:cubicBezTo>
                  <a:cubicBezTo>
                    <a:pt x="838" y="1011"/>
                    <a:pt x="836" y="1011"/>
                    <a:pt x="835" y="1006"/>
                  </a:cubicBezTo>
                  <a:cubicBezTo>
                    <a:pt x="840" y="1010"/>
                    <a:pt x="845" y="1005"/>
                    <a:pt x="850" y="1006"/>
                  </a:cubicBezTo>
                  <a:cubicBezTo>
                    <a:pt x="852" y="1009"/>
                    <a:pt x="857" y="1013"/>
                    <a:pt x="862" y="1011"/>
                  </a:cubicBezTo>
                  <a:cubicBezTo>
                    <a:pt x="860" y="1008"/>
                    <a:pt x="855" y="1010"/>
                    <a:pt x="855" y="1006"/>
                  </a:cubicBezTo>
                  <a:cubicBezTo>
                    <a:pt x="862" y="1010"/>
                    <a:pt x="869" y="1007"/>
                    <a:pt x="877" y="1006"/>
                  </a:cubicBezTo>
                  <a:cubicBezTo>
                    <a:pt x="879" y="1006"/>
                    <a:pt x="877" y="1009"/>
                    <a:pt x="879" y="1009"/>
                  </a:cubicBezTo>
                  <a:cubicBezTo>
                    <a:pt x="881" y="1007"/>
                    <a:pt x="882" y="1005"/>
                    <a:pt x="884" y="1004"/>
                  </a:cubicBezTo>
                  <a:cubicBezTo>
                    <a:pt x="892" y="1007"/>
                    <a:pt x="897" y="1004"/>
                    <a:pt x="906" y="1007"/>
                  </a:cubicBezTo>
                  <a:cubicBezTo>
                    <a:pt x="906" y="1003"/>
                    <a:pt x="907" y="1000"/>
                    <a:pt x="910" y="999"/>
                  </a:cubicBezTo>
                  <a:cubicBezTo>
                    <a:pt x="911" y="999"/>
                    <a:pt x="912" y="999"/>
                    <a:pt x="913" y="1000"/>
                  </a:cubicBezTo>
                  <a:cubicBezTo>
                    <a:pt x="912" y="1003"/>
                    <a:pt x="911" y="1004"/>
                    <a:pt x="913" y="1006"/>
                  </a:cubicBezTo>
                  <a:cubicBezTo>
                    <a:pt x="917" y="1005"/>
                    <a:pt x="928" y="1008"/>
                    <a:pt x="930" y="1002"/>
                  </a:cubicBezTo>
                  <a:cubicBezTo>
                    <a:pt x="926" y="999"/>
                    <a:pt x="926" y="994"/>
                    <a:pt x="918" y="995"/>
                  </a:cubicBezTo>
                  <a:cubicBezTo>
                    <a:pt x="916" y="995"/>
                    <a:pt x="918" y="998"/>
                    <a:pt x="915" y="998"/>
                  </a:cubicBezTo>
                  <a:cubicBezTo>
                    <a:pt x="912" y="999"/>
                    <a:pt x="913" y="994"/>
                    <a:pt x="911" y="995"/>
                  </a:cubicBezTo>
                  <a:cubicBezTo>
                    <a:pt x="907" y="998"/>
                    <a:pt x="903" y="998"/>
                    <a:pt x="899" y="996"/>
                  </a:cubicBezTo>
                  <a:cubicBezTo>
                    <a:pt x="898" y="998"/>
                    <a:pt x="896" y="996"/>
                    <a:pt x="892" y="997"/>
                  </a:cubicBezTo>
                  <a:cubicBezTo>
                    <a:pt x="891" y="1000"/>
                    <a:pt x="895" y="1000"/>
                    <a:pt x="893" y="1000"/>
                  </a:cubicBezTo>
                  <a:cubicBezTo>
                    <a:pt x="892" y="1000"/>
                    <a:pt x="891" y="1000"/>
                    <a:pt x="889" y="1000"/>
                  </a:cubicBezTo>
                  <a:cubicBezTo>
                    <a:pt x="890" y="999"/>
                    <a:pt x="889" y="998"/>
                    <a:pt x="889" y="997"/>
                  </a:cubicBezTo>
                  <a:cubicBezTo>
                    <a:pt x="877" y="995"/>
                    <a:pt x="861" y="995"/>
                    <a:pt x="846" y="996"/>
                  </a:cubicBezTo>
                  <a:cubicBezTo>
                    <a:pt x="843" y="988"/>
                    <a:pt x="837" y="982"/>
                    <a:pt x="831" y="977"/>
                  </a:cubicBezTo>
                  <a:cubicBezTo>
                    <a:pt x="826" y="984"/>
                    <a:pt x="820" y="988"/>
                    <a:pt x="817" y="996"/>
                  </a:cubicBezTo>
                  <a:cubicBezTo>
                    <a:pt x="821" y="997"/>
                    <a:pt x="822" y="999"/>
                    <a:pt x="824" y="999"/>
                  </a:cubicBezTo>
                  <a:cubicBezTo>
                    <a:pt x="822" y="1003"/>
                    <a:pt x="815" y="999"/>
                    <a:pt x="814" y="1003"/>
                  </a:cubicBezTo>
                  <a:cubicBezTo>
                    <a:pt x="814" y="1001"/>
                    <a:pt x="812" y="1002"/>
                    <a:pt x="812" y="1000"/>
                  </a:cubicBezTo>
                  <a:cubicBezTo>
                    <a:pt x="813" y="1000"/>
                    <a:pt x="815" y="999"/>
                    <a:pt x="816" y="998"/>
                  </a:cubicBezTo>
                  <a:cubicBezTo>
                    <a:pt x="811" y="995"/>
                    <a:pt x="797" y="995"/>
                    <a:pt x="793" y="998"/>
                  </a:cubicBezTo>
                  <a:cubicBezTo>
                    <a:pt x="794" y="1000"/>
                    <a:pt x="797" y="998"/>
                    <a:pt x="797" y="1000"/>
                  </a:cubicBezTo>
                  <a:cubicBezTo>
                    <a:pt x="795" y="1004"/>
                    <a:pt x="788" y="998"/>
                    <a:pt x="789" y="996"/>
                  </a:cubicBezTo>
                  <a:cubicBezTo>
                    <a:pt x="777" y="998"/>
                    <a:pt x="759" y="994"/>
                    <a:pt x="748" y="996"/>
                  </a:cubicBezTo>
                  <a:cubicBezTo>
                    <a:pt x="751" y="997"/>
                    <a:pt x="754" y="999"/>
                    <a:pt x="757" y="1000"/>
                  </a:cubicBezTo>
                  <a:cubicBezTo>
                    <a:pt x="753" y="1000"/>
                    <a:pt x="750" y="1001"/>
                    <a:pt x="748" y="1003"/>
                  </a:cubicBezTo>
                  <a:cubicBezTo>
                    <a:pt x="748" y="1002"/>
                    <a:pt x="746" y="1003"/>
                    <a:pt x="746" y="1002"/>
                  </a:cubicBezTo>
                  <a:cubicBezTo>
                    <a:pt x="744" y="1000"/>
                    <a:pt x="748" y="1001"/>
                    <a:pt x="747" y="998"/>
                  </a:cubicBezTo>
                  <a:cubicBezTo>
                    <a:pt x="744" y="995"/>
                    <a:pt x="737" y="995"/>
                    <a:pt x="730" y="996"/>
                  </a:cubicBezTo>
                  <a:cubicBezTo>
                    <a:pt x="729" y="1000"/>
                    <a:pt x="733" y="998"/>
                    <a:pt x="733" y="1000"/>
                  </a:cubicBezTo>
                  <a:cubicBezTo>
                    <a:pt x="730" y="1001"/>
                    <a:pt x="730" y="1003"/>
                    <a:pt x="727" y="1002"/>
                  </a:cubicBezTo>
                  <a:cubicBezTo>
                    <a:pt x="726" y="1000"/>
                    <a:pt x="726" y="998"/>
                    <a:pt x="725" y="996"/>
                  </a:cubicBezTo>
                  <a:cubicBezTo>
                    <a:pt x="722" y="995"/>
                    <a:pt x="718" y="996"/>
                    <a:pt x="719" y="991"/>
                  </a:cubicBezTo>
                  <a:cubicBezTo>
                    <a:pt x="720" y="989"/>
                    <a:pt x="722" y="993"/>
                    <a:pt x="722" y="990"/>
                  </a:cubicBezTo>
                  <a:cubicBezTo>
                    <a:pt x="726" y="962"/>
                    <a:pt x="731" y="936"/>
                    <a:pt x="736" y="909"/>
                  </a:cubicBezTo>
                  <a:cubicBezTo>
                    <a:pt x="746" y="854"/>
                    <a:pt x="756" y="797"/>
                    <a:pt x="764" y="742"/>
                  </a:cubicBezTo>
                  <a:cubicBezTo>
                    <a:pt x="768" y="719"/>
                    <a:pt x="775" y="696"/>
                    <a:pt x="775" y="674"/>
                  </a:cubicBezTo>
                  <a:cubicBezTo>
                    <a:pt x="775" y="666"/>
                    <a:pt x="777" y="662"/>
                    <a:pt x="778" y="656"/>
                  </a:cubicBezTo>
                  <a:cubicBezTo>
                    <a:pt x="781" y="636"/>
                    <a:pt x="782" y="618"/>
                    <a:pt x="785" y="599"/>
                  </a:cubicBezTo>
                  <a:cubicBezTo>
                    <a:pt x="770" y="583"/>
                    <a:pt x="755" y="568"/>
                    <a:pt x="740" y="552"/>
                  </a:cubicBezTo>
                  <a:cubicBezTo>
                    <a:pt x="745" y="552"/>
                    <a:pt x="747" y="555"/>
                    <a:pt x="747" y="559"/>
                  </a:cubicBezTo>
                  <a:cubicBezTo>
                    <a:pt x="762" y="570"/>
                    <a:pt x="771" y="585"/>
                    <a:pt x="785" y="596"/>
                  </a:cubicBezTo>
                  <a:cubicBezTo>
                    <a:pt x="788" y="582"/>
                    <a:pt x="789" y="565"/>
                    <a:pt x="792" y="550"/>
                  </a:cubicBezTo>
                  <a:cubicBezTo>
                    <a:pt x="775" y="549"/>
                    <a:pt x="753" y="548"/>
                    <a:pt x="738" y="551"/>
                  </a:cubicBezTo>
                  <a:cubicBezTo>
                    <a:pt x="732" y="548"/>
                    <a:pt x="724" y="550"/>
                    <a:pt x="719" y="551"/>
                  </a:cubicBezTo>
                  <a:cubicBezTo>
                    <a:pt x="724" y="565"/>
                    <a:pt x="717" y="586"/>
                    <a:pt x="723" y="601"/>
                  </a:cubicBezTo>
                  <a:cubicBezTo>
                    <a:pt x="721" y="601"/>
                    <a:pt x="721" y="603"/>
                    <a:pt x="721" y="605"/>
                  </a:cubicBezTo>
                  <a:cubicBezTo>
                    <a:pt x="722" y="606"/>
                    <a:pt x="724" y="607"/>
                    <a:pt x="723" y="611"/>
                  </a:cubicBezTo>
                  <a:cubicBezTo>
                    <a:pt x="722" y="613"/>
                    <a:pt x="720" y="607"/>
                    <a:pt x="719" y="612"/>
                  </a:cubicBezTo>
                  <a:cubicBezTo>
                    <a:pt x="721" y="616"/>
                    <a:pt x="729" y="622"/>
                    <a:pt x="732" y="627"/>
                  </a:cubicBezTo>
                  <a:cubicBezTo>
                    <a:pt x="731" y="627"/>
                    <a:pt x="730" y="626"/>
                    <a:pt x="727" y="627"/>
                  </a:cubicBezTo>
                  <a:cubicBezTo>
                    <a:pt x="724" y="623"/>
                    <a:pt x="721" y="619"/>
                    <a:pt x="717" y="616"/>
                  </a:cubicBezTo>
                  <a:cubicBezTo>
                    <a:pt x="714" y="618"/>
                    <a:pt x="713" y="618"/>
                    <a:pt x="712" y="614"/>
                  </a:cubicBezTo>
                  <a:cubicBezTo>
                    <a:pt x="715" y="613"/>
                    <a:pt x="717" y="617"/>
                    <a:pt x="717" y="614"/>
                  </a:cubicBezTo>
                  <a:cubicBezTo>
                    <a:pt x="717" y="611"/>
                    <a:pt x="713" y="612"/>
                    <a:pt x="714" y="608"/>
                  </a:cubicBezTo>
                  <a:cubicBezTo>
                    <a:pt x="720" y="592"/>
                    <a:pt x="715" y="570"/>
                    <a:pt x="717" y="551"/>
                  </a:cubicBezTo>
                  <a:cubicBezTo>
                    <a:pt x="717" y="549"/>
                    <a:pt x="714" y="551"/>
                    <a:pt x="714" y="548"/>
                  </a:cubicBezTo>
                  <a:cubicBezTo>
                    <a:pt x="719" y="544"/>
                    <a:pt x="728" y="545"/>
                    <a:pt x="730" y="540"/>
                  </a:cubicBezTo>
                  <a:cubicBezTo>
                    <a:pt x="746" y="536"/>
                    <a:pt x="759" y="529"/>
                    <a:pt x="773" y="523"/>
                  </a:cubicBezTo>
                  <a:cubicBezTo>
                    <a:pt x="773" y="521"/>
                    <a:pt x="767" y="520"/>
                    <a:pt x="768" y="519"/>
                  </a:cubicBezTo>
                  <a:cubicBezTo>
                    <a:pt x="773" y="518"/>
                    <a:pt x="774" y="524"/>
                    <a:pt x="778" y="521"/>
                  </a:cubicBezTo>
                  <a:cubicBezTo>
                    <a:pt x="779" y="519"/>
                    <a:pt x="775" y="520"/>
                    <a:pt x="776" y="518"/>
                  </a:cubicBezTo>
                  <a:cubicBezTo>
                    <a:pt x="778" y="519"/>
                    <a:pt x="781" y="521"/>
                    <a:pt x="783" y="519"/>
                  </a:cubicBezTo>
                  <a:cubicBezTo>
                    <a:pt x="785" y="519"/>
                    <a:pt x="781" y="517"/>
                    <a:pt x="783" y="517"/>
                  </a:cubicBezTo>
                  <a:cubicBezTo>
                    <a:pt x="787" y="519"/>
                    <a:pt x="789" y="516"/>
                    <a:pt x="794" y="515"/>
                  </a:cubicBezTo>
                  <a:cubicBezTo>
                    <a:pt x="796" y="504"/>
                    <a:pt x="796" y="489"/>
                    <a:pt x="797" y="475"/>
                  </a:cubicBezTo>
                  <a:cubicBezTo>
                    <a:pt x="798" y="469"/>
                    <a:pt x="800" y="454"/>
                    <a:pt x="799" y="450"/>
                  </a:cubicBezTo>
                  <a:cubicBezTo>
                    <a:pt x="798" y="443"/>
                    <a:pt x="790" y="440"/>
                    <a:pt x="788" y="435"/>
                  </a:cubicBezTo>
                  <a:cubicBezTo>
                    <a:pt x="756" y="436"/>
                    <a:pt x="725" y="437"/>
                    <a:pt x="696" y="439"/>
                  </a:cubicBezTo>
                  <a:cubicBezTo>
                    <a:pt x="700" y="447"/>
                    <a:pt x="694" y="459"/>
                    <a:pt x="699" y="465"/>
                  </a:cubicBezTo>
                  <a:cubicBezTo>
                    <a:pt x="706" y="468"/>
                    <a:pt x="712" y="471"/>
                    <a:pt x="717" y="476"/>
                  </a:cubicBezTo>
                  <a:cubicBezTo>
                    <a:pt x="737" y="487"/>
                    <a:pt x="756" y="499"/>
                    <a:pt x="775" y="512"/>
                  </a:cubicBezTo>
                  <a:cubicBezTo>
                    <a:pt x="777" y="511"/>
                    <a:pt x="780" y="514"/>
                    <a:pt x="779" y="515"/>
                  </a:cubicBezTo>
                  <a:cubicBezTo>
                    <a:pt x="772" y="512"/>
                    <a:pt x="767" y="507"/>
                    <a:pt x="759" y="504"/>
                  </a:cubicBezTo>
                  <a:cubicBezTo>
                    <a:pt x="756" y="499"/>
                    <a:pt x="749" y="499"/>
                    <a:pt x="746" y="494"/>
                  </a:cubicBezTo>
                  <a:cubicBezTo>
                    <a:pt x="733" y="490"/>
                    <a:pt x="726" y="481"/>
                    <a:pt x="714" y="476"/>
                  </a:cubicBezTo>
                  <a:cubicBezTo>
                    <a:pt x="709" y="472"/>
                    <a:pt x="703" y="467"/>
                    <a:pt x="697" y="466"/>
                  </a:cubicBezTo>
                  <a:cubicBezTo>
                    <a:pt x="695" y="472"/>
                    <a:pt x="706" y="472"/>
                    <a:pt x="706" y="476"/>
                  </a:cubicBezTo>
                  <a:cubicBezTo>
                    <a:pt x="702" y="476"/>
                    <a:pt x="701" y="473"/>
                    <a:pt x="698" y="472"/>
                  </a:cubicBezTo>
                  <a:cubicBezTo>
                    <a:pt x="698" y="475"/>
                    <a:pt x="697" y="480"/>
                    <a:pt x="697" y="486"/>
                  </a:cubicBezTo>
                  <a:cubicBezTo>
                    <a:pt x="699" y="488"/>
                    <a:pt x="701" y="488"/>
                    <a:pt x="702" y="491"/>
                  </a:cubicBezTo>
                  <a:cubicBezTo>
                    <a:pt x="700" y="493"/>
                    <a:pt x="698" y="498"/>
                    <a:pt x="701" y="501"/>
                  </a:cubicBezTo>
                  <a:cubicBezTo>
                    <a:pt x="699" y="500"/>
                    <a:pt x="697" y="497"/>
                    <a:pt x="695" y="499"/>
                  </a:cubicBezTo>
                  <a:cubicBezTo>
                    <a:pt x="703" y="513"/>
                    <a:pt x="719" y="525"/>
                    <a:pt x="730" y="540"/>
                  </a:cubicBezTo>
                  <a:cubicBezTo>
                    <a:pt x="719" y="531"/>
                    <a:pt x="711" y="519"/>
                    <a:pt x="699" y="511"/>
                  </a:cubicBezTo>
                  <a:cubicBezTo>
                    <a:pt x="699" y="510"/>
                    <a:pt x="698" y="509"/>
                    <a:pt x="698" y="507"/>
                  </a:cubicBezTo>
                  <a:cubicBezTo>
                    <a:pt x="696" y="503"/>
                    <a:pt x="690" y="506"/>
                    <a:pt x="689" y="502"/>
                  </a:cubicBezTo>
                  <a:cubicBezTo>
                    <a:pt x="691" y="500"/>
                    <a:pt x="693" y="505"/>
                    <a:pt x="693" y="502"/>
                  </a:cubicBezTo>
                  <a:cubicBezTo>
                    <a:pt x="690" y="497"/>
                    <a:pt x="691" y="494"/>
                    <a:pt x="693" y="490"/>
                  </a:cubicBezTo>
                  <a:cubicBezTo>
                    <a:pt x="692" y="482"/>
                    <a:pt x="695" y="471"/>
                    <a:pt x="691" y="467"/>
                  </a:cubicBezTo>
                  <a:cubicBezTo>
                    <a:pt x="692" y="467"/>
                    <a:pt x="694" y="467"/>
                    <a:pt x="693" y="464"/>
                  </a:cubicBezTo>
                  <a:cubicBezTo>
                    <a:pt x="685" y="454"/>
                    <a:pt x="671" y="451"/>
                    <a:pt x="663" y="441"/>
                  </a:cubicBezTo>
                  <a:cubicBezTo>
                    <a:pt x="642" y="431"/>
                    <a:pt x="626" y="416"/>
                    <a:pt x="605" y="406"/>
                  </a:cubicBezTo>
                  <a:cubicBezTo>
                    <a:pt x="605" y="407"/>
                    <a:pt x="604" y="408"/>
                    <a:pt x="603" y="408"/>
                  </a:cubicBezTo>
                  <a:cubicBezTo>
                    <a:pt x="627" y="428"/>
                    <a:pt x="653" y="440"/>
                    <a:pt x="678" y="458"/>
                  </a:cubicBezTo>
                  <a:cubicBezTo>
                    <a:pt x="652" y="445"/>
                    <a:pt x="628" y="426"/>
                    <a:pt x="601" y="411"/>
                  </a:cubicBezTo>
                  <a:cubicBezTo>
                    <a:pt x="610" y="423"/>
                    <a:pt x="626" y="427"/>
                    <a:pt x="637" y="437"/>
                  </a:cubicBezTo>
                  <a:cubicBezTo>
                    <a:pt x="638" y="437"/>
                    <a:pt x="639" y="437"/>
                    <a:pt x="640" y="437"/>
                  </a:cubicBezTo>
                  <a:cubicBezTo>
                    <a:pt x="644" y="444"/>
                    <a:pt x="657" y="447"/>
                    <a:pt x="660" y="452"/>
                  </a:cubicBezTo>
                  <a:cubicBezTo>
                    <a:pt x="637" y="439"/>
                    <a:pt x="614" y="425"/>
                    <a:pt x="594" y="410"/>
                  </a:cubicBezTo>
                  <a:cubicBezTo>
                    <a:pt x="595" y="409"/>
                    <a:pt x="593" y="408"/>
                    <a:pt x="594" y="406"/>
                  </a:cubicBezTo>
                  <a:cubicBezTo>
                    <a:pt x="564" y="385"/>
                    <a:pt x="533" y="367"/>
                    <a:pt x="505" y="346"/>
                  </a:cubicBezTo>
                  <a:cubicBezTo>
                    <a:pt x="476" y="330"/>
                    <a:pt x="452" y="309"/>
                    <a:pt x="423" y="292"/>
                  </a:cubicBezTo>
                  <a:cubicBezTo>
                    <a:pt x="415" y="286"/>
                    <a:pt x="407" y="280"/>
                    <a:pt x="397" y="275"/>
                  </a:cubicBezTo>
                  <a:cubicBezTo>
                    <a:pt x="396" y="271"/>
                    <a:pt x="393" y="270"/>
                    <a:pt x="389" y="269"/>
                  </a:cubicBezTo>
                  <a:cubicBezTo>
                    <a:pt x="315" y="216"/>
                    <a:pt x="240" y="164"/>
                    <a:pt x="166" y="113"/>
                  </a:cubicBezTo>
                  <a:cubicBezTo>
                    <a:pt x="144" y="96"/>
                    <a:pt x="121" y="80"/>
                    <a:pt x="99" y="64"/>
                  </a:cubicBezTo>
                  <a:cubicBezTo>
                    <a:pt x="91" y="59"/>
                    <a:pt x="84" y="52"/>
                    <a:pt x="75" y="49"/>
                  </a:cubicBezTo>
                  <a:cubicBezTo>
                    <a:pt x="128" y="90"/>
                    <a:pt x="184" y="128"/>
                    <a:pt x="240" y="166"/>
                  </a:cubicBezTo>
                  <a:cubicBezTo>
                    <a:pt x="309" y="217"/>
                    <a:pt x="382" y="264"/>
                    <a:pt x="451" y="314"/>
                  </a:cubicBezTo>
                  <a:cubicBezTo>
                    <a:pt x="471" y="325"/>
                    <a:pt x="487" y="339"/>
                    <a:pt x="507" y="350"/>
                  </a:cubicBezTo>
                  <a:cubicBezTo>
                    <a:pt x="513" y="356"/>
                    <a:pt x="520" y="360"/>
                    <a:pt x="528" y="364"/>
                  </a:cubicBezTo>
                  <a:cubicBezTo>
                    <a:pt x="528" y="366"/>
                    <a:pt x="530" y="366"/>
                    <a:pt x="531" y="368"/>
                  </a:cubicBezTo>
                  <a:cubicBezTo>
                    <a:pt x="540" y="373"/>
                    <a:pt x="549" y="379"/>
                    <a:pt x="557" y="385"/>
                  </a:cubicBezTo>
                  <a:cubicBezTo>
                    <a:pt x="569" y="391"/>
                    <a:pt x="579" y="398"/>
                    <a:pt x="588" y="406"/>
                  </a:cubicBezTo>
                  <a:cubicBezTo>
                    <a:pt x="591" y="405"/>
                    <a:pt x="594" y="408"/>
                    <a:pt x="592" y="409"/>
                  </a:cubicBezTo>
                  <a:cubicBezTo>
                    <a:pt x="490" y="344"/>
                    <a:pt x="392" y="275"/>
                    <a:pt x="292" y="208"/>
                  </a:cubicBezTo>
                  <a:cubicBezTo>
                    <a:pt x="220" y="156"/>
                    <a:pt x="146" y="106"/>
                    <a:pt x="75" y="54"/>
                  </a:cubicBezTo>
                  <a:cubicBezTo>
                    <a:pt x="73" y="54"/>
                    <a:pt x="71" y="53"/>
                    <a:pt x="69" y="53"/>
                  </a:cubicBezTo>
                  <a:cubicBezTo>
                    <a:pt x="69" y="51"/>
                    <a:pt x="68" y="51"/>
                    <a:pt x="68" y="49"/>
                  </a:cubicBezTo>
                  <a:cubicBezTo>
                    <a:pt x="60" y="44"/>
                    <a:pt x="52" y="39"/>
                    <a:pt x="45" y="34"/>
                  </a:cubicBezTo>
                  <a:cubicBezTo>
                    <a:pt x="38" y="30"/>
                    <a:pt x="32" y="23"/>
                    <a:pt x="25" y="18"/>
                  </a:cubicBezTo>
                  <a:cubicBezTo>
                    <a:pt x="17" y="13"/>
                    <a:pt x="5" y="7"/>
                    <a:pt x="0" y="0"/>
                  </a:cubicBezTo>
                  <a:close/>
                  <a:moveTo>
                    <a:pt x="918" y="593"/>
                  </a:moveTo>
                  <a:cubicBezTo>
                    <a:pt x="918" y="595"/>
                    <a:pt x="920" y="595"/>
                    <a:pt x="921" y="596"/>
                  </a:cubicBezTo>
                  <a:cubicBezTo>
                    <a:pt x="921" y="595"/>
                    <a:pt x="922" y="595"/>
                    <a:pt x="922" y="593"/>
                  </a:cubicBezTo>
                  <a:cubicBezTo>
                    <a:pt x="920" y="593"/>
                    <a:pt x="919" y="593"/>
                    <a:pt x="918" y="593"/>
                  </a:cubicBezTo>
                  <a:close/>
                  <a:moveTo>
                    <a:pt x="721" y="1021"/>
                  </a:moveTo>
                  <a:cubicBezTo>
                    <a:pt x="723" y="1021"/>
                    <a:pt x="724" y="1022"/>
                    <a:pt x="726" y="1022"/>
                  </a:cubicBezTo>
                  <a:cubicBezTo>
                    <a:pt x="726" y="1019"/>
                    <a:pt x="722" y="1019"/>
                    <a:pt x="721" y="1021"/>
                  </a:cubicBezTo>
                  <a:close/>
                  <a:moveTo>
                    <a:pt x="587" y="393"/>
                  </a:moveTo>
                  <a:cubicBezTo>
                    <a:pt x="548" y="366"/>
                    <a:pt x="510" y="340"/>
                    <a:pt x="471" y="314"/>
                  </a:cubicBezTo>
                  <a:cubicBezTo>
                    <a:pt x="362" y="238"/>
                    <a:pt x="252" y="160"/>
                    <a:pt x="145" y="83"/>
                  </a:cubicBezTo>
                  <a:cubicBezTo>
                    <a:pt x="124" y="67"/>
                    <a:pt x="103" y="50"/>
                    <a:pt x="80" y="36"/>
                  </a:cubicBezTo>
                  <a:cubicBezTo>
                    <a:pt x="80" y="36"/>
                    <a:pt x="79" y="36"/>
                    <a:pt x="79" y="36"/>
                  </a:cubicBezTo>
                  <a:cubicBezTo>
                    <a:pt x="80" y="40"/>
                    <a:pt x="78" y="42"/>
                    <a:pt x="78" y="45"/>
                  </a:cubicBezTo>
                  <a:cubicBezTo>
                    <a:pt x="229" y="153"/>
                    <a:pt x="380" y="261"/>
                    <a:pt x="535" y="364"/>
                  </a:cubicBezTo>
                  <a:cubicBezTo>
                    <a:pt x="553" y="376"/>
                    <a:pt x="573" y="392"/>
                    <a:pt x="593" y="402"/>
                  </a:cubicBezTo>
                  <a:cubicBezTo>
                    <a:pt x="595" y="403"/>
                    <a:pt x="599" y="408"/>
                    <a:pt x="602" y="404"/>
                  </a:cubicBezTo>
                  <a:cubicBezTo>
                    <a:pt x="598" y="399"/>
                    <a:pt x="592" y="396"/>
                    <a:pt x="587" y="393"/>
                  </a:cubicBezTo>
                  <a:close/>
                  <a:moveTo>
                    <a:pt x="75" y="42"/>
                  </a:moveTo>
                  <a:cubicBezTo>
                    <a:pt x="75" y="39"/>
                    <a:pt x="74" y="38"/>
                    <a:pt x="70" y="38"/>
                  </a:cubicBezTo>
                  <a:cubicBezTo>
                    <a:pt x="70" y="41"/>
                    <a:pt x="72" y="42"/>
                    <a:pt x="75" y="42"/>
                  </a:cubicBezTo>
                  <a:close/>
                  <a:moveTo>
                    <a:pt x="825" y="236"/>
                  </a:moveTo>
                  <a:cubicBezTo>
                    <a:pt x="825" y="235"/>
                    <a:pt x="826" y="232"/>
                    <a:pt x="824" y="232"/>
                  </a:cubicBezTo>
                  <a:cubicBezTo>
                    <a:pt x="823" y="232"/>
                    <a:pt x="823" y="237"/>
                    <a:pt x="825" y="236"/>
                  </a:cubicBezTo>
                  <a:close/>
                  <a:moveTo>
                    <a:pt x="819" y="257"/>
                  </a:moveTo>
                  <a:cubicBezTo>
                    <a:pt x="825" y="255"/>
                    <a:pt x="823" y="262"/>
                    <a:pt x="827" y="262"/>
                  </a:cubicBezTo>
                  <a:cubicBezTo>
                    <a:pt x="829" y="253"/>
                    <a:pt x="826" y="247"/>
                    <a:pt x="820" y="243"/>
                  </a:cubicBezTo>
                  <a:cubicBezTo>
                    <a:pt x="820" y="240"/>
                    <a:pt x="821" y="235"/>
                    <a:pt x="819" y="234"/>
                  </a:cubicBezTo>
                  <a:cubicBezTo>
                    <a:pt x="818" y="243"/>
                    <a:pt x="819" y="250"/>
                    <a:pt x="819" y="257"/>
                  </a:cubicBezTo>
                  <a:close/>
                  <a:moveTo>
                    <a:pt x="817" y="271"/>
                  </a:moveTo>
                  <a:cubicBezTo>
                    <a:pt x="818" y="271"/>
                    <a:pt x="818" y="270"/>
                    <a:pt x="820" y="270"/>
                  </a:cubicBezTo>
                  <a:cubicBezTo>
                    <a:pt x="820" y="268"/>
                    <a:pt x="820" y="267"/>
                    <a:pt x="819" y="266"/>
                  </a:cubicBezTo>
                  <a:cubicBezTo>
                    <a:pt x="818" y="266"/>
                    <a:pt x="818" y="266"/>
                    <a:pt x="817" y="266"/>
                  </a:cubicBezTo>
                  <a:cubicBezTo>
                    <a:pt x="817" y="268"/>
                    <a:pt x="817" y="269"/>
                    <a:pt x="817" y="271"/>
                  </a:cubicBezTo>
                  <a:close/>
                  <a:moveTo>
                    <a:pt x="827" y="270"/>
                  </a:moveTo>
                  <a:cubicBezTo>
                    <a:pt x="827" y="268"/>
                    <a:pt x="826" y="267"/>
                    <a:pt x="824" y="267"/>
                  </a:cubicBezTo>
                  <a:cubicBezTo>
                    <a:pt x="824" y="269"/>
                    <a:pt x="826" y="269"/>
                    <a:pt x="827" y="270"/>
                  </a:cubicBezTo>
                  <a:close/>
                  <a:moveTo>
                    <a:pt x="790" y="282"/>
                  </a:moveTo>
                  <a:cubicBezTo>
                    <a:pt x="797" y="281"/>
                    <a:pt x="805" y="280"/>
                    <a:pt x="809" y="275"/>
                  </a:cubicBezTo>
                  <a:cubicBezTo>
                    <a:pt x="801" y="276"/>
                    <a:pt x="795" y="279"/>
                    <a:pt x="790" y="282"/>
                  </a:cubicBezTo>
                  <a:close/>
                  <a:moveTo>
                    <a:pt x="831" y="282"/>
                  </a:moveTo>
                  <a:cubicBezTo>
                    <a:pt x="830" y="280"/>
                    <a:pt x="830" y="279"/>
                    <a:pt x="829" y="278"/>
                  </a:cubicBezTo>
                  <a:cubicBezTo>
                    <a:pt x="827" y="280"/>
                    <a:pt x="829" y="282"/>
                    <a:pt x="831" y="282"/>
                  </a:cubicBezTo>
                  <a:close/>
                  <a:moveTo>
                    <a:pt x="817" y="288"/>
                  </a:moveTo>
                  <a:cubicBezTo>
                    <a:pt x="818" y="285"/>
                    <a:pt x="820" y="283"/>
                    <a:pt x="821" y="279"/>
                  </a:cubicBezTo>
                  <a:cubicBezTo>
                    <a:pt x="816" y="277"/>
                    <a:pt x="814" y="285"/>
                    <a:pt x="817" y="288"/>
                  </a:cubicBezTo>
                  <a:close/>
                  <a:moveTo>
                    <a:pt x="836" y="279"/>
                  </a:moveTo>
                  <a:cubicBezTo>
                    <a:pt x="836" y="282"/>
                    <a:pt x="838" y="284"/>
                    <a:pt x="841" y="284"/>
                  </a:cubicBezTo>
                  <a:cubicBezTo>
                    <a:pt x="842" y="282"/>
                    <a:pt x="845" y="281"/>
                    <a:pt x="847" y="279"/>
                  </a:cubicBezTo>
                  <a:cubicBezTo>
                    <a:pt x="843" y="280"/>
                    <a:pt x="839" y="278"/>
                    <a:pt x="836" y="279"/>
                  </a:cubicBezTo>
                  <a:close/>
                  <a:moveTo>
                    <a:pt x="820" y="288"/>
                  </a:moveTo>
                  <a:cubicBezTo>
                    <a:pt x="822" y="289"/>
                    <a:pt x="826" y="287"/>
                    <a:pt x="829" y="287"/>
                  </a:cubicBezTo>
                  <a:cubicBezTo>
                    <a:pt x="828" y="284"/>
                    <a:pt x="826" y="282"/>
                    <a:pt x="824" y="280"/>
                  </a:cubicBezTo>
                  <a:cubicBezTo>
                    <a:pt x="823" y="282"/>
                    <a:pt x="822" y="285"/>
                    <a:pt x="820" y="288"/>
                  </a:cubicBezTo>
                  <a:close/>
                  <a:moveTo>
                    <a:pt x="842" y="286"/>
                  </a:moveTo>
                  <a:cubicBezTo>
                    <a:pt x="847" y="287"/>
                    <a:pt x="854" y="285"/>
                    <a:pt x="855" y="281"/>
                  </a:cubicBezTo>
                  <a:cubicBezTo>
                    <a:pt x="849" y="281"/>
                    <a:pt x="847" y="284"/>
                    <a:pt x="842" y="286"/>
                  </a:cubicBezTo>
                  <a:close/>
                  <a:moveTo>
                    <a:pt x="794" y="287"/>
                  </a:moveTo>
                  <a:cubicBezTo>
                    <a:pt x="799" y="287"/>
                    <a:pt x="802" y="288"/>
                    <a:pt x="807" y="288"/>
                  </a:cubicBezTo>
                  <a:cubicBezTo>
                    <a:pt x="807" y="286"/>
                    <a:pt x="807" y="283"/>
                    <a:pt x="808" y="282"/>
                  </a:cubicBezTo>
                  <a:cubicBezTo>
                    <a:pt x="803" y="284"/>
                    <a:pt x="797" y="282"/>
                    <a:pt x="794" y="287"/>
                  </a:cubicBezTo>
                  <a:close/>
                  <a:moveTo>
                    <a:pt x="861" y="286"/>
                  </a:moveTo>
                  <a:cubicBezTo>
                    <a:pt x="866" y="285"/>
                    <a:pt x="871" y="286"/>
                    <a:pt x="874" y="284"/>
                  </a:cubicBezTo>
                  <a:cubicBezTo>
                    <a:pt x="871" y="282"/>
                    <a:pt x="865" y="283"/>
                    <a:pt x="862" y="282"/>
                  </a:cubicBezTo>
                  <a:cubicBezTo>
                    <a:pt x="861" y="283"/>
                    <a:pt x="861" y="284"/>
                    <a:pt x="861" y="286"/>
                  </a:cubicBezTo>
                  <a:close/>
                  <a:moveTo>
                    <a:pt x="854" y="286"/>
                  </a:moveTo>
                  <a:cubicBezTo>
                    <a:pt x="855" y="287"/>
                    <a:pt x="860" y="284"/>
                    <a:pt x="857" y="284"/>
                  </a:cubicBezTo>
                  <a:cubicBezTo>
                    <a:pt x="856" y="285"/>
                    <a:pt x="854" y="284"/>
                    <a:pt x="854" y="286"/>
                  </a:cubicBezTo>
                  <a:close/>
                  <a:moveTo>
                    <a:pt x="788" y="288"/>
                  </a:moveTo>
                  <a:cubicBezTo>
                    <a:pt x="788" y="289"/>
                    <a:pt x="788" y="290"/>
                    <a:pt x="788" y="290"/>
                  </a:cubicBezTo>
                  <a:cubicBezTo>
                    <a:pt x="792" y="290"/>
                    <a:pt x="795" y="291"/>
                    <a:pt x="796" y="288"/>
                  </a:cubicBezTo>
                  <a:cubicBezTo>
                    <a:pt x="793" y="289"/>
                    <a:pt x="790" y="286"/>
                    <a:pt x="788" y="288"/>
                  </a:cubicBezTo>
                  <a:close/>
                  <a:moveTo>
                    <a:pt x="772" y="292"/>
                  </a:moveTo>
                  <a:cubicBezTo>
                    <a:pt x="775" y="293"/>
                    <a:pt x="784" y="294"/>
                    <a:pt x="783" y="289"/>
                  </a:cubicBezTo>
                  <a:cubicBezTo>
                    <a:pt x="779" y="289"/>
                    <a:pt x="775" y="290"/>
                    <a:pt x="772" y="292"/>
                  </a:cubicBezTo>
                  <a:close/>
                  <a:moveTo>
                    <a:pt x="855" y="290"/>
                  </a:moveTo>
                  <a:cubicBezTo>
                    <a:pt x="856" y="291"/>
                    <a:pt x="857" y="291"/>
                    <a:pt x="859" y="290"/>
                  </a:cubicBezTo>
                  <a:cubicBezTo>
                    <a:pt x="858" y="289"/>
                    <a:pt x="855" y="289"/>
                    <a:pt x="855" y="290"/>
                  </a:cubicBezTo>
                  <a:close/>
                  <a:moveTo>
                    <a:pt x="848" y="291"/>
                  </a:moveTo>
                  <a:cubicBezTo>
                    <a:pt x="848" y="293"/>
                    <a:pt x="851" y="291"/>
                    <a:pt x="852" y="292"/>
                  </a:cubicBezTo>
                  <a:cubicBezTo>
                    <a:pt x="853" y="289"/>
                    <a:pt x="847" y="289"/>
                    <a:pt x="848" y="291"/>
                  </a:cubicBezTo>
                  <a:close/>
                  <a:moveTo>
                    <a:pt x="902" y="292"/>
                  </a:moveTo>
                  <a:cubicBezTo>
                    <a:pt x="885" y="289"/>
                    <a:pt x="870" y="295"/>
                    <a:pt x="853" y="295"/>
                  </a:cubicBezTo>
                  <a:cubicBezTo>
                    <a:pt x="852" y="299"/>
                    <a:pt x="856" y="300"/>
                    <a:pt x="858" y="301"/>
                  </a:cubicBezTo>
                  <a:cubicBezTo>
                    <a:pt x="865" y="308"/>
                    <a:pt x="873" y="317"/>
                    <a:pt x="881" y="325"/>
                  </a:cubicBezTo>
                  <a:cubicBezTo>
                    <a:pt x="888" y="333"/>
                    <a:pt x="897" y="341"/>
                    <a:pt x="906" y="347"/>
                  </a:cubicBezTo>
                  <a:cubicBezTo>
                    <a:pt x="906" y="343"/>
                    <a:pt x="902" y="343"/>
                    <a:pt x="902" y="340"/>
                  </a:cubicBezTo>
                  <a:cubicBezTo>
                    <a:pt x="911" y="332"/>
                    <a:pt x="905" y="306"/>
                    <a:pt x="906" y="290"/>
                  </a:cubicBezTo>
                  <a:cubicBezTo>
                    <a:pt x="904" y="289"/>
                    <a:pt x="903" y="291"/>
                    <a:pt x="902" y="292"/>
                  </a:cubicBezTo>
                  <a:close/>
                  <a:moveTo>
                    <a:pt x="817" y="295"/>
                  </a:moveTo>
                  <a:cubicBezTo>
                    <a:pt x="820" y="294"/>
                    <a:pt x="826" y="296"/>
                    <a:pt x="826" y="292"/>
                  </a:cubicBezTo>
                  <a:cubicBezTo>
                    <a:pt x="823" y="292"/>
                    <a:pt x="817" y="290"/>
                    <a:pt x="817" y="295"/>
                  </a:cubicBezTo>
                  <a:close/>
                  <a:moveTo>
                    <a:pt x="823" y="301"/>
                  </a:moveTo>
                  <a:cubicBezTo>
                    <a:pt x="824" y="302"/>
                    <a:pt x="825" y="303"/>
                    <a:pt x="827" y="303"/>
                  </a:cubicBezTo>
                  <a:cubicBezTo>
                    <a:pt x="829" y="302"/>
                    <a:pt x="832" y="301"/>
                    <a:pt x="831" y="297"/>
                  </a:cubicBezTo>
                  <a:cubicBezTo>
                    <a:pt x="827" y="297"/>
                    <a:pt x="824" y="297"/>
                    <a:pt x="823" y="301"/>
                  </a:cubicBezTo>
                  <a:close/>
                  <a:moveTo>
                    <a:pt x="741" y="303"/>
                  </a:moveTo>
                  <a:cubicBezTo>
                    <a:pt x="741" y="315"/>
                    <a:pt x="741" y="334"/>
                    <a:pt x="741" y="350"/>
                  </a:cubicBezTo>
                  <a:cubicBezTo>
                    <a:pt x="742" y="352"/>
                    <a:pt x="746" y="353"/>
                    <a:pt x="744" y="356"/>
                  </a:cubicBezTo>
                  <a:cubicBezTo>
                    <a:pt x="742" y="356"/>
                    <a:pt x="744" y="352"/>
                    <a:pt x="742" y="353"/>
                  </a:cubicBezTo>
                  <a:cubicBezTo>
                    <a:pt x="739" y="356"/>
                    <a:pt x="746" y="359"/>
                    <a:pt x="742" y="363"/>
                  </a:cubicBezTo>
                  <a:cubicBezTo>
                    <a:pt x="741" y="363"/>
                    <a:pt x="739" y="360"/>
                    <a:pt x="737" y="362"/>
                  </a:cubicBezTo>
                  <a:cubicBezTo>
                    <a:pt x="749" y="376"/>
                    <a:pt x="758" y="392"/>
                    <a:pt x="770" y="405"/>
                  </a:cubicBezTo>
                  <a:cubicBezTo>
                    <a:pt x="781" y="401"/>
                    <a:pt x="791" y="397"/>
                    <a:pt x="802" y="393"/>
                  </a:cubicBezTo>
                  <a:cubicBezTo>
                    <a:pt x="801" y="383"/>
                    <a:pt x="806" y="368"/>
                    <a:pt x="801" y="361"/>
                  </a:cubicBezTo>
                  <a:cubicBezTo>
                    <a:pt x="805" y="354"/>
                    <a:pt x="803" y="342"/>
                    <a:pt x="804" y="333"/>
                  </a:cubicBezTo>
                  <a:cubicBezTo>
                    <a:pt x="805" y="322"/>
                    <a:pt x="807" y="311"/>
                    <a:pt x="807" y="299"/>
                  </a:cubicBezTo>
                  <a:cubicBezTo>
                    <a:pt x="787" y="300"/>
                    <a:pt x="770" y="300"/>
                    <a:pt x="752" y="302"/>
                  </a:cubicBezTo>
                  <a:cubicBezTo>
                    <a:pt x="765" y="311"/>
                    <a:pt x="774" y="323"/>
                    <a:pt x="786" y="332"/>
                  </a:cubicBezTo>
                  <a:cubicBezTo>
                    <a:pt x="790" y="339"/>
                    <a:pt x="800" y="342"/>
                    <a:pt x="801" y="349"/>
                  </a:cubicBezTo>
                  <a:cubicBezTo>
                    <a:pt x="800" y="347"/>
                    <a:pt x="796" y="347"/>
                    <a:pt x="796" y="343"/>
                  </a:cubicBezTo>
                  <a:cubicBezTo>
                    <a:pt x="780" y="332"/>
                    <a:pt x="768" y="316"/>
                    <a:pt x="751" y="304"/>
                  </a:cubicBezTo>
                  <a:cubicBezTo>
                    <a:pt x="751" y="303"/>
                    <a:pt x="751" y="302"/>
                    <a:pt x="751" y="301"/>
                  </a:cubicBezTo>
                  <a:cubicBezTo>
                    <a:pt x="749" y="302"/>
                    <a:pt x="744" y="300"/>
                    <a:pt x="745" y="303"/>
                  </a:cubicBezTo>
                  <a:cubicBezTo>
                    <a:pt x="750" y="307"/>
                    <a:pt x="755" y="313"/>
                    <a:pt x="760" y="318"/>
                  </a:cubicBezTo>
                  <a:cubicBezTo>
                    <a:pt x="756" y="318"/>
                    <a:pt x="756" y="315"/>
                    <a:pt x="753" y="314"/>
                  </a:cubicBezTo>
                  <a:cubicBezTo>
                    <a:pt x="753" y="315"/>
                    <a:pt x="754" y="317"/>
                    <a:pt x="753" y="317"/>
                  </a:cubicBezTo>
                  <a:cubicBezTo>
                    <a:pt x="750" y="314"/>
                    <a:pt x="745" y="312"/>
                    <a:pt x="743" y="307"/>
                  </a:cubicBezTo>
                  <a:cubicBezTo>
                    <a:pt x="747" y="308"/>
                    <a:pt x="749" y="314"/>
                    <a:pt x="753" y="313"/>
                  </a:cubicBezTo>
                  <a:cubicBezTo>
                    <a:pt x="748" y="310"/>
                    <a:pt x="747" y="305"/>
                    <a:pt x="741" y="303"/>
                  </a:cubicBezTo>
                  <a:close/>
                  <a:moveTo>
                    <a:pt x="823" y="307"/>
                  </a:moveTo>
                  <a:cubicBezTo>
                    <a:pt x="822" y="301"/>
                    <a:pt x="811" y="305"/>
                    <a:pt x="815" y="315"/>
                  </a:cubicBezTo>
                  <a:cubicBezTo>
                    <a:pt x="817" y="313"/>
                    <a:pt x="824" y="309"/>
                    <a:pt x="823" y="307"/>
                  </a:cubicBezTo>
                  <a:close/>
                  <a:moveTo>
                    <a:pt x="831" y="307"/>
                  </a:moveTo>
                  <a:cubicBezTo>
                    <a:pt x="831" y="306"/>
                    <a:pt x="831" y="305"/>
                    <a:pt x="831" y="304"/>
                  </a:cubicBezTo>
                  <a:cubicBezTo>
                    <a:pt x="829" y="304"/>
                    <a:pt x="829" y="307"/>
                    <a:pt x="831" y="307"/>
                  </a:cubicBezTo>
                  <a:close/>
                  <a:moveTo>
                    <a:pt x="818" y="319"/>
                  </a:moveTo>
                  <a:cubicBezTo>
                    <a:pt x="823" y="321"/>
                    <a:pt x="825" y="314"/>
                    <a:pt x="829" y="313"/>
                  </a:cubicBezTo>
                  <a:cubicBezTo>
                    <a:pt x="829" y="311"/>
                    <a:pt x="827" y="310"/>
                    <a:pt x="826" y="309"/>
                  </a:cubicBezTo>
                  <a:cubicBezTo>
                    <a:pt x="823" y="312"/>
                    <a:pt x="818" y="313"/>
                    <a:pt x="818" y="319"/>
                  </a:cubicBezTo>
                  <a:close/>
                  <a:moveTo>
                    <a:pt x="823" y="323"/>
                  </a:moveTo>
                  <a:cubicBezTo>
                    <a:pt x="825" y="323"/>
                    <a:pt x="826" y="325"/>
                    <a:pt x="829" y="325"/>
                  </a:cubicBezTo>
                  <a:cubicBezTo>
                    <a:pt x="833" y="323"/>
                    <a:pt x="831" y="319"/>
                    <a:pt x="832" y="315"/>
                  </a:cubicBezTo>
                  <a:cubicBezTo>
                    <a:pt x="828" y="316"/>
                    <a:pt x="825" y="319"/>
                    <a:pt x="823" y="323"/>
                  </a:cubicBezTo>
                  <a:close/>
                  <a:moveTo>
                    <a:pt x="814" y="337"/>
                  </a:moveTo>
                  <a:cubicBezTo>
                    <a:pt x="818" y="335"/>
                    <a:pt x="819" y="332"/>
                    <a:pt x="823" y="330"/>
                  </a:cubicBezTo>
                  <a:cubicBezTo>
                    <a:pt x="822" y="328"/>
                    <a:pt x="821" y="326"/>
                    <a:pt x="818" y="325"/>
                  </a:cubicBezTo>
                  <a:cubicBezTo>
                    <a:pt x="815" y="328"/>
                    <a:pt x="814" y="330"/>
                    <a:pt x="814" y="337"/>
                  </a:cubicBezTo>
                  <a:close/>
                  <a:moveTo>
                    <a:pt x="830" y="327"/>
                  </a:moveTo>
                  <a:cubicBezTo>
                    <a:pt x="830" y="328"/>
                    <a:pt x="830" y="328"/>
                    <a:pt x="831" y="329"/>
                  </a:cubicBezTo>
                  <a:cubicBezTo>
                    <a:pt x="832" y="329"/>
                    <a:pt x="833" y="328"/>
                    <a:pt x="833" y="326"/>
                  </a:cubicBezTo>
                  <a:cubicBezTo>
                    <a:pt x="831" y="326"/>
                    <a:pt x="831" y="326"/>
                    <a:pt x="830" y="327"/>
                  </a:cubicBezTo>
                  <a:close/>
                  <a:moveTo>
                    <a:pt x="838" y="332"/>
                  </a:moveTo>
                  <a:cubicBezTo>
                    <a:pt x="838" y="330"/>
                    <a:pt x="838" y="329"/>
                    <a:pt x="837" y="328"/>
                  </a:cubicBezTo>
                  <a:cubicBezTo>
                    <a:pt x="836" y="329"/>
                    <a:pt x="836" y="333"/>
                    <a:pt x="838" y="332"/>
                  </a:cubicBezTo>
                  <a:close/>
                  <a:moveTo>
                    <a:pt x="817" y="340"/>
                  </a:moveTo>
                  <a:cubicBezTo>
                    <a:pt x="819" y="340"/>
                    <a:pt x="818" y="342"/>
                    <a:pt x="820" y="342"/>
                  </a:cubicBezTo>
                  <a:cubicBezTo>
                    <a:pt x="824" y="338"/>
                    <a:pt x="828" y="337"/>
                    <a:pt x="831" y="333"/>
                  </a:cubicBezTo>
                  <a:cubicBezTo>
                    <a:pt x="824" y="329"/>
                    <a:pt x="820" y="336"/>
                    <a:pt x="817" y="340"/>
                  </a:cubicBezTo>
                  <a:close/>
                  <a:moveTo>
                    <a:pt x="823" y="344"/>
                  </a:moveTo>
                  <a:cubicBezTo>
                    <a:pt x="825" y="345"/>
                    <a:pt x="827" y="346"/>
                    <a:pt x="829" y="346"/>
                  </a:cubicBezTo>
                  <a:cubicBezTo>
                    <a:pt x="833" y="345"/>
                    <a:pt x="835" y="340"/>
                    <a:pt x="833" y="336"/>
                  </a:cubicBezTo>
                  <a:cubicBezTo>
                    <a:pt x="828" y="338"/>
                    <a:pt x="826" y="341"/>
                    <a:pt x="823" y="344"/>
                  </a:cubicBezTo>
                  <a:close/>
                  <a:moveTo>
                    <a:pt x="809" y="342"/>
                  </a:moveTo>
                  <a:cubicBezTo>
                    <a:pt x="810" y="341"/>
                    <a:pt x="811" y="338"/>
                    <a:pt x="809" y="338"/>
                  </a:cubicBezTo>
                  <a:cubicBezTo>
                    <a:pt x="808" y="339"/>
                    <a:pt x="808" y="341"/>
                    <a:pt x="809" y="342"/>
                  </a:cubicBezTo>
                  <a:close/>
                  <a:moveTo>
                    <a:pt x="814" y="357"/>
                  </a:moveTo>
                  <a:cubicBezTo>
                    <a:pt x="817" y="358"/>
                    <a:pt x="821" y="353"/>
                    <a:pt x="824" y="351"/>
                  </a:cubicBezTo>
                  <a:cubicBezTo>
                    <a:pt x="822" y="349"/>
                    <a:pt x="820" y="348"/>
                    <a:pt x="818" y="346"/>
                  </a:cubicBezTo>
                  <a:cubicBezTo>
                    <a:pt x="815" y="348"/>
                    <a:pt x="813" y="354"/>
                    <a:pt x="814" y="357"/>
                  </a:cubicBezTo>
                  <a:close/>
                  <a:moveTo>
                    <a:pt x="831" y="350"/>
                  </a:moveTo>
                  <a:cubicBezTo>
                    <a:pt x="835" y="351"/>
                    <a:pt x="835" y="346"/>
                    <a:pt x="832" y="346"/>
                  </a:cubicBezTo>
                  <a:cubicBezTo>
                    <a:pt x="832" y="348"/>
                    <a:pt x="831" y="348"/>
                    <a:pt x="831" y="350"/>
                  </a:cubicBezTo>
                  <a:close/>
                  <a:moveTo>
                    <a:pt x="839" y="355"/>
                  </a:moveTo>
                  <a:cubicBezTo>
                    <a:pt x="840" y="353"/>
                    <a:pt x="840" y="350"/>
                    <a:pt x="838" y="350"/>
                  </a:cubicBezTo>
                  <a:cubicBezTo>
                    <a:pt x="839" y="351"/>
                    <a:pt x="837" y="354"/>
                    <a:pt x="839" y="355"/>
                  </a:cubicBezTo>
                  <a:close/>
                  <a:moveTo>
                    <a:pt x="818" y="361"/>
                  </a:moveTo>
                  <a:cubicBezTo>
                    <a:pt x="820" y="361"/>
                    <a:pt x="819" y="362"/>
                    <a:pt x="821" y="362"/>
                  </a:cubicBezTo>
                  <a:cubicBezTo>
                    <a:pt x="824" y="359"/>
                    <a:pt x="828" y="358"/>
                    <a:pt x="831" y="355"/>
                  </a:cubicBezTo>
                  <a:cubicBezTo>
                    <a:pt x="826" y="350"/>
                    <a:pt x="819" y="356"/>
                    <a:pt x="818" y="361"/>
                  </a:cubicBezTo>
                  <a:close/>
                  <a:moveTo>
                    <a:pt x="824" y="364"/>
                  </a:moveTo>
                  <a:cubicBezTo>
                    <a:pt x="829" y="371"/>
                    <a:pt x="837" y="364"/>
                    <a:pt x="834" y="357"/>
                  </a:cubicBezTo>
                  <a:cubicBezTo>
                    <a:pt x="830" y="358"/>
                    <a:pt x="826" y="360"/>
                    <a:pt x="824" y="364"/>
                  </a:cubicBezTo>
                  <a:close/>
                  <a:moveTo>
                    <a:pt x="819" y="374"/>
                  </a:moveTo>
                  <a:cubicBezTo>
                    <a:pt x="819" y="371"/>
                    <a:pt x="822" y="373"/>
                    <a:pt x="824" y="372"/>
                  </a:cubicBezTo>
                  <a:cubicBezTo>
                    <a:pt x="823" y="370"/>
                    <a:pt x="821" y="369"/>
                    <a:pt x="818" y="368"/>
                  </a:cubicBezTo>
                  <a:cubicBezTo>
                    <a:pt x="815" y="370"/>
                    <a:pt x="812" y="372"/>
                    <a:pt x="813" y="379"/>
                  </a:cubicBezTo>
                  <a:cubicBezTo>
                    <a:pt x="816" y="379"/>
                    <a:pt x="818" y="378"/>
                    <a:pt x="818" y="376"/>
                  </a:cubicBezTo>
                  <a:cubicBezTo>
                    <a:pt x="818" y="373"/>
                    <a:pt x="815" y="374"/>
                    <a:pt x="816" y="372"/>
                  </a:cubicBezTo>
                  <a:cubicBezTo>
                    <a:pt x="818" y="373"/>
                    <a:pt x="818" y="368"/>
                    <a:pt x="820" y="371"/>
                  </a:cubicBezTo>
                  <a:cubicBezTo>
                    <a:pt x="819" y="371"/>
                    <a:pt x="816" y="375"/>
                    <a:pt x="819" y="374"/>
                  </a:cubicBezTo>
                  <a:close/>
                  <a:moveTo>
                    <a:pt x="842" y="377"/>
                  </a:moveTo>
                  <a:cubicBezTo>
                    <a:pt x="841" y="375"/>
                    <a:pt x="842" y="372"/>
                    <a:pt x="840" y="372"/>
                  </a:cubicBezTo>
                  <a:cubicBezTo>
                    <a:pt x="840" y="374"/>
                    <a:pt x="839" y="377"/>
                    <a:pt x="842" y="377"/>
                  </a:cubicBezTo>
                  <a:close/>
                  <a:moveTo>
                    <a:pt x="825" y="374"/>
                  </a:moveTo>
                  <a:cubicBezTo>
                    <a:pt x="825" y="375"/>
                    <a:pt x="825" y="376"/>
                    <a:pt x="825" y="376"/>
                  </a:cubicBezTo>
                  <a:cubicBezTo>
                    <a:pt x="826" y="377"/>
                    <a:pt x="830" y="378"/>
                    <a:pt x="831" y="376"/>
                  </a:cubicBezTo>
                  <a:cubicBezTo>
                    <a:pt x="830" y="375"/>
                    <a:pt x="828" y="372"/>
                    <a:pt x="825" y="374"/>
                  </a:cubicBezTo>
                  <a:close/>
                  <a:moveTo>
                    <a:pt x="818" y="381"/>
                  </a:moveTo>
                  <a:cubicBezTo>
                    <a:pt x="822" y="385"/>
                    <a:pt x="822" y="377"/>
                    <a:pt x="825" y="379"/>
                  </a:cubicBezTo>
                  <a:cubicBezTo>
                    <a:pt x="825" y="377"/>
                    <a:pt x="825" y="376"/>
                    <a:pt x="822" y="376"/>
                  </a:cubicBezTo>
                  <a:cubicBezTo>
                    <a:pt x="823" y="380"/>
                    <a:pt x="817" y="377"/>
                    <a:pt x="818" y="381"/>
                  </a:cubicBezTo>
                  <a:close/>
                  <a:moveTo>
                    <a:pt x="824" y="383"/>
                  </a:moveTo>
                  <a:cubicBezTo>
                    <a:pt x="828" y="389"/>
                    <a:pt x="838" y="387"/>
                    <a:pt x="835" y="379"/>
                  </a:cubicBezTo>
                  <a:cubicBezTo>
                    <a:pt x="829" y="378"/>
                    <a:pt x="830" y="384"/>
                    <a:pt x="824" y="383"/>
                  </a:cubicBezTo>
                  <a:close/>
                  <a:moveTo>
                    <a:pt x="809" y="383"/>
                  </a:moveTo>
                  <a:cubicBezTo>
                    <a:pt x="810" y="380"/>
                    <a:pt x="809" y="379"/>
                    <a:pt x="807" y="379"/>
                  </a:cubicBezTo>
                  <a:cubicBezTo>
                    <a:pt x="807" y="381"/>
                    <a:pt x="807" y="383"/>
                    <a:pt x="809" y="383"/>
                  </a:cubicBezTo>
                  <a:close/>
                  <a:moveTo>
                    <a:pt x="813" y="393"/>
                  </a:moveTo>
                  <a:cubicBezTo>
                    <a:pt x="816" y="391"/>
                    <a:pt x="821" y="393"/>
                    <a:pt x="823" y="390"/>
                  </a:cubicBezTo>
                  <a:cubicBezTo>
                    <a:pt x="820" y="389"/>
                    <a:pt x="812" y="386"/>
                    <a:pt x="813" y="393"/>
                  </a:cubicBezTo>
                  <a:close/>
                  <a:moveTo>
                    <a:pt x="817" y="401"/>
                  </a:moveTo>
                  <a:cubicBezTo>
                    <a:pt x="824" y="400"/>
                    <a:pt x="829" y="401"/>
                    <a:pt x="832" y="396"/>
                  </a:cubicBezTo>
                  <a:cubicBezTo>
                    <a:pt x="826" y="393"/>
                    <a:pt x="820" y="397"/>
                    <a:pt x="817" y="401"/>
                  </a:cubicBezTo>
                  <a:close/>
                  <a:moveTo>
                    <a:pt x="812" y="396"/>
                  </a:moveTo>
                  <a:cubicBezTo>
                    <a:pt x="812" y="397"/>
                    <a:pt x="812" y="398"/>
                    <a:pt x="812" y="399"/>
                  </a:cubicBezTo>
                  <a:cubicBezTo>
                    <a:pt x="815" y="399"/>
                    <a:pt x="816" y="398"/>
                    <a:pt x="818" y="396"/>
                  </a:cubicBezTo>
                  <a:cubicBezTo>
                    <a:pt x="817" y="395"/>
                    <a:pt x="813" y="395"/>
                    <a:pt x="812" y="396"/>
                  </a:cubicBezTo>
                  <a:close/>
                  <a:moveTo>
                    <a:pt x="865" y="400"/>
                  </a:moveTo>
                  <a:cubicBezTo>
                    <a:pt x="859" y="401"/>
                    <a:pt x="856" y="398"/>
                    <a:pt x="849" y="397"/>
                  </a:cubicBezTo>
                  <a:cubicBezTo>
                    <a:pt x="852" y="400"/>
                    <a:pt x="862" y="403"/>
                    <a:pt x="865" y="400"/>
                  </a:cubicBezTo>
                  <a:close/>
                  <a:moveTo>
                    <a:pt x="778" y="407"/>
                  </a:moveTo>
                  <a:cubicBezTo>
                    <a:pt x="785" y="411"/>
                    <a:pt x="793" y="404"/>
                    <a:pt x="801" y="403"/>
                  </a:cubicBezTo>
                  <a:cubicBezTo>
                    <a:pt x="801" y="400"/>
                    <a:pt x="802" y="400"/>
                    <a:pt x="801" y="398"/>
                  </a:cubicBezTo>
                  <a:cubicBezTo>
                    <a:pt x="792" y="400"/>
                    <a:pt x="784" y="402"/>
                    <a:pt x="778" y="407"/>
                  </a:cubicBezTo>
                  <a:close/>
                  <a:moveTo>
                    <a:pt x="824" y="404"/>
                  </a:moveTo>
                  <a:cubicBezTo>
                    <a:pt x="823" y="403"/>
                    <a:pt x="819" y="403"/>
                    <a:pt x="817" y="403"/>
                  </a:cubicBezTo>
                  <a:cubicBezTo>
                    <a:pt x="817" y="407"/>
                    <a:pt x="823" y="407"/>
                    <a:pt x="824" y="404"/>
                  </a:cubicBezTo>
                  <a:close/>
                  <a:moveTo>
                    <a:pt x="822" y="409"/>
                  </a:moveTo>
                  <a:cubicBezTo>
                    <a:pt x="825" y="410"/>
                    <a:pt x="826" y="413"/>
                    <a:pt x="830" y="413"/>
                  </a:cubicBezTo>
                  <a:cubicBezTo>
                    <a:pt x="832" y="410"/>
                    <a:pt x="836" y="409"/>
                    <a:pt x="837" y="405"/>
                  </a:cubicBezTo>
                  <a:cubicBezTo>
                    <a:pt x="831" y="401"/>
                    <a:pt x="825" y="406"/>
                    <a:pt x="822" y="409"/>
                  </a:cubicBezTo>
                  <a:close/>
                  <a:moveTo>
                    <a:pt x="846" y="404"/>
                  </a:moveTo>
                  <a:cubicBezTo>
                    <a:pt x="847" y="408"/>
                    <a:pt x="846" y="414"/>
                    <a:pt x="849" y="415"/>
                  </a:cubicBezTo>
                  <a:cubicBezTo>
                    <a:pt x="851" y="412"/>
                    <a:pt x="858" y="410"/>
                    <a:pt x="856" y="405"/>
                  </a:cubicBezTo>
                  <a:cubicBezTo>
                    <a:pt x="853" y="404"/>
                    <a:pt x="849" y="404"/>
                    <a:pt x="846" y="404"/>
                  </a:cubicBezTo>
                  <a:close/>
                  <a:moveTo>
                    <a:pt x="883" y="404"/>
                  </a:moveTo>
                  <a:cubicBezTo>
                    <a:pt x="881" y="404"/>
                    <a:pt x="877" y="403"/>
                    <a:pt x="876" y="405"/>
                  </a:cubicBezTo>
                  <a:cubicBezTo>
                    <a:pt x="878" y="405"/>
                    <a:pt x="882" y="406"/>
                    <a:pt x="883" y="404"/>
                  </a:cubicBezTo>
                  <a:close/>
                  <a:moveTo>
                    <a:pt x="812" y="413"/>
                  </a:moveTo>
                  <a:cubicBezTo>
                    <a:pt x="814" y="414"/>
                    <a:pt x="816" y="411"/>
                    <a:pt x="816" y="409"/>
                  </a:cubicBezTo>
                  <a:cubicBezTo>
                    <a:pt x="814" y="409"/>
                    <a:pt x="815" y="406"/>
                    <a:pt x="812" y="407"/>
                  </a:cubicBezTo>
                  <a:cubicBezTo>
                    <a:pt x="812" y="409"/>
                    <a:pt x="812" y="411"/>
                    <a:pt x="812" y="413"/>
                  </a:cubicBezTo>
                  <a:close/>
                  <a:moveTo>
                    <a:pt x="841" y="412"/>
                  </a:moveTo>
                  <a:cubicBezTo>
                    <a:pt x="841" y="411"/>
                    <a:pt x="843" y="407"/>
                    <a:pt x="840" y="407"/>
                  </a:cubicBezTo>
                  <a:cubicBezTo>
                    <a:pt x="841" y="408"/>
                    <a:pt x="839" y="412"/>
                    <a:pt x="841" y="412"/>
                  </a:cubicBezTo>
                  <a:close/>
                  <a:moveTo>
                    <a:pt x="864" y="411"/>
                  </a:moveTo>
                  <a:cubicBezTo>
                    <a:pt x="867" y="411"/>
                    <a:pt x="868" y="409"/>
                    <a:pt x="868" y="407"/>
                  </a:cubicBezTo>
                  <a:cubicBezTo>
                    <a:pt x="864" y="406"/>
                    <a:pt x="863" y="408"/>
                    <a:pt x="864" y="411"/>
                  </a:cubicBezTo>
                  <a:close/>
                  <a:moveTo>
                    <a:pt x="786" y="411"/>
                  </a:moveTo>
                  <a:cubicBezTo>
                    <a:pt x="789" y="416"/>
                    <a:pt x="794" y="420"/>
                    <a:pt x="800" y="423"/>
                  </a:cubicBezTo>
                  <a:cubicBezTo>
                    <a:pt x="800" y="418"/>
                    <a:pt x="802" y="411"/>
                    <a:pt x="801" y="407"/>
                  </a:cubicBezTo>
                  <a:cubicBezTo>
                    <a:pt x="795" y="408"/>
                    <a:pt x="791" y="410"/>
                    <a:pt x="786" y="411"/>
                  </a:cubicBezTo>
                  <a:close/>
                  <a:moveTo>
                    <a:pt x="872" y="409"/>
                  </a:moveTo>
                  <a:cubicBezTo>
                    <a:pt x="874" y="410"/>
                    <a:pt x="876" y="413"/>
                    <a:pt x="879" y="415"/>
                  </a:cubicBezTo>
                  <a:cubicBezTo>
                    <a:pt x="883" y="414"/>
                    <a:pt x="887" y="413"/>
                    <a:pt x="889" y="410"/>
                  </a:cubicBezTo>
                  <a:cubicBezTo>
                    <a:pt x="883" y="410"/>
                    <a:pt x="876" y="405"/>
                    <a:pt x="872" y="409"/>
                  </a:cubicBezTo>
                  <a:close/>
                  <a:moveTo>
                    <a:pt x="777" y="411"/>
                  </a:moveTo>
                  <a:cubicBezTo>
                    <a:pt x="777" y="408"/>
                    <a:pt x="775" y="408"/>
                    <a:pt x="773" y="408"/>
                  </a:cubicBezTo>
                  <a:cubicBezTo>
                    <a:pt x="772" y="411"/>
                    <a:pt x="775" y="410"/>
                    <a:pt x="777" y="411"/>
                  </a:cubicBezTo>
                  <a:close/>
                  <a:moveTo>
                    <a:pt x="751" y="417"/>
                  </a:moveTo>
                  <a:cubicBezTo>
                    <a:pt x="759" y="416"/>
                    <a:pt x="766" y="415"/>
                    <a:pt x="771" y="411"/>
                  </a:cubicBezTo>
                  <a:cubicBezTo>
                    <a:pt x="764" y="409"/>
                    <a:pt x="756" y="413"/>
                    <a:pt x="751" y="417"/>
                  </a:cubicBezTo>
                  <a:close/>
                  <a:moveTo>
                    <a:pt x="848" y="417"/>
                  </a:moveTo>
                  <a:cubicBezTo>
                    <a:pt x="849" y="419"/>
                    <a:pt x="847" y="419"/>
                    <a:pt x="848" y="420"/>
                  </a:cubicBezTo>
                  <a:cubicBezTo>
                    <a:pt x="857" y="422"/>
                    <a:pt x="861" y="418"/>
                    <a:pt x="863" y="412"/>
                  </a:cubicBezTo>
                  <a:cubicBezTo>
                    <a:pt x="860" y="414"/>
                    <a:pt x="860" y="411"/>
                    <a:pt x="857" y="411"/>
                  </a:cubicBezTo>
                  <a:cubicBezTo>
                    <a:pt x="855" y="413"/>
                    <a:pt x="853" y="416"/>
                    <a:pt x="848" y="417"/>
                  </a:cubicBezTo>
                  <a:close/>
                  <a:moveTo>
                    <a:pt x="881" y="418"/>
                  </a:moveTo>
                  <a:cubicBezTo>
                    <a:pt x="889" y="421"/>
                    <a:pt x="893" y="415"/>
                    <a:pt x="897" y="412"/>
                  </a:cubicBezTo>
                  <a:cubicBezTo>
                    <a:pt x="892" y="409"/>
                    <a:pt x="885" y="416"/>
                    <a:pt x="881" y="418"/>
                  </a:cubicBezTo>
                  <a:close/>
                  <a:moveTo>
                    <a:pt x="832" y="415"/>
                  </a:moveTo>
                  <a:cubicBezTo>
                    <a:pt x="833" y="417"/>
                    <a:pt x="835" y="418"/>
                    <a:pt x="837" y="419"/>
                  </a:cubicBezTo>
                  <a:cubicBezTo>
                    <a:pt x="838" y="412"/>
                    <a:pt x="835" y="410"/>
                    <a:pt x="832" y="415"/>
                  </a:cubicBezTo>
                  <a:close/>
                  <a:moveTo>
                    <a:pt x="872" y="418"/>
                  </a:moveTo>
                  <a:cubicBezTo>
                    <a:pt x="873" y="417"/>
                    <a:pt x="877" y="418"/>
                    <a:pt x="877" y="416"/>
                  </a:cubicBezTo>
                  <a:cubicBezTo>
                    <a:pt x="873" y="416"/>
                    <a:pt x="874" y="411"/>
                    <a:pt x="870" y="411"/>
                  </a:cubicBezTo>
                  <a:cubicBezTo>
                    <a:pt x="869" y="413"/>
                    <a:pt x="872" y="415"/>
                    <a:pt x="872" y="418"/>
                  </a:cubicBezTo>
                  <a:close/>
                  <a:moveTo>
                    <a:pt x="812" y="422"/>
                  </a:moveTo>
                  <a:cubicBezTo>
                    <a:pt x="820" y="426"/>
                    <a:pt x="821" y="418"/>
                    <a:pt x="820" y="413"/>
                  </a:cubicBezTo>
                  <a:cubicBezTo>
                    <a:pt x="816" y="412"/>
                    <a:pt x="813" y="417"/>
                    <a:pt x="812" y="422"/>
                  </a:cubicBezTo>
                  <a:close/>
                  <a:moveTo>
                    <a:pt x="891" y="418"/>
                  </a:moveTo>
                  <a:cubicBezTo>
                    <a:pt x="899" y="419"/>
                    <a:pt x="907" y="419"/>
                    <a:pt x="913" y="417"/>
                  </a:cubicBezTo>
                  <a:cubicBezTo>
                    <a:pt x="915" y="418"/>
                    <a:pt x="919" y="420"/>
                    <a:pt x="921" y="417"/>
                  </a:cubicBezTo>
                  <a:cubicBezTo>
                    <a:pt x="913" y="412"/>
                    <a:pt x="898" y="412"/>
                    <a:pt x="891" y="418"/>
                  </a:cubicBezTo>
                  <a:close/>
                  <a:moveTo>
                    <a:pt x="777" y="417"/>
                  </a:moveTo>
                  <a:cubicBezTo>
                    <a:pt x="780" y="417"/>
                    <a:pt x="780" y="413"/>
                    <a:pt x="777" y="413"/>
                  </a:cubicBezTo>
                  <a:cubicBezTo>
                    <a:pt x="777" y="415"/>
                    <a:pt x="777" y="416"/>
                    <a:pt x="777" y="417"/>
                  </a:cubicBezTo>
                  <a:close/>
                  <a:moveTo>
                    <a:pt x="781" y="415"/>
                  </a:moveTo>
                  <a:cubicBezTo>
                    <a:pt x="781" y="416"/>
                    <a:pt x="780" y="421"/>
                    <a:pt x="783" y="424"/>
                  </a:cubicBezTo>
                  <a:cubicBezTo>
                    <a:pt x="787" y="425"/>
                    <a:pt x="788" y="423"/>
                    <a:pt x="792" y="424"/>
                  </a:cubicBezTo>
                  <a:cubicBezTo>
                    <a:pt x="790" y="420"/>
                    <a:pt x="785" y="416"/>
                    <a:pt x="781" y="415"/>
                  </a:cubicBezTo>
                  <a:close/>
                  <a:moveTo>
                    <a:pt x="822" y="420"/>
                  </a:moveTo>
                  <a:cubicBezTo>
                    <a:pt x="823" y="418"/>
                    <a:pt x="825" y="418"/>
                    <a:pt x="825" y="416"/>
                  </a:cubicBezTo>
                  <a:cubicBezTo>
                    <a:pt x="825" y="415"/>
                    <a:pt x="823" y="414"/>
                    <a:pt x="821" y="414"/>
                  </a:cubicBezTo>
                  <a:cubicBezTo>
                    <a:pt x="822" y="417"/>
                    <a:pt x="820" y="418"/>
                    <a:pt x="822" y="420"/>
                  </a:cubicBezTo>
                  <a:close/>
                  <a:moveTo>
                    <a:pt x="760" y="420"/>
                  </a:moveTo>
                  <a:cubicBezTo>
                    <a:pt x="763" y="423"/>
                    <a:pt x="768" y="425"/>
                    <a:pt x="772" y="426"/>
                  </a:cubicBezTo>
                  <a:cubicBezTo>
                    <a:pt x="774" y="424"/>
                    <a:pt x="772" y="420"/>
                    <a:pt x="773" y="416"/>
                  </a:cubicBezTo>
                  <a:cubicBezTo>
                    <a:pt x="770" y="416"/>
                    <a:pt x="762" y="417"/>
                    <a:pt x="760" y="420"/>
                  </a:cubicBezTo>
                  <a:close/>
                  <a:moveTo>
                    <a:pt x="843" y="420"/>
                  </a:moveTo>
                  <a:cubicBezTo>
                    <a:pt x="844" y="419"/>
                    <a:pt x="844" y="416"/>
                    <a:pt x="842" y="416"/>
                  </a:cubicBezTo>
                  <a:cubicBezTo>
                    <a:pt x="843" y="418"/>
                    <a:pt x="840" y="420"/>
                    <a:pt x="843" y="420"/>
                  </a:cubicBezTo>
                  <a:close/>
                  <a:moveTo>
                    <a:pt x="862" y="420"/>
                  </a:moveTo>
                  <a:cubicBezTo>
                    <a:pt x="864" y="419"/>
                    <a:pt x="867" y="420"/>
                    <a:pt x="868" y="419"/>
                  </a:cubicBezTo>
                  <a:cubicBezTo>
                    <a:pt x="868" y="418"/>
                    <a:pt x="868" y="417"/>
                    <a:pt x="868" y="416"/>
                  </a:cubicBezTo>
                  <a:cubicBezTo>
                    <a:pt x="865" y="416"/>
                    <a:pt x="862" y="417"/>
                    <a:pt x="862" y="420"/>
                  </a:cubicBezTo>
                  <a:close/>
                  <a:moveTo>
                    <a:pt x="805" y="421"/>
                  </a:moveTo>
                  <a:cubicBezTo>
                    <a:pt x="806" y="420"/>
                    <a:pt x="807" y="417"/>
                    <a:pt x="805" y="417"/>
                  </a:cubicBezTo>
                  <a:cubicBezTo>
                    <a:pt x="805" y="418"/>
                    <a:pt x="803" y="420"/>
                    <a:pt x="805" y="421"/>
                  </a:cubicBezTo>
                  <a:close/>
                  <a:moveTo>
                    <a:pt x="745" y="419"/>
                  </a:moveTo>
                  <a:cubicBezTo>
                    <a:pt x="747" y="419"/>
                    <a:pt x="750" y="420"/>
                    <a:pt x="750" y="417"/>
                  </a:cubicBezTo>
                  <a:cubicBezTo>
                    <a:pt x="748" y="418"/>
                    <a:pt x="744" y="416"/>
                    <a:pt x="745" y="419"/>
                  </a:cubicBezTo>
                  <a:close/>
                  <a:moveTo>
                    <a:pt x="937" y="418"/>
                  </a:moveTo>
                  <a:cubicBezTo>
                    <a:pt x="936" y="417"/>
                    <a:pt x="933" y="418"/>
                    <a:pt x="931" y="417"/>
                  </a:cubicBezTo>
                  <a:cubicBezTo>
                    <a:pt x="930" y="420"/>
                    <a:pt x="936" y="419"/>
                    <a:pt x="937" y="418"/>
                  </a:cubicBezTo>
                  <a:close/>
                  <a:moveTo>
                    <a:pt x="775" y="426"/>
                  </a:moveTo>
                  <a:cubicBezTo>
                    <a:pt x="777" y="425"/>
                    <a:pt x="779" y="425"/>
                    <a:pt x="779" y="424"/>
                  </a:cubicBezTo>
                  <a:cubicBezTo>
                    <a:pt x="778" y="422"/>
                    <a:pt x="778" y="418"/>
                    <a:pt x="775" y="418"/>
                  </a:cubicBezTo>
                  <a:cubicBezTo>
                    <a:pt x="775" y="421"/>
                    <a:pt x="774" y="424"/>
                    <a:pt x="775" y="426"/>
                  </a:cubicBezTo>
                  <a:close/>
                  <a:moveTo>
                    <a:pt x="739" y="421"/>
                  </a:moveTo>
                  <a:cubicBezTo>
                    <a:pt x="741" y="422"/>
                    <a:pt x="745" y="420"/>
                    <a:pt x="743" y="419"/>
                  </a:cubicBezTo>
                  <a:cubicBezTo>
                    <a:pt x="743" y="421"/>
                    <a:pt x="738" y="418"/>
                    <a:pt x="739" y="421"/>
                  </a:cubicBezTo>
                  <a:close/>
                  <a:moveTo>
                    <a:pt x="825" y="422"/>
                  </a:moveTo>
                  <a:cubicBezTo>
                    <a:pt x="828" y="421"/>
                    <a:pt x="830" y="422"/>
                    <a:pt x="831" y="420"/>
                  </a:cubicBezTo>
                  <a:cubicBezTo>
                    <a:pt x="829" y="419"/>
                    <a:pt x="825" y="419"/>
                    <a:pt x="825" y="422"/>
                  </a:cubicBezTo>
                  <a:close/>
                  <a:moveTo>
                    <a:pt x="734" y="428"/>
                  </a:moveTo>
                  <a:cubicBezTo>
                    <a:pt x="744" y="430"/>
                    <a:pt x="754" y="429"/>
                    <a:pt x="762" y="426"/>
                  </a:cubicBezTo>
                  <a:cubicBezTo>
                    <a:pt x="755" y="419"/>
                    <a:pt x="740" y="423"/>
                    <a:pt x="734" y="428"/>
                  </a:cubicBezTo>
                  <a:close/>
                  <a:moveTo>
                    <a:pt x="855" y="428"/>
                  </a:moveTo>
                  <a:cubicBezTo>
                    <a:pt x="860" y="426"/>
                    <a:pt x="872" y="428"/>
                    <a:pt x="872" y="424"/>
                  </a:cubicBezTo>
                  <a:cubicBezTo>
                    <a:pt x="869" y="427"/>
                    <a:pt x="855" y="421"/>
                    <a:pt x="855" y="428"/>
                  </a:cubicBezTo>
                  <a:close/>
                  <a:moveTo>
                    <a:pt x="953" y="427"/>
                  </a:moveTo>
                  <a:cubicBezTo>
                    <a:pt x="953" y="425"/>
                    <a:pt x="953" y="424"/>
                    <a:pt x="952" y="424"/>
                  </a:cubicBezTo>
                  <a:cubicBezTo>
                    <a:pt x="951" y="424"/>
                    <a:pt x="950" y="425"/>
                    <a:pt x="948" y="424"/>
                  </a:cubicBezTo>
                  <a:cubicBezTo>
                    <a:pt x="951" y="428"/>
                    <a:pt x="951" y="434"/>
                    <a:pt x="956" y="436"/>
                  </a:cubicBezTo>
                  <a:cubicBezTo>
                    <a:pt x="954" y="431"/>
                    <a:pt x="956" y="426"/>
                    <a:pt x="954" y="424"/>
                  </a:cubicBezTo>
                  <a:cubicBezTo>
                    <a:pt x="953" y="425"/>
                    <a:pt x="956" y="427"/>
                    <a:pt x="953" y="427"/>
                  </a:cubicBezTo>
                  <a:close/>
                  <a:moveTo>
                    <a:pt x="817" y="430"/>
                  </a:moveTo>
                  <a:cubicBezTo>
                    <a:pt x="821" y="429"/>
                    <a:pt x="827" y="433"/>
                    <a:pt x="828" y="428"/>
                  </a:cubicBezTo>
                  <a:cubicBezTo>
                    <a:pt x="824" y="426"/>
                    <a:pt x="818" y="425"/>
                    <a:pt x="817" y="430"/>
                  </a:cubicBezTo>
                  <a:close/>
                  <a:moveTo>
                    <a:pt x="783" y="430"/>
                  </a:moveTo>
                  <a:cubicBezTo>
                    <a:pt x="789" y="430"/>
                    <a:pt x="796" y="433"/>
                    <a:pt x="799" y="428"/>
                  </a:cubicBezTo>
                  <a:cubicBezTo>
                    <a:pt x="795" y="429"/>
                    <a:pt x="786" y="428"/>
                    <a:pt x="783" y="430"/>
                  </a:cubicBezTo>
                  <a:close/>
                  <a:moveTo>
                    <a:pt x="757" y="433"/>
                  </a:moveTo>
                  <a:cubicBezTo>
                    <a:pt x="762" y="433"/>
                    <a:pt x="766" y="431"/>
                    <a:pt x="771" y="433"/>
                  </a:cubicBezTo>
                  <a:cubicBezTo>
                    <a:pt x="768" y="430"/>
                    <a:pt x="759" y="431"/>
                    <a:pt x="757" y="433"/>
                  </a:cubicBezTo>
                  <a:close/>
                  <a:moveTo>
                    <a:pt x="824" y="436"/>
                  </a:moveTo>
                  <a:cubicBezTo>
                    <a:pt x="828" y="437"/>
                    <a:pt x="829" y="439"/>
                    <a:pt x="832" y="440"/>
                  </a:cubicBezTo>
                  <a:cubicBezTo>
                    <a:pt x="834" y="438"/>
                    <a:pt x="838" y="437"/>
                    <a:pt x="838" y="434"/>
                  </a:cubicBezTo>
                  <a:cubicBezTo>
                    <a:pt x="834" y="433"/>
                    <a:pt x="826" y="433"/>
                    <a:pt x="824" y="436"/>
                  </a:cubicBezTo>
                  <a:close/>
                  <a:moveTo>
                    <a:pt x="792" y="437"/>
                  </a:moveTo>
                  <a:cubicBezTo>
                    <a:pt x="795" y="438"/>
                    <a:pt x="796" y="443"/>
                    <a:pt x="799" y="445"/>
                  </a:cubicBezTo>
                  <a:cubicBezTo>
                    <a:pt x="800" y="443"/>
                    <a:pt x="799" y="438"/>
                    <a:pt x="800" y="435"/>
                  </a:cubicBezTo>
                  <a:cubicBezTo>
                    <a:pt x="797" y="437"/>
                    <a:pt x="793" y="434"/>
                    <a:pt x="792" y="437"/>
                  </a:cubicBezTo>
                  <a:close/>
                  <a:moveTo>
                    <a:pt x="811" y="452"/>
                  </a:moveTo>
                  <a:cubicBezTo>
                    <a:pt x="817" y="451"/>
                    <a:pt x="821" y="447"/>
                    <a:pt x="825" y="443"/>
                  </a:cubicBezTo>
                  <a:cubicBezTo>
                    <a:pt x="818" y="437"/>
                    <a:pt x="809" y="441"/>
                    <a:pt x="811" y="452"/>
                  </a:cubicBezTo>
                  <a:close/>
                  <a:moveTo>
                    <a:pt x="835" y="442"/>
                  </a:moveTo>
                  <a:cubicBezTo>
                    <a:pt x="836" y="443"/>
                    <a:pt x="837" y="443"/>
                    <a:pt x="839" y="443"/>
                  </a:cubicBezTo>
                  <a:cubicBezTo>
                    <a:pt x="839" y="441"/>
                    <a:pt x="839" y="440"/>
                    <a:pt x="838" y="439"/>
                  </a:cubicBezTo>
                  <a:cubicBezTo>
                    <a:pt x="837" y="439"/>
                    <a:pt x="837" y="439"/>
                    <a:pt x="836" y="439"/>
                  </a:cubicBezTo>
                  <a:cubicBezTo>
                    <a:pt x="836" y="441"/>
                    <a:pt x="835" y="441"/>
                    <a:pt x="835" y="442"/>
                  </a:cubicBezTo>
                  <a:close/>
                  <a:moveTo>
                    <a:pt x="847" y="451"/>
                  </a:moveTo>
                  <a:cubicBezTo>
                    <a:pt x="845" y="449"/>
                    <a:pt x="847" y="443"/>
                    <a:pt x="844" y="441"/>
                  </a:cubicBezTo>
                  <a:cubicBezTo>
                    <a:pt x="843" y="444"/>
                    <a:pt x="843" y="452"/>
                    <a:pt x="847" y="451"/>
                  </a:cubicBezTo>
                  <a:close/>
                  <a:moveTo>
                    <a:pt x="816" y="453"/>
                  </a:moveTo>
                  <a:cubicBezTo>
                    <a:pt x="816" y="456"/>
                    <a:pt x="819" y="456"/>
                    <a:pt x="820" y="457"/>
                  </a:cubicBezTo>
                  <a:cubicBezTo>
                    <a:pt x="824" y="454"/>
                    <a:pt x="830" y="453"/>
                    <a:pt x="833" y="449"/>
                  </a:cubicBezTo>
                  <a:cubicBezTo>
                    <a:pt x="828" y="440"/>
                    <a:pt x="823" y="453"/>
                    <a:pt x="816" y="453"/>
                  </a:cubicBezTo>
                  <a:close/>
                  <a:moveTo>
                    <a:pt x="825" y="459"/>
                  </a:moveTo>
                  <a:cubicBezTo>
                    <a:pt x="831" y="465"/>
                    <a:pt x="843" y="462"/>
                    <a:pt x="839" y="451"/>
                  </a:cubicBezTo>
                  <a:cubicBezTo>
                    <a:pt x="833" y="453"/>
                    <a:pt x="828" y="455"/>
                    <a:pt x="825" y="459"/>
                  </a:cubicBezTo>
                  <a:close/>
                  <a:moveTo>
                    <a:pt x="805" y="465"/>
                  </a:moveTo>
                  <a:cubicBezTo>
                    <a:pt x="805" y="465"/>
                    <a:pt x="807" y="466"/>
                    <a:pt x="807" y="465"/>
                  </a:cubicBezTo>
                  <a:cubicBezTo>
                    <a:pt x="805" y="464"/>
                    <a:pt x="808" y="463"/>
                    <a:pt x="807" y="462"/>
                  </a:cubicBezTo>
                  <a:cubicBezTo>
                    <a:pt x="806" y="462"/>
                    <a:pt x="805" y="463"/>
                    <a:pt x="805" y="465"/>
                  </a:cubicBezTo>
                  <a:close/>
                  <a:moveTo>
                    <a:pt x="837" y="466"/>
                  </a:moveTo>
                  <a:cubicBezTo>
                    <a:pt x="838" y="466"/>
                    <a:pt x="840" y="466"/>
                    <a:pt x="840" y="465"/>
                  </a:cubicBezTo>
                  <a:cubicBezTo>
                    <a:pt x="839" y="464"/>
                    <a:pt x="840" y="462"/>
                    <a:pt x="837" y="463"/>
                  </a:cubicBezTo>
                  <a:cubicBezTo>
                    <a:pt x="837" y="463"/>
                    <a:pt x="837" y="464"/>
                    <a:pt x="837" y="466"/>
                  </a:cubicBezTo>
                  <a:close/>
                  <a:moveTo>
                    <a:pt x="814" y="464"/>
                  </a:moveTo>
                  <a:cubicBezTo>
                    <a:pt x="813" y="468"/>
                    <a:pt x="819" y="467"/>
                    <a:pt x="818" y="471"/>
                  </a:cubicBezTo>
                  <a:cubicBezTo>
                    <a:pt x="822" y="471"/>
                    <a:pt x="823" y="469"/>
                    <a:pt x="826" y="467"/>
                  </a:cubicBezTo>
                  <a:cubicBezTo>
                    <a:pt x="822" y="466"/>
                    <a:pt x="819" y="462"/>
                    <a:pt x="814" y="464"/>
                  </a:cubicBezTo>
                  <a:close/>
                  <a:moveTo>
                    <a:pt x="849" y="476"/>
                  </a:moveTo>
                  <a:cubicBezTo>
                    <a:pt x="849" y="471"/>
                    <a:pt x="849" y="467"/>
                    <a:pt x="846" y="466"/>
                  </a:cubicBezTo>
                  <a:cubicBezTo>
                    <a:pt x="844" y="469"/>
                    <a:pt x="846" y="475"/>
                    <a:pt x="849" y="476"/>
                  </a:cubicBezTo>
                  <a:close/>
                  <a:moveTo>
                    <a:pt x="811" y="476"/>
                  </a:moveTo>
                  <a:cubicBezTo>
                    <a:pt x="818" y="477"/>
                    <a:pt x="817" y="467"/>
                    <a:pt x="811" y="467"/>
                  </a:cubicBezTo>
                  <a:cubicBezTo>
                    <a:pt x="811" y="469"/>
                    <a:pt x="809" y="473"/>
                    <a:pt x="811" y="476"/>
                  </a:cubicBezTo>
                  <a:close/>
                  <a:moveTo>
                    <a:pt x="822" y="474"/>
                  </a:moveTo>
                  <a:cubicBezTo>
                    <a:pt x="822" y="475"/>
                    <a:pt x="822" y="476"/>
                    <a:pt x="822" y="477"/>
                  </a:cubicBezTo>
                  <a:cubicBezTo>
                    <a:pt x="824" y="477"/>
                    <a:pt x="824" y="478"/>
                    <a:pt x="826" y="478"/>
                  </a:cubicBezTo>
                  <a:cubicBezTo>
                    <a:pt x="828" y="475"/>
                    <a:pt x="833" y="475"/>
                    <a:pt x="835" y="471"/>
                  </a:cubicBezTo>
                  <a:cubicBezTo>
                    <a:pt x="830" y="467"/>
                    <a:pt x="826" y="472"/>
                    <a:pt x="822" y="474"/>
                  </a:cubicBezTo>
                  <a:close/>
                  <a:moveTo>
                    <a:pt x="825" y="482"/>
                  </a:moveTo>
                  <a:cubicBezTo>
                    <a:pt x="829" y="485"/>
                    <a:pt x="836" y="487"/>
                    <a:pt x="841" y="483"/>
                  </a:cubicBezTo>
                  <a:cubicBezTo>
                    <a:pt x="842" y="480"/>
                    <a:pt x="841" y="479"/>
                    <a:pt x="841" y="475"/>
                  </a:cubicBezTo>
                  <a:cubicBezTo>
                    <a:pt x="834" y="473"/>
                    <a:pt x="831" y="480"/>
                    <a:pt x="825" y="482"/>
                  </a:cubicBezTo>
                  <a:close/>
                  <a:moveTo>
                    <a:pt x="802" y="482"/>
                  </a:moveTo>
                  <a:cubicBezTo>
                    <a:pt x="804" y="483"/>
                    <a:pt x="806" y="480"/>
                    <a:pt x="806" y="478"/>
                  </a:cubicBezTo>
                  <a:cubicBezTo>
                    <a:pt x="804" y="477"/>
                    <a:pt x="803" y="476"/>
                    <a:pt x="801" y="476"/>
                  </a:cubicBezTo>
                  <a:cubicBezTo>
                    <a:pt x="801" y="478"/>
                    <a:pt x="802" y="479"/>
                    <a:pt x="802" y="482"/>
                  </a:cubicBezTo>
                  <a:close/>
                  <a:moveTo>
                    <a:pt x="816" y="477"/>
                  </a:moveTo>
                  <a:cubicBezTo>
                    <a:pt x="816" y="479"/>
                    <a:pt x="819" y="480"/>
                    <a:pt x="822" y="480"/>
                  </a:cubicBezTo>
                  <a:cubicBezTo>
                    <a:pt x="821" y="475"/>
                    <a:pt x="819" y="476"/>
                    <a:pt x="816" y="477"/>
                  </a:cubicBezTo>
                  <a:close/>
                  <a:moveTo>
                    <a:pt x="813" y="482"/>
                  </a:moveTo>
                  <a:cubicBezTo>
                    <a:pt x="814" y="482"/>
                    <a:pt x="814" y="483"/>
                    <a:pt x="816" y="482"/>
                  </a:cubicBezTo>
                  <a:cubicBezTo>
                    <a:pt x="816" y="482"/>
                    <a:pt x="816" y="481"/>
                    <a:pt x="816" y="480"/>
                  </a:cubicBezTo>
                  <a:cubicBezTo>
                    <a:pt x="814" y="480"/>
                    <a:pt x="813" y="481"/>
                    <a:pt x="813" y="482"/>
                  </a:cubicBezTo>
                  <a:close/>
                  <a:moveTo>
                    <a:pt x="812" y="487"/>
                  </a:moveTo>
                  <a:cubicBezTo>
                    <a:pt x="813" y="485"/>
                    <a:pt x="812" y="484"/>
                    <a:pt x="811" y="484"/>
                  </a:cubicBezTo>
                  <a:cubicBezTo>
                    <a:pt x="810" y="485"/>
                    <a:pt x="810" y="487"/>
                    <a:pt x="812" y="487"/>
                  </a:cubicBezTo>
                  <a:close/>
                  <a:moveTo>
                    <a:pt x="805" y="490"/>
                  </a:moveTo>
                  <a:cubicBezTo>
                    <a:pt x="806" y="489"/>
                    <a:pt x="807" y="484"/>
                    <a:pt x="805" y="484"/>
                  </a:cubicBezTo>
                  <a:cubicBezTo>
                    <a:pt x="805" y="487"/>
                    <a:pt x="803" y="489"/>
                    <a:pt x="805" y="490"/>
                  </a:cubicBezTo>
                  <a:close/>
                  <a:moveTo>
                    <a:pt x="809" y="500"/>
                  </a:moveTo>
                  <a:cubicBezTo>
                    <a:pt x="814" y="500"/>
                    <a:pt x="820" y="494"/>
                    <a:pt x="826" y="491"/>
                  </a:cubicBezTo>
                  <a:cubicBezTo>
                    <a:pt x="818" y="483"/>
                    <a:pt x="807" y="488"/>
                    <a:pt x="809" y="500"/>
                  </a:cubicBezTo>
                  <a:close/>
                  <a:moveTo>
                    <a:pt x="838" y="487"/>
                  </a:moveTo>
                  <a:cubicBezTo>
                    <a:pt x="838" y="489"/>
                    <a:pt x="839" y="490"/>
                    <a:pt x="842" y="490"/>
                  </a:cubicBezTo>
                  <a:cubicBezTo>
                    <a:pt x="842" y="489"/>
                    <a:pt x="842" y="488"/>
                    <a:pt x="842" y="487"/>
                  </a:cubicBezTo>
                  <a:cubicBezTo>
                    <a:pt x="841" y="486"/>
                    <a:pt x="839" y="486"/>
                    <a:pt x="838" y="487"/>
                  </a:cubicBezTo>
                  <a:close/>
                  <a:moveTo>
                    <a:pt x="850" y="498"/>
                  </a:moveTo>
                  <a:cubicBezTo>
                    <a:pt x="851" y="496"/>
                    <a:pt x="850" y="490"/>
                    <a:pt x="848" y="488"/>
                  </a:cubicBezTo>
                  <a:cubicBezTo>
                    <a:pt x="846" y="491"/>
                    <a:pt x="846" y="498"/>
                    <a:pt x="850" y="498"/>
                  </a:cubicBezTo>
                  <a:close/>
                  <a:moveTo>
                    <a:pt x="697" y="493"/>
                  </a:moveTo>
                  <a:cubicBezTo>
                    <a:pt x="701" y="494"/>
                    <a:pt x="701" y="489"/>
                    <a:pt x="698" y="489"/>
                  </a:cubicBezTo>
                  <a:cubicBezTo>
                    <a:pt x="698" y="491"/>
                    <a:pt x="697" y="491"/>
                    <a:pt x="697" y="493"/>
                  </a:cubicBezTo>
                  <a:close/>
                  <a:moveTo>
                    <a:pt x="829" y="493"/>
                  </a:moveTo>
                  <a:cubicBezTo>
                    <a:pt x="823" y="497"/>
                    <a:pt x="815" y="500"/>
                    <a:pt x="811" y="504"/>
                  </a:cubicBezTo>
                  <a:cubicBezTo>
                    <a:pt x="818" y="520"/>
                    <a:pt x="830" y="505"/>
                    <a:pt x="836" y="497"/>
                  </a:cubicBezTo>
                  <a:cubicBezTo>
                    <a:pt x="835" y="495"/>
                    <a:pt x="833" y="493"/>
                    <a:pt x="829" y="493"/>
                  </a:cubicBezTo>
                  <a:close/>
                  <a:moveTo>
                    <a:pt x="803" y="498"/>
                  </a:moveTo>
                  <a:cubicBezTo>
                    <a:pt x="805" y="496"/>
                    <a:pt x="803" y="494"/>
                    <a:pt x="801" y="494"/>
                  </a:cubicBezTo>
                  <a:cubicBezTo>
                    <a:pt x="800" y="497"/>
                    <a:pt x="801" y="498"/>
                    <a:pt x="803" y="498"/>
                  </a:cubicBezTo>
                  <a:close/>
                  <a:moveTo>
                    <a:pt x="827" y="514"/>
                  </a:moveTo>
                  <a:cubicBezTo>
                    <a:pt x="835" y="512"/>
                    <a:pt x="848" y="513"/>
                    <a:pt x="840" y="502"/>
                  </a:cubicBezTo>
                  <a:cubicBezTo>
                    <a:pt x="840" y="501"/>
                    <a:pt x="843" y="499"/>
                    <a:pt x="840" y="499"/>
                  </a:cubicBezTo>
                  <a:cubicBezTo>
                    <a:pt x="837" y="505"/>
                    <a:pt x="827" y="507"/>
                    <a:pt x="827" y="514"/>
                  </a:cubicBezTo>
                  <a:close/>
                  <a:moveTo>
                    <a:pt x="801" y="509"/>
                  </a:moveTo>
                  <a:cubicBezTo>
                    <a:pt x="805" y="509"/>
                    <a:pt x="804" y="501"/>
                    <a:pt x="801" y="501"/>
                  </a:cubicBezTo>
                  <a:cubicBezTo>
                    <a:pt x="801" y="504"/>
                    <a:pt x="801" y="506"/>
                    <a:pt x="801" y="509"/>
                  </a:cubicBezTo>
                  <a:close/>
                  <a:moveTo>
                    <a:pt x="809" y="514"/>
                  </a:moveTo>
                  <a:cubicBezTo>
                    <a:pt x="812" y="513"/>
                    <a:pt x="814" y="515"/>
                    <a:pt x="816" y="514"/>
                  </a:cubicBezTo>
                  <a:cubicBezTo>
                    <a:pt x="814" y="511"/>
                    <a:pt x="811" y="510"/>
                    <a:pt x="809" y="508"/>
                  </a:cubicBezTo>
                  <a:cubicBezTo>
                    <a:pt x="808" y="509"/>
                    <a:pt x="809" y="511"/>
                    <a:pt x="809" y="514"/>
                  </a:cubicBezTo>
                  <a:close/>
                  <a:moveTo>
                    <a:pt x="835" y="521"/>
                  </a:moveTo>
                  <a:cubicBezTo>
                    <a:pt x="838" y="523"/>
                    <a:pt x="840" y="521"/>
                    <a:pt x="843" y="522"/>
                  </a:cubicBezTo>
                  <a:cubicBezTo>
                    <a:pt x="843" y="520"/>
                    <a:pt x="843" y="517"/>
                    <a:pt x="843" y="515"/>
                  </a:cubicBezTo>
                  <a:cubicBezTo>
                    <a:pt x="840" y="516"/>
                    <a:pt x="838" y="519"/>
                    <a:pt x="835" y="521"/>
                  </a:cubicBezTo>
                  <a:close/>
                  <a:moveTo>
                    <a:pt x="809" y="517"/>
                  </a:moveTo>
                  <a:cubicBezTo>
                    <a:pt x="810" y="520"/>
                    <a:pt x="807" y="523"/>
                    <a:pt x="809" y="523"/>
                  </a:cubicBezTo>
                  <a:cubicBezTo>
                    <a:pt x="811" y="520"/>
                    <a:pt x="816" y="519"/>
                    <a:pt x="815" y="516"/>
                  </a:cubicBezTo>
                  <a:cubicBezTo>
                    <a:pt x="813" y="517"/>
                    <a:pt x="810" y="516"/>
                    <a:pt x="809" y="517"/>
                  </a:cubicBezTo>
                  <a:close/>
                  <a:moveTo>
                    <a:pt x="831" y="521"/>
                  </a:moveTo>
                  <a:cubicBezTo>
                    <a:pt x="833" y="519"/>
                    <a:pt x="835" y="519"/>
                    <a:pt x="835" y="516"/>
                  </a:cubicBezTo>
                  <a:cubicBezTo>
                    <a:pt x="831" y="516"/>
                    <a:pt x="830" y="516"/>
                    <a:pt x="825" y="516"/>
                  </a:cubicBezTo>
                  <a:cubicBezTo>
                    <a:pt x="826" y="519"/>
                    <a:pt x="828" y="520"/>
                    <a:pt x="831" y="521"/>
                  </a:cubicBezTo>
                  <a:close/>
                  <a:moveTo>
                    <a:pt x="803" y="521"/>
                  </a:moveTo>
                  <a:cubicBezTo>
                    <a:pt x="805" y="522"/>
                    <a:pt x="806" y="517"/>
                    <a:pt x="803" y="517"/>
                  </a:cubicBezTo>
                  <a:cubicBezTo>
                    <a:pt x="802" y="517"/>
                    <a:pt x="803" y="520"/>
                    <a:pt x="803" y="521"/>
                  </a:cubicBezTo>
                  <a:close/>
                  <a:moveTo>
                    <a:pt x="848" y="520"/>
                  </a:moveTo>
                  <a:cubicBezTo>
                    <a:pt x="849" y="519"/>
                    <a:pt x="849" y="517"/>
                    <a:pt x="848" y="517"/>
                  </a:cubicBezTo>
                  <a:cubicBezTo>
                    <a:pt x="847" y="518"/>
                    <a:pt x="847" y="519"/>
                    <a:pt x="848" y="520"/>
                  </a:cubicBezTo>
                  <a:close/>
                  <a:moveTo>
                    <a:pt x="816" y="523"/>
                  </a:moveTo>
                  <a:cubicBezTo>
                    <a:pt x="819" y="522"/>
                    <a:pt x="821" y="522"/>
                    <a:pt x="825" y="522"/>
                  </a:cubicBezTo>
                  <a:cubicBezTo>
                    <a:pt x="824" y="517"/>
                    <a:pt x="816" y="517"/>
                    <a:pt x="816" y="523"/>
                  </a:cubicBezTo>
                  <a:close/>
                  <a:moveTo>
                    <a:pt x="779" y="526"/>
                  </a:moveTo>
                  <a:cubicBezTo>
                    <a:pt x="784" y="528"/>
                    <a:pt x="791" y="528"/>
                    <a:pt x="794" y="525"/>
                  </a:cubicBezTo>
                  <a:cubicBezTo>
                    <a:pt x="793" y="524"/>
                    <a:pt x="792" y="523"/>
                    <a:pt x="792" y="523"/>
                  </a:cubicBezTo>
                  <a:cubicBezTo>
                    <a:pt x="793" y="522"/>
                    <a:pt x="794" y="522"/>
                    <a:pt x="794" y="519"/>
                  </a:cubicBezTo>
                  <a:cubicBezTo>
                    <a:pt x="793" y="519"/>
                    <a:pt x="793" y="518"/>
                    <a:pt x="792" y="519"/>
                  </a:cubicBezTo>
                  <a:cubicBezTo>
                    <a:pt x="790" y="523"/>
                    <a:pt x="782" y="521"/>
                    <a:pt x="779" y="526"/>
                  </a:cubicBezTo>
                  <a:close/>
                  <a:moveTo>
                    <a:pt x="867" y="521"/>
                  </a:moveTo>
                  <a:cubicBezTo>
                    <a:pt x="863" y="520"/>
                    <a:pt x="861" y="519"/>
                    <a:pt x="857" y="519"/>
                  </a:cubicBezTo>
                  <a:cubicBezTo>
                    <a:pt x="857" y="522"/>
                    <a:pt x="866" y="523"/>
                    <a:pt x="867" y="521"/>
                  </a:cubicBezTo>
                  <a:close/>
                  <a:moveTo>
                    <a:pt x="884" y="525"/>
                  </a:moveTo>
                  <a:cubicBezTo>
                    <a:pt x="879" y="524"/>
                    <a:pt x="876" y="522"/>
                    <a:pt x="871" y="522"/>
                  </a:cubicBezTo>
                  <a:cubicBezTo>
                    <a:pt x="873" y="525"/>
                    <a:pt x="880" y="526"/>
                    <a:pt x="884" y="525"/>
                  </a:cubicBezTo>
                  <a:close/>
                  <a:moveTo>
                    <a:pt x="844" y="532"/>
                  </a:moveTo>
                  <a:cubicBezTo>
                    <a:pt x="844" y="530"/>
                    <a:pt x="844" y="526"/>
                    <a:pt x="843" y="524"/>
                  </a:cubicBezTo>
                  <a:cubicBezTo>
                    <a:pt x="840" y="524"/>
                    <a:pt x="837" y="524"/>
                    <a:pt x="835" y="524"/>
                  </a:cubicBezTo>
                  <a:cubicBezTo>
                    <a:pt x="837" y="528"/>
                    <a:pt x="841" y="530"/>
                    <a:pt x="844" y="532"/>
                  </a:cubicBezTo>
                  <a:close/>
                  <a:moveTo>
                    <a:pt x="853" y="534"/>
                  </a:moveTo>
                  <a:cubicBezTo>
                    <a:pt x="852" y="530"/>
                    <a:pt x="854" y="525"/>
                    <a:pt x="850" y="525"/>
                  </a:cubicBezTo>
                  <a:cubicBezTo>
                    <a:pt x="850" y="528"/>
                    <a:pt x="847" y="535"/>
                    <a:pt x="853" y="534"/>
                  </a:cubicBezTo>
                  <a:close/>
                  <a:moveTo>
                    <a:pt x="809" y="527"/>
                  </a:moveTo>
                  <a:cubicBezTo>
                    <a:pt x="809" y="528"/>
                    <a:pt x="809" y="529"/>
                    <a:pt x="808" y="529"/>
                  </a:cubicBezTo>
                  <a:cubicBezTo>
                    <a:pt x="808" y="531"/>
                    <a:pt x="810" y="532"/>
                    <a:pt x="811" y="533"/>
                  </a:cubicBezTo>
                  <a:cubicBezTo>
                    <a:pt x="809" y="533"/>
                    <a:pt x="808" y="535"/>
                    <a:pt x="809" y="536"/>
                  </a:cubicBezTo>
                  <a:cubicBezTo>
                    <a:pt x="817" y="536"/>
                    <a:pt x="822" y="532"/>
                    <a:pt x="825" y="525"/>
                  </a:cubicBezTo>
                  <a:cubicBezTo>
                    <a:pt x="821" y="527"/>
                    <a:pt x="813" y="525"/>
                    <a:pt x="809" y="527"/>
                  </a:cubicBezTo>
                  <a:close/>
                  <a:moveTo>
                    <a:pt x="857" y="527"/>
                  </a:moveTo>
                  <a:cubicBezTo>
                    <a:pt x="859" y="528"/>
                    <a:pt x="857" y="533"/>
                    <a:pt x="859" y="535"/>
                  </a:cubicBezTo>
                  <a:cubicBezTo>
                    <a:pt x="863" y="534"/>
                    <a:pt x="864" y="535"/>
                    <a:pt x="868" y="533"/>
                  </a:cubicBezTo>
                  <a:cubicBezTo>
                    <a:pt x="870" y="530"/>
                    <a:pt x="866" y="530"/>
                    <a:pt x="868" y="527"/>
                  </a:cubicBezTo>
                  <a:cubicBezTo>
                    <a:pt x="866" y="527"/>
                    <a:pt x="865" y="526"/>
                    <a:pt x="863" y="526"/>
                  </a:cubicBezTo>
                  <a:cubicBezTo>
                    <a:pt x="861" y="528"/>
                    <a:pt x="866" y="529"/>
                    <a:pt x="865" y="532"/>
                  </a:cubicBezTo>
                  <a:cubicBezTo>
                    <a:pt x="865" y="532"/>
                    <a:pt x="865" y="532"/>
                    <a:pt x="864" y="532"/>
                  </a:cubicBezTo>
                  <a:cubicBezTo>
                    <a:pt x="863" y="529"/>
                    <a:pt x="858" y="530"/>
                    <a:pt x="859" y="525"/>
                  </a:cubicBezTo>
                  <a:cubicBezTo>
                    <a:pt x="858" y="525"/>
                    <a:pt x="857" y="526"/>
                    <a:pt x="857" y="527"/>
                  </a:cubicBezTo>
                  <a:close/>
                  <a:moveTo>
                    <a:pt x="831" y="527"/>
                  </a:moveTo>
                  <a:cubicBezTo>
                    <a:pt x="827" y="528"/>
                    <a:pt x="824" y="532"/>
                    <a:pt x="821" y="536"/>
                  </a:cubicBezTo>
                  <a:cubicBezTo>
                    <a:pt x="829" y="535"/>
                    <a:pt x="834" y="535"/>
                    <a:pt x="841" y="536"/>
                  </a:cubicBezTo>
                  <a:cubicBezTo>
                    <a:pt x="839" y="531"/>
                    <a:pt x="835" y="529"/>
                    <a:pt x="831" y="527"/>
                  </a:cubicBezTo>
                  <a:close/>
                  <a:moveTo>
                    <a:pt x="744" y="539"/>
                  </a:moveTo>
                  <a:cubicBezTo>
                    <a:pt x="757" y="536"/>
                    <a:pt x="771" y="533"/>
                    <a:pt x="783" y="528"/>
                  </a:cubicBezTo>
                  <a:cubicBezTo>
                    <a:pt x="766" y="525"/>
                    <a:pt x="756" y="535"/>
                    <a:pt x="744" y="539"/>
                  </a:cubicBezTo>
                  <a:close/>
                  <a:moveTo>
                    <a:pt x="799" y="532"/>
                  </a:moveTo>
                  <a:cubicBezTo>
                    <a:pt x="801" y="532"/>
                    <a:pt x="801" y="528"/>
                    <a:pt x="799" y="528"/>
                  </a:cubicBezTo>
                  <a:cubicBezTo>
                    <a:pt x="797" y="529"/>
                    <a:pt x="798" y="530"/>
                    <a:pt x="799" y="532"/>
                  </a:cubicBezTo>
                  <a:close/>
                  <a:moveTo>
                    <a:pt x="872" y="534"/>
                  </a:moveTo>
                  <a:cubicBezTo>
                    <a:pt x="876" y="533"/>
                    <a:pt x="880" y="532"/>
                    <a:pt x="881" y="528"/>
                  </a:cubicBezTo>
                  <a:cubicBezTo>
                    <a:pt x="875" y="529"/>
                    <a:pt x="873" y="528"/>
                    <a:pt x="872" y="534"/>
                  </a:cubicBezTo>
                  <a:close/>
                  <a:moveTo>
                    <a:pt x="787" y="532"/>
                  </a:moveTo>
                  <a:cubicBezTo>
                    <a:pt x="788" y="534"/>
                    <a:pt x="790" y="535"/>
                    <a:pt x="792" y="536"/>
                  </a:cubicBezTo>
                  <a:cubicBezTo>
                    <a:pt x="792" y="532"/>
                    <a:pt x="791" y="533"/>
                    <a:pt x="793" y="530"/>
                  </a:cubicBezTo>
                  <a:cubicBezTo>
                    <a:pt x="790" y="530"/>
                    <a:pt x="790" y="532"/>
                    <a:pt x="787" y="532"/>
                  </a:cubicBezTo>
                  <a:close/>
                  <a:moveTo>
                    <a:pt x="878" y="535"/>
                  </a:moveTo>
                  <a:cubicBezTo>
                    <a:pt x="884" y="535"/>
                    <a:pt x="890" y="535"/>
                    <a:pt x="891" y="531"/>
                  </a:cubicBezTo>
                  <a:cubicBezTo>
                    <a:pt x="887" y="529"/>
                    <a:pt x="879" y="530"/>
                    <a:pt x="878" y="535"/>
                  </a:cubicBezTo>
                  <a:close/>
                  <a:moveTo>
                    <a:pt x="893" y="535"/>
                  </a:moveTo>
                  <a:cubicBezTo>
                    <a:pt x="894" y="535"/>
                    <a:pt x="901" y="535"/>
                    <a:pt x="902" y="533"/>
                  </a:cubicBezTo>
                  <a:cubicBezTo>
                    <a:pt x="900" y="532"/>
                    <a:pt x="893" y="531"/>
                    <a:pt x="893" y="535"/>
                  </a:cubicBezTo>
                  <a:close/>
                  <a:moveTo>
                    <a:pt x="776" y="534"/>
                  </a:moveTo>
                  <a:cubicBezTo>
                    <a:pt x="775" y="535"/>
                    <a:pt x="776" y="538"/>
                    <a:pt x="775" y="538"/>
                  </a:cubicBezTo>
                  <a:cubicBezTo>
                    <a:pt x="774" y="534"/>
                    <a:pt x="768" y="536"/>
                    <a:pt x="767" y="538"/>
                  </a:cubicBezTo>
                  <a:cubicBezTo>
                    <a:pt x="773" y="541"/>
                    <a:pt x="782" y="538"/>
                    <a:pt x="788" y="538"/>
                  </a:cubicBezTo>
                  <a:cubicBezTo>
                    <a:pt x="786" y="533"/>
                    <a:pt x="781" y="533"/>
                    <a:pt x="776" y="534"/>
                  </a:cubicBezTo>
                  <a:close/>
                  <a:moveTo>
                    <a:pt x="911" y="534"/>
                  </a:moveTo>
                  <a:cubicBezTo>
                    <a:pt x="908" y="535"/>
                    <a:pt x="904" y="533"/>
                    <a:pt x="903" y="534"/>
                  </a:cubicBezTo>
                  <a:cubicBezTo>
                    <a:pt x="905" y="535"/>
                    <a:pt x="910" y="537"/>
                    <a:pt x="911" y="534"/>
                  </a:cubicBezTo>
                  <a:close/>
                  <a:moveTo>
                    <a:pt x="854" y="540"/>
                  </a:moveTo>
                  <a:cubicBezTo>
                    <a:pt x="855" y="538"/>
                    <a:pt x="853" y="538"/>
                    <a:pt x="851" y="538"/>
                  </a:cubicBezTo>
                  <a:cubicBezTo>
                    <a:pt x="851" y="540"/>
                    <a:pt x="853" y="540"/>
                    <a:pt x="854" y="540"/>
                  </a:cubicBezTo>
                  <a:close/>
                  <a:moveTo>
                    <a:pt x="859" y="542"/>
                  </a:moveTo>
                  <a:cubicBezTo>
                    <a:pt x="861" y="541"/>
                    <a:pt x="863" y="541"/>
                    <a:pt x="863" y="538"/>
                  </a:cubicBezTo>
                  <a:cubicBezTo>
                    <a:pt x="861" y="537"/>
                    <a:pt x="858" y="538"/>
                    <a:pt x="859" y="542"/>
                  </a:cubicBezTo>
                  <a:close/>
                  <a:moveTo>
                    <a:pt x="872" y="538"/>
                  </a:moveTo>
                  <a:cubicBezTo>
                    <a:pt x="871" y="541"/>
                    <a:pt x="874" y="539"/>
                    <a:pt x="875" y="540"/>
                  </a:cubicBezTo>
                  <a:cubicBezTo>
                    <a:pt x="876" y="537"/>
                    <a:pt x="873" y="537"/>
                    <a:pt x="872" y="538"/>
                  </a:cubicBezTo>
                  <a:close/>
                  <a:moveTo>
                    <a:pt x="879" y="539"/>
                  </a:moveTo>
                  <a:cubicBezTo>
                    <a:pt x="880" y="540"/>
                    <a:pt x="883" y="540"/>
                    <a:pt x="883" y="538"/>
                  </a:cubicBezTo>
                  <a:cubicBezTo>
                    <a:pt x="881" y="538"/>
                    <a:pt x="880" y="537"/>
                    <a:pt x="879" y="539"/>
                  </a:cubicBezTo>
                  <a:close/>
                  <a:moveTo>
                    <a:pt x="751" y="541"/>
                  </a:moveTo>
                  <a:cubicBezTo>
                    <a:pt x="756" y="543"/>
                    <a:pt x="759" y="540"/>
                    <a:pt x="765" y="540"/>
                  </a:cubicBezTo>
                  <a:cubicBezTo>
                    <a:pt x="762" y="535"/>
                    <a:pt x="755" y="541"/>
                    <a:pt x="751" y="541"/>
                  </a:cubicBezTo>
                  <a:close/>
                  <a:moveTo>
                    <a:pt x="864" y="543"/>
                  </a:moveTo>
                  <a:cubicBezTo>
                    <a:pt x="867" y="542"/>
                    <a:pt x="870" y="542"/>
                    <a:pt x="871" y="540"/>
                  </a:cubicBezTo>
                  <a:cubicBezTo>
                    <a:pt x="869" y="539"/>
                    <a:pt x="864" y="538"/>
                    <a:pt x="864" y="543"/>
                  </a:cubicBezTo>
                  <a:close/>
                  <a:moveTo>
                    <a:pt x="797" y="540"/>
                  </a:moveTo>
                  <a:cubicBezTo>
                    <a:pt x="797" y="543"/>
                    <a:pt x="802" y="542"/>
                    <a:pt x="802" y="540"/>
                  </a:cubicBezTo>
                  <a:cubicBezTo>
                    <a:pt x="801" y="540"/>
                    <a:pt x="798" y="540"/>
                    <a:pt x="797" y="540"/>
                  </a:cubicBezTo>
                  <a:close/>
                  <a:moveTo>
                    <a:pt x="827" y="545"/>
                  </a:moveTo>
                  <a:cubicBezTo>
                    <a:pt x="832" y="543"/>
                    <a:pt x="837" y="545"/>
                    <a:pt x="842" y="542"/>
                  </a:cubicBezTo>
                  <a:cubicBezTo>
                    <a:pt x="837" y="540"/>
                    <a:pt x="830" y="541"/>
                    <a:pt x="825" y="540"/>
                  </a:cubicBezTo>
                  <a:cubicBezTo>
                    <a:pt x="824" y="543"/>
                    <a:pt x="828" y="541"/>
                    <a:pt x="827" y="545"/>
                  </a:cubicBezTo>
                  <a:close/>
                  <a:moveTo>
                    <a:pt x="790" y="543"/>
                  </a:moveTo>
                  <a:cubicBezTo>
                    <a:pt x="786" y="543"/>
                    <a:pt x="784" y="543"/>
                    <a:pt x="779" y="543"/>
                  </a:cubicBezTo>
                  <a:cubicBezTo>
                    <a:pt x="781" y="546"/>
                    <a:pt x="788" y="546"/>
                    <a:pt x="792" y="545"/>
                  </a:cubicBezTo>
                  <a:cubicBezTo>
                    <a:pt x="790" y="543"/>
                    <a:pt x="793" y="541"/>
                    <a:pt x="790" y="540"/>
                  </a:cubicBezTo>
                  <a:cubicBezTo>
                    <a:pt x="790" y="541"/>
                    <a:pt x="790" y="542"/>
                    <a:pt x="790" y="543"/>
                  </a:cubicBezTo>
                  <a:close/>
                  <a:moveTo>
                    <a:pt x="822" y="543"/>
                  </a:moveTo>
                  <a:cubicBezTo>
                    <a:pt x="822" y="542"/>
                    <a:pt x="822" y="542"/>
                    <a:pt x="822" y="541"/>
                  </a:cubicBezTo>
                  <a:cubicBezTo>
                    <a:pt x="821" y="541"/>
                    <a:pt x="820" y="541"/>
                    <a:pt x="819" y="541"/>
                  </a:cubicBezTo>
                  <a:cubicBezTo>
                    <a:pt x="818" y="544"/>
                    <a:pt x="822" y="544"/>
                    <a:pt x="822" y="543"/>
                  </a:cubicBezTo>
                  <a:close/>
                  <a:moveTo>
                    <a:pt x="763" y="545"/>
                  </a:moveTo>
                  <a:cubicBezTo>
                    <a:pt x="763" y="547"/>
                    <a:pt x="772" y="547"/>
                    <a:pt x="772" y="545"/>
                  </a:cubicBezTo>
                  <a:cubicBezTo>
                    <a:pt x="770" y="544"/>
                    <a:pt x="765" y="544"/>
                    <a:pt x="763" y="545"/>
                  </a:cubicBezTo>
                  <a:close/>
                  <a:moveTo>
                    <a:pt x="807" y="568"/>
                  </a:moveTo>
                  <a:cubicBezTo>
                    <a:pt x="820" y="569"/>
                    <a:pt x="823" y="557"/>
                    <a:pt x="827" y="549"/>
                  </a:cubicBezTo>
                  <a:cubicBezTo>
                    <a:pt x="815" y="545"/>
                    <a:pt x="806" y="555"/>
                    <a:pt x="807" y="568"/>
                  </a:cubicBezTo>
                  <a:close/>
                  <a:moveTo>
                    <a:pt x="841" y="549"/>
                  </a:moveTo>
                  <a:cubicBezTo>
                    <a:pt x="842" y="550"/>
                    <a:pt x="843" y="550"/>
                    <a:pt x="843" y="551"/>
                  </a:cubicBezTo>
                  <a:cubicBezTo>
                    <a:pt x="841" y="551"/>
                    <a:pt x="840" y="552"/>
                    <a:pt x="839" y="552"/>
                  </a:cubicBezTo>
                  <a:cubicBezTo>
                    <a:pt x="840" y="554"/>
                    <a:pt x="840" y="557"/>
                    <a:pt x="842" y="558"/>
                  </a:cubicBezTo>
                  <a:cubicBezTo>
                    <a:pt x="842" y="555"/>
                    <a:pt x="844" y="558"/>
                    <a:pt x="846" y="557"/>
                  </a:cubicBezTo>
                  <a:cubicBezTo>
                    <a:pt x="847" y="554"/>
                    <a:pt x="844" y="553"/>
                    <a:pt x="842" y="552"/>
                  </a:cubicBezTo>
                  <a:cubicBezTo>
                    <a:pt x="845" y="553"/>
                    <a:pt x="846" y="551"/>
                    <a:pt x="846" y="549"/>
                  </a:cubicBezTo>
                  <a:cubicBezTo>
                    <a:pt x="845" y="548"/>
                    <a:pt x="841" y="547"/>
                    <a:pt x="841" y="549"/>
                  </a:cubicBezTo>
                  <a:close/>
                  <a:moveTo>
                    <a:pt x="809" y="552"/>
                  </a:moveTo>
                  <a:cubicBezTo>
                    <a:pt x="811" y="552"/>
                    <a:pt x="811" y="548"/>
                    <a:pt x="809" y="549"/>
                  </a:cubicBezTo>
                  <a:cubicBezTo>
                    <a:pt x="808" y="549"/>
                    <a:pt x="807" y="553"/>
                    <a:pt x="809" y="552"/>
                  </a:cubicBezTo>
                  <a:close/>
                  <a:moveTo>
                    <a:pt x="801" y="551"/>
                  </a:moveTo>
                  <a:cubicBezTo>
                    <a:pt x="802" y="551"/>
                    <a:pt x="801" y="553"/>
                    <a:pt x="803" y="553"/>
                  </a:cubicBezTo>
                  <a:cubicBezTo>
                    <a:pt x="803" y="552"/>
                    <a:pt x="803" y="551"/>
                    <a:pt x="803" y="550"/>
                  </a:cubicBezTo>
                  <a:cubicBezTo>
                    <a:pt x="802" y="550"/>
                    <a:pt x="801" y="550"/>
                    <a:pt x="801" y="551"/>
                  </a:cubicBezTo>
                  <a:close/>
                  <a:moveTo>
                    <a:pt x="828" y="554"/>
                  </a:moveTo>
                  <a:cubicBezTo>
                    <a:pt x="823" y="563"/>
                    <a:pt x="816" y="571"/>
                    <a:pt x="812" y="581"/>
                  </a:cubicBezTo>
                  <a:cubicBezTo>
                    <a:pt x="823" y="582"/>
                    <a:pt x="836" y="579"/>
                    <a:pt x="848" y="579"/>
                  </a:cubicBezTo>
                  <a:cubicBezTo>
                    <a:pt x="842" y="570"/>
                    <a:pt x="837" y="560"/>
                    <a:pt x="828" y="554"/>
                  </a:cubicBezTo>
                  <a:close/>
                  <a:moveTo>
                    <a:pt x="855" y="562"/>
                  </a:moveTo>
                  <a:cubicBezTo>
                    <a:pt x="857" y="561"/>
                    <a:pt x="855" y="558"/>
                    <a:pt x="854" y="557"/>
                  </a:cubicBezTo>
                  <a:cubicBezTo>
                    <a:pt x="854" y="559"/>
                    <a:pt x="853" y="562"/>
                    <a:pt x="855" y="562"/>
                  </a:cubicBezTo>
                  <a:close/>
                  <a:moveTo>
                    <a:pt x="842" y="564"/>
                  </a:moveTo>
                  <a:cubicBezTo>
                    <a:pt x="842" y="563"/>
                    <a:pt x="841" y="561"/>
                    <a:pt x="840" y="562"/>
                  </a:cubicBezTo>
                  <a:cubicBezTo>
                    <a:pt x="839" y="563"/>
                    <a:pt x="840" y="565"/>
                    <a:pt x="842" y="564"/>
                  </a:cubicBezTo>
                  <a:close/>
                  <a:moveTo>
                    <a:pt x="794" y="575"/>
                  </a:moveTo>
                  <a:cubicBezTo>
                    <a:pt x="795" y="571"/>
                    <a:pt x="799" y="569"/>
                    <a:pt x="799" y="564"/>
                  </a:cubicBezTo>
                  <a:cubicBezTo>
                    <a:pt x="798" y="564"/>
                    <a:pt x="797" y="563"/>
                    <a:pt x="796" y="563"/>
                  </a:cubicBezTo>
                  <a:cubicBezTo>
                    <a:pt x="794" y="565"/>
                    <a:pt x="792" y="573"/>
                    <a:pt x="794" y="575"/>
                  </a:cubicBezTo>
                  <a:close/>
                  <a:moveTo>
                    <a:pt x="848" y="575"/>
                  </a:moveTo>
                  <a:cubicBezTo>
                    <a:pt x="849" y="571"/>
                    <a:pt x="846" y="566"/>
                    <a:pt x="842" y="565"/>
                  </a:cubicBezTo>
                  <a:cubicBezTo>
                    <a:pt x="843" y="569"/>
                    <a:pt x="847" y="571"/>
                    <a:pt x="848" y="575"/>
                  </a:cubicBezTo>
                  <a:close/>
                  <a:moveTo>
                    <a:pt x="859" y="582"/>
                  </a:moveTo>
                  <a:cubicBezTo>
                    <a:pt x="859" y="576"/>
                    <a:pt x="859" y="570"/>
                    <a:pt x="855" y="568"/>
                  </a:cubicBezTo>
                  <a:cubicBezTo>
                    <a:pt x="852" y="575"/>
                    <a:pt x="856" y="579"/>
                    <a:pt x="859" y="582"/>
                  </a:cubicBezTo>
                  <a:close/>
                  <a:moveTo>
                    <a:pt x="805" y="581"/>
                  </a:moveTo>
                  <a:cubicBezTo>
                    <a:pt x="811" y="581"/>
                    <a:pt x="811" y="575"/>
                    <a:pt x="814" y="572"/>
                  </a:cubicBezTo>
                  <a:cubicBezTo>
                    <a:pt x="811" y="570"/>
                    <a:pt x="809" y="572"/>
                    <a:pt x="807" y="571"/>
                  </a:cubicBezTo>
                  <a:cubicBezTo>
                    <a:pt x="805" y="573"/>
                    <a:pt x="805" y="578"/>
                    <a:pt x="805" y="581"/>
                  </a:cubicBezTo>
                  <a:close/>
                  <a:moveTo>
                    <a:pt x="792" y="581"/>
                  </a:moveTo>
                  <a:cubicBezTo>
                    <a:pt x="794" y="583"/>
                    <a:pt x="797" y="582"/>
                    <a:pt x="799" y="581"/>
                  </a:cubicBezTo>
                  <a:cubicBezTo>
                    <a:pt x="799" y="578"/>
                    <a:pt x="799" y="574"/>
                    <a:pt x="797" y="573"/>
                  </a:cubicBezTo>
                  <a:cubicBezTo>
                    <a:pt x="797" y="577"/>
                    <a:pt x="793" y="577"/>
                    <a:pt x="792" y="581"/>
                  </a:cubicBezTo>
                  <a:close/>
                  <a:moveTo>
                    <a:pt x="806" y="590"/>
                  </a:moveTo>
                  <a:cubicBezTo>
                    <a:pt x="809" y="591"/>
                    <a:pt x="810" y="590"/>
                    <a:pt x="814" y="590"/>
                  </a:cubicBezTo>
                  <a:cubicBezTo>
                    <a:pt x="814" y="587"/>
                    <a:pt x="817" y="587"/>
                    <a:pt x="817" y="584"/>
                  </a:cubicBezTo>
                  <a:cubicBezTo>
                    <a:pt x="810" y="582"/>
                    <a:pt x="807" y="585"/>
                    <a:pt x="806" y="590"/>
                  </a:cubicBezTo>
                  <a:close/>
                  <a:moveTo>
                    <a:pt x="828" y="591"/>
                  </a:moveTo>
                  <a:cubicBezTo>
                    <a:pt x="837" y="590"/>
                    <a:pt x="842" y="590"/>
                    <a:pt x="848" y="586"/>
                  </a:cubicBezTo>
                  <a:cubicBezTo>
                    <a:pt x="848" y="588"/>
                    <a:pt x="845" y="589"/>
                    <a:pt x="848" y="589"/>
                  </a:cubicBezTo>
                  <a:cubicBezTo>
                    <a:pt x="852" y="580"/>
                    <a:pt x="831" y="585"/>
                    <a:pt x="822" y="584"/>
                  </a:cubicBezTo>
                  <a:cubicBezTo>
                    <a:pt x="824" y="587"/>
                    <a:pt x="826" y="589"/>
                    <a:pt x="828" y="591"/>
                  </a:cubicBezTo>
                  <a:close/>
                  <a:moveTo>
                    <a:pt x="800" y="588"/>
                  </a:moveTo>
                  <a:cubicBezTo>
                    <a:pt x="801" y="585"/>
                    <a:pt x="797" y="586"/>
                    <a:pt x="794" y="586"/>
                  </a:cubicBezTo>
                  <a:cubicBezTo>
                    <a:pt x="795" y="587"/>
                    <a:pt x="798" y="590"/>
                    <a:pt x="800" y="588"/>
                  </a:cubicBezTo>
                  <a:close/>
                  <a:moveTo>
                    <a:pt x="817" y="590"/>
                  </a:moveTo>
                  <a:cubicBezTo>
                    <a:pt x="818" y="592"/>
                    <a:pt x="821" y="591"/>
                    <a:pt x="824" y="591"/>
                  </a:cubicBezTo>
                  <a:cubicBezTo>
                    <a:pt x="822" y="589"/>
                    <a:pt x="822" y="586"/>
                    <a:pt x="820" y="586"/>
                  </a:cubicBezTo>
                  <a:cubicBezTo>
                    <a:pt x="818" y="587"/>
                    <a:pt x="818" y="589"/>
                    <a:pt x="817" y="590"/>
                  </a:cubicBezTo>
                  <a:close/>
                  <a:moveTo>
                    <a:pt x="792" y="596"/>
                  </a:moveTo>
                  <a:cubicBezTo>
                    <a:pt x="791" y="592"/>
                    <a:pt x="794" y="589"/>
                    <a:pt x="790" y="588"/>
                  </a:cubicBezTo>
                  <a:cubicBezTo>
                    <a:pt x="790" y="590"/>
                    <a:pt x="788" y="596"/>
                    <a:pt x="792" y="596"/>
                  </a:cubicBezTo>
                  <a:close/>
                  <a:moveTo>
                    <a:pt x="806" y="601"/>
                  </a:moveTo>
                  <a:cubicBezTo>
                    <a:pt x="806" y="597"/>
                    <a:pt x="811" y="598"/>
                    <a:pt x="810" y="594"/>
                  </a:cubicBezTo>
                  <a:cubicBezTo>
                    <a:pt x="809" y="593"/>
                    <a:pt x="806" y="593"/>
                    <a:pt x="805" y="592"/>
                  </a:cubicBezTo>
                  <a:cubicBezTo>
                    <a:pt x="806" y="596"/>
                    <a:pt x="802" y="601"/>
                    <a:pt x="806" y="601"/>
                  </a:cubicBezTo>
                  <a:close/>
                  <a:moveTo>
                    <a:pt x="835" y="595"/>
                  </a:moveTo>
                  <a:cubicBezTo>
                    <a:pt x="836" y="595"/>
                    <a:pt x="837" y="595"/>
                    <a:pt x="838" y="595"/>
                  </a:cubicBezTo>
                  <a:cubicBezTo>
                    <a:pt x="838" y="594"/>
                    <a:pt x="838" y="593"/>
                    <a:pt x="837" y="592"/>
                  </a:cubicBezTo>
                  <a:cubicBezTo>
                    <a:pt x="837" y="594"/>
                    <a:pt x="835" y="593"/>
                    <a:pt x="835" y="595"/>
                  </a:cubicBezTo>
                  <a:close/>
                  <a:moveTo>
                    <a:pt x="838" y="599"/>
                  </a:moveTo>
                  <a:cubicBezTo>
                    <a:pt x="842" y="601"/>
                    <a:pt x="849" y="600"/>
                    <a:pt x="851" y="601"/>
                  </a:cubicBezTo>
                  <a:cubicBezTo>
                    <a:pt x="851" y="597"/>
                    <a:pt x="851" y="595"/>
                    <a:pt x="850" y="592"/>
                  </a:cubicBezTo>
                  <a:cubicBezTo>
                    <a:pt x="844" y="593"/>
                    <a:pt x="839" y="592"/>
                    <a:pt x="838" y="599"/>
                  </a:cubicBezTo>
                  <a:close/>
                  <a:moveTo>
                    <a:pt x="814" y="594"/>
                  </a:moveTo>
                  <a:cubicBezTo>
                    <a:pt x="814" y="597"/>
                    <a:pt x="810" y="597"/>
                    <a:pt x="811" y="602"/>
                  </a:cubicBezTo>
                  <a:cubicBezTo>
                    <a:pt x="811" y="604"/>
                    <a:pt x="815" y="603"/>
                    <a:pt x="814" y="605"/>
                  </a:cubicBezTo>
                  <a:cubicBezTo>
                    <a:pt x="812" y="607"/>
                    <a:pt x="811" y="603"/>
                    <a:pt x="809" y="602"/>
                  </a:cubicBezTo>
                  <a:cubicBezTo>
                    <a:pt x="808" y="605"/>
                    <a:pt x="805" y="606"/>
                    <a:pt x="805" y="609"/>
                  </a:cubicBezTo>
                  <a:cubicBezTo>
                    <a:pt x="807" y="611"/>
                    <a:pt x="812" y="610"/>
                    <a:pt x="816" y="610"/>
                  </a:cubicBezTo>
                  <a:cubicBezTo>
                    <a:pt x="815" y="609"/>
                    <a:pt x="816" y="608"/>
                    <a:pt x="817" y="607"/>
                  </a:cubicBezTo>
                  <a:cubicBezTo>
                    <a:pt x="817" y="609"/>
                    <a:pt x="819" y="610"/>
                    <a:pt x="821" y="610"/>
                  </a:cubicBezTo>
                  <a:cubicBezTo>
                    <a:pt x="823" y="605"/>
                    <a:pt x="827" y="602"/>
                    <a:pt x="828" y="597"/>
                  </a:cubicBezTo>
                  <a:cubicBezTo>
                    <a:pt x="826" y="592"/>
                    <a:pt x="819" y="593"/>
                    <a:pt x="814" y="594"/>
                  </a:cubicBezTo>
                  <a:close/>
                  <a:moveTo>
                    <a:pt x="856" y="598"/>
                  </a:moveTo>
                  <a:cubicBezTo>
                    <a:pt x="856" y="596"/>
                    <a:pt x="857" y="593"/>
                    <a:pt x="855" y="593"/>
                  </a:cubicBezTo>
                  <a:cubicBezTo>
                    <a:pt x="855" y="595"/>
                    <a:pt x="853" y="598"/>
                    <a:pt x="856" y="598"/>
                  </a:cubicBezTo>
                  <a:close/>
                  <a:moveTo>
                    <a:pt x="799" y="602"/>
                  </a:moveTo>
                  <a:cubicBezTo>
                    <a:pt x="797" y="600"/>
                    <a:pt x="800" y="594"/>
                    <a:pt x="797" y="594"/>
                  </a:cubicBezTo>
                  <a:cubicBezTo>
                    <a:pt x="796" y="597"/>
                    <a:pt x="797" y="601"/>
                    <a:pt x="799" y="602"/>
                  </a:cubicBezTo>
                  <a:close/>
                  <a:moveTo>
                    <a:pt x="831" y="596"/>
                  </a:moveTo>
                  <a:cubicBezTo>
                    <a:pt x="831" y="597"/>
                    <a:pt x="833" y="597"/>
                    <a:pt x="832" y="599"/>
                  </a:cubicBezTo>
                  <a:cubicBezTo>
                    <a:pt x="835" y="599"/>
                    <a:pt x="835" y="596"/>
                    <a:pt x="833" y="595"/>
                  </a:cubicBezTo>
                  <a:cubicBezTo>
                    <a:pt x="833" y="596"/>
                    <a:pt x="832" y="596"/>
                    <a:pt x="831" y="596"/>
                  </a:cubicBezTo>
                  <a:close/>
                  <a:moveTo>
                    <a:pt x="920" y="599"/>
                  </a:moveTo>
                  <a:cubicBezTo>
                    <a:pt x="922" y="600"/>
                    <a:pt x="925" y="601"/>
                    <a:pt x="926" y="603"/>
                  </a:cubicBezTo>
                  <a:cubicBezTo>
                    <a:pt x="926" y="599"/>
                    <a:pt x="924" y="598"/>
                    <a:pt x="922" y="596"/>
                  </a:cubicBezTo>
                  <a:cubicBezTo>
                    <a:pt x="921" y="597"/>
                    <a:pt x="921" y="598"/>
                    <a:pt x="920" y="599"/>
                  </a:cubicBezTo>
                  <a:close/>
                  <a:moveTo>
                    <a:pt x="815" y="629"/>
                  </a:moveTo>
                  <a:cubicBezTo>
                    <a:pt x="810" y="630"/>
                    <a:pt x="808" y="638"/>
                    <a:pt x="807" y="641"/>
                  </a:cubicBezTo>
                  <a:cubicBezTo>
                    <a:pt x="825" y="639"/>
                    <a:pt x="839" y="641"/>
                    <a:pt x="855" y="638"/>
                  </a:cubicBezTo>
                  <a:cubicBezTo>
                    <a:pt x="846" y="626"/>
                    <a:pt x="839" y="612"/>
                    <a:pt x="829" y="601"/>
                  </a:cubicBezTo>
                  <a:cubicBezTo>
                    <a:pt x="829" y="601"/>
                    <a:pt x="828" y="601"/>
                    <a:pt x="828" y="601"/>
                  </a:cubicBezTo>
                  <a:cubicBezTo>
                    <a:pt x="826" y="610"/>
                    <a:pt x="817" y="617"/>
                    <a:pt x="815" y="629"/>
                  </a:cubicBezTo>
                  <a:close/>
                  <a:moveTo>
                    <a:pt x="848" y="620"/>
                  </a:moveTo>
                  <a:cubicBezTo>
                    <a:pt x="847" y="627"/>
                    <a:pt x="854" y="627"/>
                    <a:pt x="853" y="634"/>
                  </a:cubicBezTo>
                  <a:cubicBezTo>
                    <a:pt x="860" y="629"/>
                    <a:pt x="848" y="622"/>
                    <a:pt x="850" y="618"/>
                  </a:cubicBezTo>
                  <a:cubicBezTo>
                    <a:pt x="842" y="615"/>
                    <a:pt x="844" y="604"/>
                    <a:pt x="835" y="603"/>
                  </a:cubicBezTo>
                  <a:cubicBezTo>
                    <a:pt x="838" y="610"/>
                    <a:pt x="842" y="616"/>
                    <a:pt x="848" y="620"/>
                  </a:cubicBezTo>
                  <a:close/>
                  <a:moveTo>
                    <a:pt x="931" y="604"/>
                  </a:moveTo>
                  <a:cubicBezTo>
                    <a:pt x="932" y="605"/>
                    <a:pt x="935" y="605"/>
                    <a:pt x="934" y="603"/>
                  </a:cubicBezTo>
                  <a:cubicBezTo>
                    <a:pt x="933" y="603"/>
                    <a:pt x="931" y="603"/>
                    <a:pt x="931" y="604"/>
                  </a:cubicBezTo>
                  <a:close/>
                  <a:moveTo>
                    <a:pt x="847" y="609"/>
                  </a:moveTo>
                  <a:cubicBezTo>
                    <a:pt x="849" y="607"/>
                    <a:pt x="851" y="607"/>
                    <a:pt x="850" y="603"/>
                  </a:cubicBezTo>
                  <a:cubicBezTo>
                    <a:pt x="848" y="603"/>
                    <a:pt x="845" y="603"/>
                    <a:pt x="842" y="603"/>
                  </a:cubicBezTo>
                  <a:cubicBezTo>
                    <a:pt x="842" y="607"/>
                    <a:pt x="845" y="608"/>
                    <a:pt x="847" y="609"/>
                  </a:cubicBezTo>
                  <a:close/>
                  <a:moveTo>
                    <a:pt x="930" y="608"/>
                  </a:moveTo>
                  <a:cubicBezTo>
                    <a:pt x="930" y="607"/>
                    <a:pt x="930" y="606"/>
                    <a:pt x="930" y="604"/>
                  </a:cubicBezTo>
                  <a:cubicBezTo>
                    <a:pt x="928" y="605"/>
                    <a:pt x="929" y="603"/>
                    <a:pt x="927" y="603"/>
                  </a:cubicBezTo>
                  <a:cubicBezTo>
                    <a:pt x="927" y="606"/>
                    <a:pt x="928" y="607"/>
                    <a:pt x="930" y="608"/>
                  </a:cubicBezTo>
                  <a:close/>
                  <a:moveTo>
                    <a:pt x="792" y="618"/>
                  </a:moveTo>
                  <a:cubicBezTo>
                    <a:pt x="790" y="619"/>
                    <a:pt x="791" y="616"/>
                    <a:pt x="789" y="617"/>
                  </a:cubicBezTo>
                  <a:cubicBezTo>
                    <a:pt x="789" y="619"/>
                    <a:pt x="788" y="620"/>
                    <a:pt x="788" y="622"/>
                  </a:cubicBezTo>
                  <a:cubicBezTo>
                    <a:pt x="796" y="624"/>
                    <a:pt x="792" y="614"/>
                    <a:pt x="793" y="608"/>
                  </a:cubicBezTo>
                  <a:cubicBezTo>
                    <a:pt x="792" y="608"/>
                    <a:pt x="792" y="608"/>
                    <a:pt x="791" y="608"/>
                  </a:cubicBezTo>
                  <a:cubicBezTo>
                    <a:pt x="790" y="612"/>
                    <a:pt x="790" y="616"/>
                    <a:pt x="792" y="618"/>
                  </a:cubicBezTo>
                  <a:close/>
                  <a:moveTo>
                    <a:pt x="861" y="623"/>
                  </a:moveTo>
                  <a:cubicBezTo>
                    <a:pt x="863" y="620"/>
                    <a:pt x="864" y="612"/>
                    <a:pt x="861" y="610"/>
                  </a:cubicBezTo>
                  <a:cubicBezTo>
                    <a:pt x="860" y="613"/>
                    <a:pt x="859" y="621"/>
                    <a:pt x="861" y="623"/>
                  </a:cubicBezTo>
                  <a:close/>
                  <a:moveTo>
                    <a:pt x="853" y="619"/>
                  </a:moveTo>
                  <a:cubicBezTo>
                    <a:pt x="854" y="617"/>
                    <a:pt x="852" y="614"/>
                    <a:pt x="853" y="612"/>
                  </a:cubicBezTo>
                  <a:cubicBezTo>
                    <a:pt x="852" y="612"/>
                    <a:pt x="851" y="612"/>
                    <a:pt x="850" y="612"/>
                  </a:cubicBezTo>
                  <a:cubicBezTo>
                    <a:pt x="848" y="614"/>
                    <a:pt x="851" y="617"/>
                    <a:pt x="853" y="619"/>
                  </a:cubicBezTo>
                  <a:close/>
                  <a:moveTo>
                    <a:pt x="814" y="624"/>
                  </a:moveTo>
                  <a:cubicBezTo>
                    <a:pt x="813" y="618"/>
                    <a:pt x="818" y="619"/>
                    <a:pt x="818" y="614"/>
                  </a:cubicBezTo>
                  <a:cubicBezTo>
                    <a:pt x="814" y="614"/>
                    <a:pt x="810" y="613"/>
                    <a:pt x="809" y="616"/>
                  </a:cubicBezTo>
                  <a:cubicBezTo>
                    <a:pt x="808" y="615"/>
                    <a:pt x="806" y="614"/>
                    <a:pt x="803" y="614"/>
                  </a:cubicBezTo>
                  <a:cubicBezTo>
                    <a:pt x="803" y="618"/>
                    <a:pt x="807" y="617"/>
                    <a:pt x="807" y="620"/>
                  </a:cubicBezTo>
                  <a:cubicBezTo>
                    <a:pt x="804" y="622"/>
                    <a:pt x="808" y="626"/>
                    <a:pt x="807" y="629"/>
                  </a:cubicBezTo>
                  <a:cubicBezTo>
                    <a:pt x="803" y="628"/>
                    <a:pt x="806" y="621"/>
                    <a:pt x="803" y="619"/>
                  </a:cubicBezTo>
                  <a:cubicBezTo>
                    <a:pt x="801" y="623"/>
                    <a:pt x="800" y="628"/>
                    <a:pt x="803" y="631"/>
                  </a:cubicBezTo>
                  <a:cubicBezTo>
                    <a:pt x="811" y="632"/>
                    <a:pt x="812" y="625"/>
                    <a:pt x="808" y="620"/>
                  </a:cubicBezTo>
                  <a:cubicBezTo>
                    <a:pt x="810" y="621"/>
                    <a:pt x="810" y="625"/>
                    <a:pt x="814" y="624"/>
                  </a:cubicBezTo>
                  <a:close/>
                  <a:moveTo>
                    <a:pt x="861" y="628"/>
                  </a:moveTo>
                  <a:cubicBezTo>
                    <a:pt x="862" y="628"/>
                    <a:pt x="864" y="629"/>
                    <a:pt x="865" y="628"/>
                  </a:cubicBezTo>
                  <a:cubicBezTo>
                    <a:pt x="865" y="625"/>
                    <a:pt x="865" y="622"/>
                    <a:pt x="863" y="621"/>
                  </a:cubicBezTo>
                  <a:cubicBezTo>
                    <a:pt x="863" y="624"/>
                    <a:pt x="861" y="625"/>
                    <a:pt x="861" y="628"/>
                  </a:cubicBezTo>
                  <a:close/>
                  <a:moveTo>
                    <a:pt x="785" y="634"/>
                  </a:moveTo>
                  <a:cubicBezTo>
                    <a:pt x="788" y="632"/>
                    <a:pt x="789" y="629"/>
                    <a:pt x="790" y="625"/>
                  </a:cubicBezTo>
                  <a:cubicBezTo>
                    <a:pt x="789" y="625"/>
                    <a:pt x="789" y="624"/>
                    <a:pt x="788" y="625"/>
                  </a:cubicBezTo>
                  <a:cubicBezTo>
                    <a:pt x="786" y="627"/>
                    <a:pt x="786" y="631"/>
                    <a:pt x="785" y="634"/>
                  </a:cubicBezTo>
                  <a:close/>
                  <a:moveTo>
                    <a:pt x="785" y="642"/>
                  </a:moveTo>
                  <a:cubicBezTo>
                    <a:pt x="786" y="642"/>
                    <a:pt x="790" y="641"/>
                    <a:pt x="794" y="642"/>
                  </a:cubicBezTo>
                  <a:cubicBezTo>
                    <a:pt x="793" y="637"/>
                    <a:pt x="795" y="629"/>
                    <a:pt x="792" y="627"/>
                  </a:cubicBezTo>
                  <a:cubicBezTo>
                    <a:pt x="791" y="633"/>
                    <a:pt x="785" y="635"/>
                    <a:pt x="785" y="642"/>
                  </a:cubicBezTo>
                  <a:close/>
                  <a:moveTo>
                    <a:pt x="862" y="634"/>
                  </a:moveTo>
                  <a:cubicBezTo>
                    <a:pt x="866" y="635"/>
                    <a:pt x="865" y="641"/>
                    <a:pt x="869" y="643"/>
                  </a:cubicBezTo>
                  <a:cubicBezTo>
                    <a:pt x="869" y="638"/>
                    <a:pt x="867" y="635"/>
                    <a:pt x="865" y="631"/>
                  </a:cubicBezTo>
                  <a:cubicBezTo>
                    <a:pt x="863" y="631"/>
                    <a:pt x="862" y="632"/>
                    <a:pt x="862" y="634"/>
                  </a:cubicBezTo>
                  <a:close/>
                  <a:moveTo>
                    <a:pt x="801" y="641"/>
                  </a:moveTo>
                  <a:cubicBezTo>
                    <a:pt x="804" y="640"/>
                    <a:pt x="805" y="638"/>
                    <a:pt x="806" y="635"/>
                  </a:cubicBezTo>
                  <a:cubicBezTo>
                    <a:pt x="805" y="634"/>
                    <a:pt x="803" y="634"/>
                    <a:pt x="801" y="634"/>
                  </a:cubicBezTo>
                  <a:cubicBezTo>
                    <a:pt x="801" y="637"/>
                    <a:pt x="800" y="638"/>
                    <a:pt x="801" y="641"/>
                  </a:cubicBezTo>
                  <a:close/>
                  <a:moveTo>
                    <a:pt x="865" y="641"/>
                  </a:moveTo>
                  <a:cubicBezTo>
                    <a:pt x="863" y="640"/>
                    <a:pt x="863" y="636"/>
                    <a:pt x="860" y="636"/>
                  </a:cubicBezTo>
                  <a:cubicBezTo>
                    <a:pt x="859" y="640"/>
                    <a:pt x="863" y="643"/>
                    <a:pt x="865" y="641"/>
                  </a:cubicBezTo>
                  <a:close/>
                  <a:moveTo>
                    <a:pt x="801" y="650"/>
                  </a:moveTo>
                  <a:cubicBezTo>
                    <a:pt x="807" y="651"/>
                    <a:pt x="817" y="651"/>
                    <a:pt x="816" y="643"/>
                  </a:cubicBezTo>
                  <a:cubicBezTo>
                    <a:pt x="809" y="643"/>
                    <a:pt x="801" y="643"/>
                    <a:pt x="801" y="650"/>
                  </a:cubicBezTo>
                  <a:close/>
                  <a:moveTo>
                    <a:pt x="822" y="643"/>
                  </a:moveTo>
                  <a:cubicBezTo>
                    <a:pt x="822" y="644"/>
                    <a:pt x="822" y="644"/>
                    <a:pt x="822" y="645"/>
                  </a:cubicBezTo>
                  <a:cubicBezTo>
                    <a:pt x="821" y="647"/>
                    <a:pt x="820" y="644"/>
                    <a:pt x="818" y="645"/>
                  </a:cubicBezTo>
                  <a:cubicBezTo>
                    <a:pt x="818" y="647"/>
                    <a:pt x="816" y="648"/>
                    <a:pt x="816" y="650"/>
                  </a:cubicBezTo>
                  <a:cubicBezTo>
                    <a:pt x="818" y="651"/>
                    <a:pt x="820" y="653"/>
                    <a:pt x="822" y="651"/>
                  </a:cubicBezTo>
                  <a:cubicBezTo>
                    <a:pt x="824" y="648"/>
                    <a:pt x="820" y="648"/>
                    <a:pt x="822" y="646"/>
                  </a:cubicBezTo>
                  <a:cubicBezTo>
                    <a:pt x="824" y="645"/>
                    <a:pt x="825" y="649"/>
                    <a:pt x="826" y="650"/>
                  </a:cubicBezTo>
                  <a:cubicBezTo>
                    <a:pt x="835" y="650"/>
                    <a:pt x="850" y="653"/>
                    <a:pt x="853" y="643"/>
                  </a:cubicBezTo>
                  <a:cubicBezTo>
                    <a:pt x="840" y="643"/>
                    <a:pt x="833" y="644"/>
                    <a:pt x="822" y="643"/>
                  </a:cubicBezTo>
                  <a:close/>
                  <a:moveTo>
                    <a:pt x="861" y="647"/>
                  </a:moveTo>
                  <a:cubicBezTo>
                    <a:pt x="862" y="647"/>
                    <a:pt x="863" y="647"/>
                    <a:pt x="863" y="647"/>
                  </a:cubicBezTo>
                  <a:cubicBezTo>
                    <a:pt x="864" y="645"/>
                    <a:pt x="863" y="644"/>
                    <a:pt x="861" y="644"/>
                  </a:cubicBezTo>
                  <a:cubicBezTo>
                    <a:pt x="861" y="645"/>
                    <a:pt x="861" y="646"/>
                    <a:pt x="861" y="647"/>
                  </a:cubicBezTo>
                  <a:close/>
                  <a:moveTo>
                    <a:pt x="794" y="649"/>
                  </a:moveTo>
                  <a:cubicBezTo>
                    <a:pt x="795" y="647"/>
                    <a:pt x="795" y="646"/>
                    <a:pt x="794" y="645"/>
                  </a:cubicBezTo>
                  <a:cubicBezTo>
                    <a:pt x="791" y="646"/>
                    <a:pt x="789" y="644"/>
                    <a:pt x="788" y="646"/>
                  </a:cubicBezTo>
                  <a:cubicBezTo>
                    <a:pt x="790" y="647"/>
                    <a:pt x="790" y="650"/>
                    <a:pt x="794" y="649"/>
                  </a:cubicBezTo>
                  <a:close/>
                  <a:moveTo>
                    <a:pt x="851" y="650"/>
                  </a:moveTo>
                  <a:cubicBezTo>
                    <a:pt x="854" y="649"/>
                    <a:pt x="857" y="649"/>
                    <a:pt x="857" y="646"/>
                  </a:cubicBezTo>
                  <a:cubicBezTo>
                    <a:pt x="854" y="644"/>
                    <a:pt x="852" y="648"/>
                    <a:pt x="851" y="650"/>
                  </a:cubicBezTo>
                  <a:close/>
                  <a:moveTo>
                    <a:pt x="782" y="661"/>
                  </a:moveTo>
                  <a:cubicBezTo>
                    <a:pt x="785" y="659"/>
                    <a:pt x="786" y="652"/>
                    <a:pt x="785" y="648"/>
                  </a:cubicBezTo>
                  <a:cubicBezTo>
                    <a:pt x="784" y="648"/>
                    <a:pt x="784" y="648"/>
                    <a:pt x="783" y="648"/>
                  </a:cubicBezTo>
                  <a:cubicBezTo>
                    <a:pt x="782" y="651"/>
                    <a:pt x="782" y="656"/>
                    <a:pt x="782" y="661"/>
                  </a:cubicBezTo>
                  <a:close/>
                  <a:moveTo>
                    <a:pt x="792" y="664"/>
                  </a:moveTo>
                  <a:cubicBezTo>
                    <a:pt x="798" y="664"/>
                    <a:pt x="789" y="656"/>
                    <a:pt x="794" y="653"/>
                  </a:cubicBezTo>
                  <a:cubicBezTo>
                    <a:pt x="793" y="653"/>
                    <a:pt x="793" y="652"/>
                    <a:pt x="792" y="653"/>
                  </a:cubicBezTo>
                  <a:cubicBezTo>
                    <a:pt x="790" y="656"/>
                    <a:pt x="790" y="661"/>
                    <a:pt x="792" y="664"/>
                  </a:cubicBezTo>
                  <a:close/>
                  <a:moveTo>
                    <a:pt x="829" y="656"/>
                  </a:moveTo>
                  <a:cubicBezTo>
                    <a:pt x="830" y="656"/>
                    <a:pt x="831" y="656"/>
                    <a:pt x="832" y="656"/>
                  </a:cubicBezTo>
                  <a:cubicBezTo>
                    <a:pt x="832" y="654"/>
                    <a:pt x="831" y="653"/>
                    <a:pt x="830" y="653"/>
                  </a:cubicBezTo>
                  <a:cubicBezTo>
                    <a:pt x="829" y="653"/>
                    <a:pt x="829" y="654"/>
                    <a:pt x="829" y="656"/>
                  </a:cubicBezTo>
                  <a:close/>
                  <a:moveTo>
                    <a:pt x="842" y="659"/>
                  </a:moveTo>
                  <a:cubicBezTo>
                    <a:pt x="843" y="665"/>
                    <a:pt x="851" y="661"/>
                    <a:pt x="857" y="661"/>
                  </a:cubicBezTo>
                  <a:cubicBezTo>
                    <a:pt x="857" y="657"/>
                    <a:pt x="857" y="656"/>
                    <a:pt x="856" y="653"/>
                  </a:cubicBezTo>
                  <a:cubicBezTo>
                    <a:pt x="849" y="652"/>
                    <a:pt x="846" y="655"/>
                    <a:pt x="842" y="659"/>
                  </a:cubicBezTo>
                  <a:close/>
                  <a:moveTo>
                    <a:pt x="841" y="656"/>
                  </a:moveTo>
                  <a:cubicBezTo>
                    <a:pt x="841" y="654"/>
                    <a:pt x="840" y="653"/>
                    <a:pt x="838" y="653"/>
                  </a:cubicBezTo>
                  <a:cubicBezTo>
                    <a:pt x="838" y="655"/>
                    <a:pt x="839" y="656"/>
                    <a:pt x="841" y="656"/>
                  </a:cubicBezTo>
                  <a:close/>
                  <a:moveTo>
                    <a:pt x="805" y="659"/>
                  </a:moveTo>
                  <a:cubicBezTo>
                    <a:pt x="807" y="658"/>
                    <a:pt x="809" y="657"/>
                    <a:pt x="809" y="654"/>
                  </a:cubicBezTo>
                  <a:cubicBezTo>
                    <a:pt x="806" y="654"/>
                    <a:pt x="804" y="654"/>
                    <a:pt x="801" y="654"/>
                  </a:cubicBezTo>
                  <a:cubicBezTo>
                    <a:pt x="801" y="657"/>
                    <a:pt x="804" y="657"/>
                    <a:pt x="805" y="659"/>
                  </a:cubicBezTo>
                  <a:close/>
                  <a:moveTo>
                    <a:pt x="807" y="663"/>
                  </a:moveTo>
                  <a:cubicBezTo>
                    <a:pt x="805" y="665"/>
                    <a:pt x="803" y="668"/>
                    <a:pt x="802" y="672"/>
                  </a:cubicBezTo>
                  <a:cubicBezTo>
                    <a:pt x="805" y="673"/>
                    <a:pt x="811" y="672"/>
                    <a:pt x="815" y="673"/>
                  </a:cubicBezTo>
                  <a:cubicBezTo>
                    <a:pt x="816" y="673"/>
                    <a:pt x="814" y="671"/>
                    <a:pt x="816" y="671"/>
                  </a:cubicBezTo>
                  <a:cubicBezTo>
                    <a:pt x="819" y="671"/>
                    <a:pt x="818" y="674"/>
                    <a:pt x="821" y="673"/>
                  </a:cubicBezTo>
                  <a:cubicBezTo>
                    <a:pt x="823" y="667"/>
                    <a:pt x="828" y="664"/>
                    <a:pt x="829" y="657"/>
                  </a:cubicBezTo>
                  <a:cubicBezTo>
                    <a:pt x="822" y="652"/>
                    <a:pt x="809" y="653"/>
                    <a:pt x="808" y="662"/>
                  </a:cubicBezTo>
                  <a:cubicBezTo>
                    <a:pt x="810" y="666"/>
                    <a:pt x="815" y="666"/>
                    <a:pt x="816" y="671"/>
                  </a:cubicBezTo>
                  <a:cubicBezTo>
                    <a:pt x="812" y="669"/>
                    <a:pt x="809" y="667"/>
                    <a:pt x="807" y="663"/>
                  </a:cubicBezTo>
                  <a:close/>
                  <a:moveTo>
                    <a:pt x="863" y="661"/>
                  </a:moveTo>
                  <a:cubicBezTo>
                    <a:pt x="863" y="659"/>
                    <a:pt x="865" y="655"/>
                    <a:pt x="862" y="655"/>
                  </a:cubicBezTo>
                  <a:cubicBezTo>
                    <a:pt x="861" y="656"/>
                    <a:pt x="861" y="660"/>
                    <a:pt x="863" y="661"/>
                  </a:cubicBezTo>
                  <a:close/>
                  <a:moveTo>
                    <a:pt x="833" y="661"/>
                  </a:moveTo>
                  <a:cubicBezTo>
                    <a:pt x="836" y="661"/>
                    <a:pt x="837" y="660"/>
                    <a:pt x="837" y="658"/>
                  </a:cubicBezTo>
                  <a:cubicBezTo>
                    <a:pt x="836" y="657"/>
                    <a:pt x="836" y="655"/>
                    <a:pt x="833" y="655"/>
                  </a:cubicBezTo>
                  <a:cubicBezTo>
                    <a:pt x="832" y="656"/>
                    <a:pt x="832" y="660"/>
                    <a:pt x="833" y="661"/>
                  </a:cubicBezTo>
                  <a:close/>
                  <a:moveTo>
                    <a:pt x="803" y="663"/>
                  </a:moveTo>
                  <a:cubicBezTo>
                    <a:pt x="805" y="661"/>
                    <a:pt x="802" y="658"/>
                    <a:pt x="799" y="657"/>
                  </a:cubicBezTo>
                  <a:cubicBezTo>
                    <a:pt x="798" y="660"/>
                    <a:pt x="801" y="663"/>
                    <a:pt x="803" y="663"/>
                  </a:cubicBezTo>
                  <a:close/>
                  <a:moveTo>
                    <a:pt x="802" y="709"/>
                  </a:moveTo>
                  <a:cubicBezTo>
                    <a:pt x="823" y="709"/>
                    <a:pt x="842" y="708"/>
                    <a:pt x="862" y="708"/>
                  </a:cubicBezTo>
                  <a:cubicBezTo>
                    <a:pt x="852" y="691"/>
                    <a:pt x="841" y="676"/>
                    <a:pt x="830" y="661"/>
                  </a:cubicBezTo>
                  <a:cubicBezTo>
                    <a:pt x="821" y="678"/>
                    <a:pt x="810" y="692"/>
                    <a:pt x="802" y="709"/>
                  </a:cubicBezTo>
                  <a:close/>
                  <a:moveTo>
                    <a:pt x="837" y="665"/>
                  </a:moveTo>
                  <a:cubicBezTo>
                    <a:pt x="840" y="672"/>
                    <a:pt x="845" y="677"/>
                    <a:pt x="849" y="683"/>
                  </a:cubicBezTo>
                  <a:cubicBezTo>
                    <a:pt x="850" y="682"/>
                    <a:pt x="851" y="680"/>
                    <a:pt x="851" y="677"/>
                  </a:cubicBezTo>
                  <a:cubicBezTo>
                    <a:pt x="846" y="673"/>
                    <a:pt x="845" y="662"/>
                    <a:pt x="837" y="665"/>
                  </a:cubicBezTo>
                  <a:close/>
                  <a:moveTo>
                    <a:pt x="850" y="672"/>
                  </a:moveTo>
                  <a:cubicBezTo>
                    <a:pt x="853" y="671"/>
                    <a:pt x="854" y="670"/>
                    <a:pt x="855" y="667"/>
                  </a:cubicBezTo>
                  <a:cubicBezTo>
                    <a:pt x="852" y="667"/>
                    <a:pt x="851" y="665"/>
                    <a:pt x="847" y="666"/>
                  </a:cubicBezTo>
                  <a:cubicBezTo>
                    <a:pt x="847" y="669"/>
                    <a:pt x="850" y="669"/>
                    <a:pt x="850" y="672"/>
                  </a:cubicBezTo>
                  <a:close/>
                  <a:moveTo>
                    <a:pt x="798" y="668"/>
                  </a:moveTo>
                  <a:cubicBezTo>
                    <a:pt x="798" y="669"/>
                    <a:pt x="798" y="671"/>
                    <a:pt x="800" y="670"/>
                  </a:cubicBezTo>
                  <a:cubicBezTo>
                    <a:pt x="800" y="669"/>
                    <a:pt x="801" y="669"/>
                    <a:pt x="801" y="667"/>
                  </a:cubicBezTo>
                  <a:cubicBezTo>
                    <a:pt x="799" y="667"/>
                    <a:pt x="798" y="667"/>
                    <a:pt x="798" y="668"/>
                  </a:cubicBezTo>
                  <a:close/>
                  <a:moveTo>
                    <a:pt x="792" y="671"/>
                  </a:moveTo>
                  <a:cubicBezTo>
                    <a:pt x="794" y="672"/>
                    <a:pt x="794" y="668"/>
                    <a:pt x="792" y="668"/>
                  </a:cubicBezTo>
                  <a:cubicBezTo>
                    <a:pt x="792" y="669"/>
                    <a:pt x="790" y="670"/>
                    <a:pt x="792" y="671"/>
                  </a:cubicBezTo>
                  <a:close/>
                  <a:moveTo>
                    <a:pt x="780" y="687"/>
                  </a:moveTo>
                  <a:cubicBezTo>
                    <a:pt x="781" y="688"/>
                    <a:pt x="783" y="688"/>
                    <a:pt x="783" y="689"/>
                  </a:cubicBezTo>
                  <a:cubicBezTo>
                    <a:pt x="778" y="691"/>
                    <a:pt x="777" y="696"/>
                    <a:pt x="777" y="702"/>
                  </a:cubicBezTo>
                  <a:cubicBezTo>
                    <a:pt x="782" y="697"/>
                    <a:pt x="784" y="689"/>
                    <a:pt x="788" y="684"/>
                  </a:cubicBezTo>
                  <a:cubicBezTo>
                    <a:pt x="786" y="679"/>
                    <a:pt x="789" y="673"/>
                    <a:pt x="786" y="669"/>
                  </a:cubicBezTo>
                  <a:cubicBezTo>
                    <a:pt x="784" y="676"/>
                    <a:pt x="783" y="681"/>
                    <a:pt x="780" y="687"/>
                  </a:cubicBezTo>
                  <a:close/>
                  <a:moveTo>
                    <a:pt x="855" y="676"/>
                  </a:moveTo>
                  <a:cubicBezTo>
                    <a:pt x="857" y="678"/>
                    <a:pt x="856" y="683"/>
                    <a:pt x="859" y="683"/>
                  </a:cubicBezTo>
                  <a:cubicBezTo>
                    <a:pt x="859" y="682"/>
                    <a:pt x="860" y="675"/>
                    <a:pt x="858" y="674"/>
                  </a:cubicBezTo>
                  <a:cubicBezTo>
                    <a:pt x="857" y="675"/>
                    <a:pt x="855" y="675"/>
                    <a:pt x="855" y="676"/>
                  </a:cubicBezTo>
                  <a:close/>
                  <a:moveTo>
                    <a:pt x="870" y="689"/>
                  </a:moveTo>
                  <a:cubicBezTo>
                    <a:pt x="869" y="684"/>
                    <a:pt x="873" y="677"/>
                    <a:pt x="869" y="674"/>
                  </a:cubicBezTo>
                  <a:cubicBezTo>
                    <a:pt x="868" y="677"/>
                    <a:pt x="866" y="686"/>
                    <a:pt x="870" y="689"/>
                  </a:cubicBezTo>
                  <a:close/>
                  <a:moveTo>
                    <a:pt x="807" y="695"/>
                  </a:moveTo>
                  <a:cubicBezTo>
                    <a:pt x="810" y="687"/>
                    <a:pt x="815" y="684"/>
                    <a:pt x="818" y="676"/>
                  </a:cubicBezTo>
                  <a:cubicBezTo>
                    <a:pt x="810" y="676"/>
                    <a:pt x="804" y="677"/>
                    <a:pt x="799" y="676"/>
                  </a:cubicBezTo>
                  <a:cubicBezTo>
                    <a:pt x="800" y="682"/>
                    <a:pt x="803" y="690"/>
                    <a:pt x="807" y="695"/>
                  </a:cubicBezTo>
                  <a:close/>
                  <a:moveTo>
                    <a:pt x="852" y="683"/>
                  </a:moveTo>
                  <a:cubicBezTo>
                    <a:pt x="853" y="684"/>
                    <a:pt x="853" y="686"/>
                    <a:pt x="855" y="685"/>
                  </a:cubicBezTo>
                  <a:cubicBezTo>
                    <a:pt x="855" y="684"/>
                    <a:pt x="855" y="683"/>
                    <a:pt x="855" y="682"/>
                  </a:cubicBezTo>
                  <a:cubicBezTo>
                    <a:pt x="854" y="682"/>
                    <a:pt x="852" y="682"/>
                    <a:pt x="852" y="683"/>
                  </a:cubicBezTo>
                  <a:close/>
                  <a:moveTo>
                    <a:pt x="796" y="696"/>
                  </a:moveTo>
                  <a:cubicBezTo>
                    <a:pt x="799" y="696"/>
                    <a:pt x="802" y="697"/>
                    <a:pt x="803" y="696"/>
                  </a:cubicBezTo>
                  <a:cubicBezTo>
                    <a:pt x="802" y="691"/>
                    <a:pt x="798" y="691"/>
                    <a:pt x="800" y="685"/>
                  </a:cubicBezTo>
                  <a:cubicBezTo>
                    <a:pt x="798" y="685"/>
                    <a:pt x="799" y="682"/>
                    <a:pt x="797" y="683"/>
                  </a:cubicBezTo>
                  <a:cubicBezTo>
                    <a:pt x="799" y="689"/>
                    <a:pt x="796" y="690"/>
                    <a:pt x="796" y="696"/>
                  </a:cubicBezTo>
                  <a:close/>
                  <a:moveTo>
                    <a:pt x="868" y="694"/>
                  </a:moveTo>
                  <a:cubicBezTo>
                    <a:pt x="871" y="695"/>
                    <a:pt x="872" y="693"/>
                    <a:pt x="874" y="694"/>
                  </a:cubicBezTo>
                  <a:cubicBezTo>
                    <a:pt x="874" y="690"/>
                    <a:pt x="874" y="685"/>
                    <a:pt x="871" y="684"/>
                  </a:cubicBezTo>
                  <a:cubicBezTo>
                    <a:pt x="872" y="690"/>
                    <a:pt x="868" y="690"/>
                    <a:pt x="868" y="694"/>
                  </a:cubicBezTo>
                  <a:close/>
                  <a:moveTo>
                    <a:pt x="853" y="687"/>
                  </a:moveTo>
                  <a:cubicBezTo>
                    <a:pt x="855" y="693"/>
                    <a:pt x="858" y="698"/>
                    <a:pt x="862" y="702"/>
                  </a:cubicBezTo>
                  <a:cubicBezTo>
                    <a:pt x="862" y="695"/>
                    <a:pt x="861" y="685"/>
                    <a:pt x="853" y="687"/>
                  </a:cubicBezTo>
                  <a:close/>
                  <a:moveTo>
                    <a:pt x="775" y="711"/>
                  </a:moveTo>
                  <a:cubicBezTo>
                    <a:pt x="779" y="710"/>
                    <a:pt x="785" y="711"/>
                    <a:pt x="789" y="709"/>
                  </a:cubicBezTo>
                  <a:cubicBezTo>
                    <a:pt x="788" y="703"/>
                    <a:pt x="790" y="694"/>
                    <a:pt x="786" y="691"/>
                  </a:cubicBezTo>
                  <a:cubicBezTo>
                    <a:pt x="785" y="700"/>
                    <a:pt x="778" y="703"/>
                    <a:pt x="775" y="711"/>
                  </a:cubicBezTo>
                  <a:close/>
                  <a:moveTo>
                    <a:pt x="878" y="711"/>
                  </a:moveTo>
                  <a:cubicBezTo>
                    <a:pt x="878" y="706"/>
                    <a:pt x="877" y="702"/>
                    <a:pt x="876" y="697"/>
                  </a:cubicBezTo>
                  <a:cubicBezTo>
                    <a:pt x="874" y="696"/>
                    <a:pt x="871" y="696"/>
                    <a:pt x="868" y="696"/>
                  </a:cubicBezTo>
                  <a:cubicBezTo>
                    <a:pt x="871" y="702"/>
                    <a:pt x="875" y="706"/>
                    <a:pt x="878" y="711"/>
                  </a:cubicBezTo>
                  <a:close/>
                  <a:moveTo>
                    <a:pt x="795" y="709"/>
                  </a:moveTo>
                  <a:cubicBezTo>
                    <a:pt x="801" y="709"/>
                    <a:pt x="800" y="703"/>
                    <a:pt x="803" y="700"/>
                  </a:cubicBezTo>
                  <a:cubicBezTo>
                    <a:pt x="802" y="699"/>
                    <a:pt x="799" y="700"/>
                    <a:pt x="797" y="699"/>
                  </a:cubicBezTo>
                  <a:cubicBezTo>
                    <a:pt x="795" y="701"/>
                    <a:pt x="795" y="705"/>
                    <a:pt x="795" y="709"/>
                  </a:cubicBezTo>
                  <a:close/>
                  <a:moveTo>
                    <a:pt x="868" y="709"/>
                  </a:moveTo>
                  <a:cubicBezTo>
                    <a:pt x="871" y="709"/>
                    <a:pt x="875" y="715"/>
                    <a:pt x="878" y="712"/>
                  </a:cubicBezTo>
                  <a:cubicBezTo>
                    <a:pt x="873" y="710"/>
                    <a:pt x="871" y="706"/>
                    <a:pt x="870" y="702"/>
                  </a:cubicBezTo>
                  <a:cubicBezTo>
                    <a:pt x="869" y="702"/>
                    <a:pt x="868" y="702"/>
                    <a:pt x="868" y="702"/>
                  </a:cubicBezTo>
                  <a:cubicBezTo>
                    <a:pt x="868" y="704"/>
                    <a:pt x="868" y="706"/>
                    <a:pt x="868" y="709"/>
                  </a:cubicBezTo>
                  <a:close/>
                  <a:moveTo>
                    <a:pt x="822" y="713"/>
                  </a:moveTo>
                  <a:cubicBezTo>
                    <a:pt x="822" y="716"/>
                    <a:pt x="825" y="716"/>
                    <a:pt x="826" y="717"/>
                  </a:cubicBezTo>
                  <a:cubicBezTo>
                    <a:pt x="835" y="715"/>
                    <a:pt x="856" y="722"/>
                    <a:pt x="860" y="713"/>
                  </a:cubicBezTo>
                  <a:cubicBezTo>
                    <a:pt x="849" y="713"/>
                    <a:pt x="833" y="711"/>
                    <a:pt x="822" y="713"/>
                  </a:cubicBezTo>
                  <a:close/>
                  <a:moveTo>
                    <a:pt x="815" y="717"/>
                  </a:moveTo>
                  <a:cubicBezTo>
                    <a:pt x="817" y="718"/>
                    <a:pt x="820" y="718"/>
                    <a:pt x="822" y="717"/>
                  </a:cubicBezTo>
                  <a:cubicBezTo>
                    <a:pt x="822" y="715"/>
                    <a:pt x="820" y="714"/>
                    <a:pt x="818" y="713"/>
                  </a:cubicBezTo>
                  <a:cubicBezTo>
                    <a:pt x="817" y="715"/>
                    <a:pt x="815" y="715"/>
                    <a:pt x="815" y="717"/>
                  </a:cubicBezTo>
                  <a:close/>
                  <a:moveTo>
                    <a:pt x="797" y="715"/>
                  </a:moveTo>
                  <a:cubicBezTo>
                    <a:pt x="797" y="715"/>
                    <a:pt x="797" y="716"/>
                    <a:pt x="797" y="717"/>
                  </a:cubicBezTo>
                  <a:cubicBezTo>
                    <a:pt x="802" y="718"/>
                    <a:pt x="813" y="719"/>
                    <a:pt x="814" y="714"/>
                  </a:cubicBezTo>
                  <a:cubicBezTo>
                    <a:pt x="808" y="714"/>
                    <a:pt x="801" y="713"/>
                    <a:pt x="797" y="715"/>
                  </a:cubicBezTo>
                  <a:close/>
                  <a:moveTo>
                    <a:pt x="773" y="717"/>
                  </a:moveTo>
                  <a:cubicBezTo>
                    <a:pt x="773" y="721"/>
                    <a:pt x="771" y="726"/>
                    <a:pt x="773" y="730"/>
                  </a:cubicBezTo>
                  <a:cubicBezTo>
                    <a:pt x="778" y="729"/>
                    <a:pt x="776" y="721"/>
                    <a:pt x="779" y="717"/>
                  </a:cubicBezTo>
                  <a:cubicBezTo>
                    <a:pt x="777" y="716"/>
                    <a:pt x="776" y="717"/>
                    <a:pt x="773" y="717"/>
                  </a:cubicBezTo>
                  <a:close/>
                  <a:moveTo>
                    <a:pt x="784" y="730"/>
                  </a:moveTo>
                  <a:cubicBezTo>
                    <a:pt x="785" y="730"/>
                    <a:pt x="786" y="730"/>
                    <a:pt x="787" y="730"/>
                  </a:cubicBezTo>
                  <a:cubicBezTo>
                    <a:pt x="789" y="728"/>
                    <a:pt x="789" y="725"/>
                    <a:pt x="790" y="722"/>
                  </a:cubicBezTo>
                  <a:cubicBezTo>
                    <a:pt x="787" y="722"/>
                    <a:pt x="787" y="720"/>
                    <a:pt x="783" y="720"/>
                  </a:cubicBezTo>
                  <a:cubicBezTo>
                    <a:pt x="783" y="721"/>
                    <a:pt x="783" y="728"/>
                    <a:pt x="784" y="730"/>
                  </a:cubicBezTo>
                  <a:close/>
                  <a:moveTo>
                    <a:pt x="858" y="729"/>
                  </a:moveTo>
                  <a:cubicBezTo>
                    <a:pt x="855" y="730"/>
                    <a:pt x="853" y="733"/>
                    <a:pt x="853" y="737"/>
                  </a:cubicBezTo>
                  <a:cubicBezTo>
                    <a:pt x="855" y="736"/>
                    <a:pt x="857" y="738"/>
                    <a:pt x="859" y="738"/>
                  </a:cubicBezTo>
                  <a:cubicBezTo>
                    <a:pt x="861" y="737"/>
                    <a:pt x="858" y="734"/>
                    <a:pt x="859" y="734"/>
                  </a:cubicBezTo>
                  <a:cubicBezTo>
                    <a:pt x="863" y="734"/>
                    <a:pt x="863" y="737"/>
                    <a:pt x="866" y="738"/>
                  </a:cubicBezTo>
                  <a:cubicBezTo>
                    <a:pt x="865" y="732"/>
                    <a:pt x="865" y="725"/>
                    <a:pt x="863" y="720"/>
                  </a:cubicBezTo>
                  <a:cubicBezTo>
                    <a:pt x="859" y="721"/>
                    <a:pt x="857" y="724"/>
                    <a:pt x="858" y="729"/>
                  </a:cubicBezTo>
                  <a:close/>
                  <a:moveTo>
                    <a:pt x="873" y="729"/>
                  </a:moveTo>
                  <a:cubicBezTo>
                    <a:pt x="874" y="727"/>
                    <a:pt x="874" y="721"/>
                    <a:pt x="872" y="720"/>
                  </a:cubicBezTo>
                  <a:cubicBezTo>
                    <a:pt x="871" y="722"/>
                    <a:pt x="870" y="729"/>
                    <a:pt x="873" y="729"/>
                  </a:cubicBezTo>
                  <a:close/>
                  <a:moveTo>
                    <a:pt x="881" y="724"/>
                  </a:moveTo>
                  <a:cubicBezTo>
                    <a:pt x="881" y="722"/>
                    <a:pt x="881" y="721"/>
                    <a:pt x="881" y="720"/>
                  </a:cubicBezTo>
                  <a:cubicBezTo>
                    <a:pt x="880" y="720"/>
                    <a:pt x="879" y="720"/>
                    <a:pt x="878" y="720"/>
                  </a:cubicBezTo>
                  <a:cubicBezTo>
                    <a:pt x="878" y="722"/>
                    <a:pt x="878" y="724"/>
                    <a:pt x="881" y="724"/>
                  </a:cubicBezTo>
                  <a:close/>
                  <a:moveTo>
                    <a:pt x="840" y="722"/>
                  </a:moveTo>
                  <a:cubicBezTo>
                    <a:pt x="843" y="728"/>
                    <a:pt x="847" y="726"/>
                    <a:pt x="853" y="728"/>
                  </a:cubicBezTo>
                  <a:cubicBezTo>
                    <a:pt x="854" y="726"/>
                    <a:pt x="857" y="725"/>
                    <a:pt x="857" y="722"/>
                  </a:cubicBezTo>
                  <a:cubicBezTo>
                    <a:pt x="852" y="720"/>
                    <a:pt x="846" y="722"/>
                    <a:pt x="840" y="722"/>
                  </a:cubicBezTo>
                  <a:close/>
                  <a:moveTo>
                    <a:pt x="811" y="722"/>
                  </a:moveTo>
                  <a:cubicBezTo>
                    <a:pt x="808" y="728"/>
                    <a:pt x="803" y="730"/>
                    <a:pt x="801" y="737"/>
                  </a:cubicBezTo>
                  <a:cubicBezTo>
                    <a:pt x="807" y="737"/>
                    <a:pt x="818" y="741"/>
                    <a:pt x="823" y="738"/>
                  </a:cubicBezTo>
                  <a:cubicBezTo>
                    <a:pt x="826" y="737"/>
                    <a:pt x="829" y="730"/>
                    <a:pt x="829" y="728"/>
                  </a:cubicBezTo>
                  <a:cubicBezTo>
                    <a:pt x="829" y="725"/>
                    <a:pt x="827" y="724"/>
                    <a:pt x="825" y="722"/>
                  </a:cubicBezTo>
                  <a:cubicBezTo>
                    <a:pt x="821" y="722"/>
                    <a:pt x="817" y="722"/>
                    <a:pt x="811" y="722"/>
                  </a:cubicBezTo>
                  <a:close/>
                  <a:moveTo>
                    <a:pt x="829" y="722"/>
                  </a:moveTo>
                  <a:cubicBezTo>
                    <a:pt x="829" y="725"/>
                    <a:pt x="831" y="724"/>
                    <a:pt x="833" y="724"/>
                  </a:cubicBezTo>
                  <a:cubicBezTo>
                    <a:pt x="835" y="721"/>
                    <a:pt x="830" y="721"/>
                    <a:pt x="829" y="722"/>
                  </a:cubicBezTo>
                  <a:close/>
                  <a:moveTo>
                    <a:pt x="795" y="723"/>
                  </a:moveTo>
                  <a:cubicBezTo>
                    <a:pt x="793" y="727"/>
                    <a:pt x="797" y="729"/>
                    <a:pt x="800" y="730"/>
                  </a:cubicBezTo>
                  <a:cubicBezTo>
                    <a:pt x="803" y="729"/>
                    <a:pt x="807" y="725"/>
                    <a:pt x="807" y="722"/>
                  </a:cubicBezTo>
                  <a:cubicBezTo>
                    <a:pt x="803" y="722"/>
                    <a:pt x="800" y="723"/>
                    <a:pt x="795" y="723"/>
                  </a:cubicBezTo>
                  <a:close/>
                  <a:moveTo>
                    <a:pt x="833" y="727"/>
                  </a:moveTo>
                  <a:cubicBezTo>
                    <a:pt x="835" y="729"/>
                    <a:pt x="837" y="728"/>
                    <a:pt x="840" y="727"/>
                  </a:cubicBezTo>
                  <a:cubicBezTo>
                    <a:pt x="839" y="723"/>
                    <a:pt x="834" y="723"/>
                    <a:pt x="833" y="727"/>
                  </a:cubicBezTo>
                  <a:close/>
                  <a:moveTo>
                    <a:pt x="882" y="732"/>
                  </a:moveTo>
                  <a:cubicBezTo>
                    <a:pt x="883" y="738"/>
                    <a:pt x="882" y="725"/>
                    <a:pt x="880" y="724"/>
                  </a:cubicBezTo>
                  <a:cubicBezTo>
                    <a:pt x="879" y="728"/>
                    <a:pt x="881" y="729"/>
                    <a:pt x="882" y="732"/>
                  </a:cubicBezTo>
                  <a:close/>
                  <a:moveTo>
                    <a:pt x="852" y="730"/>
                  </a:moveTo>
                  <a:cubicBezTo>
                    <a:pt x="851" y="729"/>
                    <a:pt x="849" y="729"/>
                    <a:pt x="848" y="728"/>
                  </a:cubicBezTo>
                  <a:cubicBezTo>
                    <a:pt x="846" y="732"/>
                    <a:pt x="852" y="734"/>
                    <a:pt x="852" y="730"/>
                  </a:cubicBezTo>
                  <a:close/>
                  <a:moveTo>
                    <a:pt x="836" y="730"/>
                  </a:moveTo>
                  <a:cubicBezTo>
                    <a:pt x="838" y="736"/>
                    <a:pt x="841" y="740"/>
                    <a:pt x="846" y="743"/>
                  </a:cubicBezTo>
                  <a:cubicBezTo>
                    <a:pt x="847" y="741"/>
                    <a:pt x="848" y="740"/>
                    <a:pt x="848" y="737"/>
                  </a:cubicBezTo>
                  <a:cubicBezTo>
                    <a:pt x="845" y="733"/>
                    <a:pt x="843" y="728"/>
                    <a:pt x="836" y="730"/>
                  </a:cubicBezTo>
                  <a:close/>
                  <a:moveTo>
                    <a:pt x="786" y="737"/>
                  </a:moveTo>
                  <a:cubicBezTo>
                    <a:pt x="788" y="736"/>
                    <a:pt x="786" y="732"/>
                    <a:pt x="786" y="731"/>
                  </a:cubicBezTo>
                  <a:cubicBezTo>
                    <a:pt x="786" y="731"/>
                    <a:pt x="785" y="731"/>
                    <a:pt x="784" y="731"/>
                  </a:cubicBezTo>
                  <a:cubicBezTo>
                    <a:pt x="783" y="733"/>
                    <a:pt x="784" y="736"/>
                    <a:pt x="786" y="737"/>
                  </a:cubicBezTo>
                  <a:close/>
                  <a:moveTo>
                    <a:pt x="793" y="739"/>
                  </a:moveTo>
                  <a:cubicBezTo>
                    <a:pt x="796" y="738"/>
                    <a:pt x="798" y="737"/>
                    <a:pt x="798" y="733"/>
                  </a:cubicBezTo>
                  <a:cubicBezTo>
                    <a:pt x="797" y="732"/>
                    <a:pt x="796" y="731"/>
                    <a:pt x="794" y="731"/>
                  </a:cubicBezTo>
                  <a:cubicBezTo>
                    <a:pt x="792" y="733"/>
                    <a:pt x="793" y="737"/>
                    <a:pt x="793" y="739"/>
                  </a:cubicBezTo>
                  <a:close/>
                  <a:moveTo>
                    <a:pt x="870" y="782"/>
                  </a:moveTo>
                  <a:cubicBezTo>
                    <a:pt x="870" y="781"/>
                    <a:pt x="870" y="780"/>
                    <a:pt x="869" y="780"/>
                  </a:cubicBezTo>
                  <a:cubicBezTo>
                    <a:pt x="862" y="770"/>
                    <a:pt x="854" y="760"/>
                    <a:pt x="846" y="750"/>
                  </a:cubicBezTo>
                  <a:cubicBezTo>
                    <a:pt x="841" y="744"/>
                    <a:pt x="838" y="736"/>
                    <a:pt x="831" y="731"/>
                  </a:cubicBezTo>
                  <a:cubicBezTo>
                    <a:pt x="818" y="749"/>
                    <a:pt x="804" y="769"/>
                    <a:pt x="794" y="787"/>
                  </a:cubicBezTo>
                  <a:cubicBezTo>
                    <a:pt x="818" y="786"/>
                    <a:pt x="847" y="787"/>
                    <a:pt x="873" y="786"/>
                  </a:cubicBezTo>
                  <a:cubicBezTo>
                    <a:pt x="871" y="780"/>
                    <a:pt x="873" y="774"/>
                    <a:pt x="870" y="766"/>
                  </a:cubicBezTo>
                  <a:cubicBezTo>
                    <a:pt x="869" y="766"/>
                    <a:pt x="867" y="768"/>
                    <a:pt x="866" y="766"/>
                  </a:cubicBezTo>
                  <a:cubicBezTo>
                    <a:pt x="867" y="764"/>
                    <a:pt x="870" y="767"/>
                    <a:pt x="870" y="764"/>
                  </a:cubicBezTo>
                  <a:cubicBezTo>
                    <a:pt x="863" y="759"/>
                    <a:pt x="862" y="745"/>
                    <a:pt x="848" y="748"/>
                  </a:cubicBezTo>
                  <a:cubicBezTo>
                    <a:pt x="853" y="754"/>
                    <a:pt x="857" y="762"/>
                    <a:pt x="864" y="766"/>
                  </a:cubicBezTo>
                  <a:cubicBezTo>
                    <a:pt x="862" y="772"/>
                    <a:pt x="874" y="776"/>
                    <a:pt x="870" y="782"/>
                  </a:cubicBezTo>
                  <a:close/>
                  <a:moveTo>
                    <a:pt x="769" y="741"/>
                  </a:moveTo>
                  <a:cubicBezTo>
                    <a:pt x="772" y="739"/>
                    <a:pt x="774" y="738"/>
                    <a:pt x="774" y="734"/>
                  </a:cubicBezTo>
                  <a:cubicBezTo>
                    <a:pt x="774" y="733"/>
                    <a:pt x="773" y="733"/>
                    <a:pt x="773" y="732"/>
                  </a:cubicBezTo>
                  <a:cubicBezTo>
                    <a:pt x="772" y="736"/>
                    <a:pt x="769" y="737"/>
                    <a:pt x="769" y="741"/>
                  </a:cubicBezTo>
                  <a:close/>
                  <a:moveTo>
                    <a:pt x="773" y="748"/>
                  </a:moveTo>
                  <a:cubicBezTo>
                    <a:pt x="776" y="747"/>
                    <a:pt x="779" y="748"/>
                    <a:pt x="780" y="747"/>
                  </a:cubicBezTo>
                  <a:cubicBezTo>
                    <a:pt x="779" y="742"/>
                    <a:pt x="782" y="735"/>
                    <a:pt x="779" y="732"/>
                  </a:cubicBezTo>
                  <a:cubicBezTo>
                    <a:pt x="777" y="738"/>
                    <a:pt x="775" y="742"/>
                    <a:pt x="773" y="748"/>
                  </a:cubicBezTo>
                  <a:close/>
                  <a:moveTo>
                    <a:pt x="1189" y="741"/>
                  </a:moveTo>
                  <a:cubicBezTo>
                    <a:pt x="1189" y="740"/>
                    <a:pt x="1190" y="733"/>
                    <a:pt x="1187" y="732"/>
                  </a:cubicBezTo>
                  <a:cubicBezTo>
                    <a:pt x="1187" y="734"/>
                    <a:pt x="1185" y="741"/>
                    <a:pt x="1189" y="741"/>
                  </a:cubicBezTo>
                  <a:close/>
                  <a:moveTo>
                    <a:pt x="878" y="752"/>
                  </a:moveTo>
                  <a:cubicBezTo>
                    <a:pt x="880" y="752"/>
                    <a:pt x="881" y="752"/>
                    <a:pt x="883" y="752"/>
                  </a:cubicBezTo>
                  <a:cubicBezTo>
                    <a:pt x="880" y="745"/>
                    <a:pt x="880" y="738"/>
                    <a:pt x="878" y="733"/>
                  </a:cubicBezTo>
                  <a:cubicBezTo>
                    <a:pt x="877" y="739"/>
                    <a:pt x="878" y="745"/>
                    <a:pt x="878" y="752"/>
                  </a:cubicBezTo>
                  <a:close/>
                  <a:moveTo>
                    <a:pt x="855" y="741"/>
                  </a:moveTo>
                  <a:cubicBezTo>
                    <a:pt x="858" y="741"/>
                    <a:pt x="856" y="746"/>
                    <a:pt x="860" y="745"/>
                  </a:cubicBezTo>
                  <a:cubicBezTo>
                    <a:pt x="860" y="744"/>
                    <a:pt x="860" y="742"/>
                    <a:pt x="861" y="742"/>
                  </a:cubicBezTo>
                  <a:cubicBezTo>
                    <a:pt x="861" y="744"/>
                    <a:pt x="865" y="745"/>
                    <a:pt x="867" y="744"/>
                  </a:cubicBezTo>
                  <a:cubicBezTo>
                    <a:pt x="867" y="742"/>
                    <a:pt x="866" y="743"/>
                    <a:pt x="866" y="741"/>
                  </a:cubicBezTo>
                  <a:cubicBezTo>
                    <a:pt x="861" y="739"/>
                    <a:pt x="858" y="739"/>
                    <a:pt x="855" y="741"/>
                  </a:cubicBezTo>
                  <a:close/>
                  <a:moveTo>
                    <a:pt x="800" y="741"/>
                  </a:moveTo>
                  <a:cubicBezTo>
                    <a:pt x="800" y="744"/>
                    <a:pt x="799" y="745"/>
                    <a:pt x="797" y="745"/>
                  </a:cubicBezTo>
                  <a:cubicBezTo>
                    <a:pt x="798" y="744"/>
                    <a:pt x="799" y="743"/>
                    <a:pt x="799" y="741"/>
                  </a:cubicBezTo>
                  <a:cubicBezTo>
                    <a:pt x="794" y="743"/>
                    <a:pt x="789" y="749"/>
                    <a:pt x="792" y="756"/>
                  </a:cubicBezTo>
                  <a:cubicBezTo>
                    <a:pt x="798" y="755"/>
                    <a:pt x="807" y="755"/>
                    <a:pt x="813" y="754"/>
                  </a:cubicBezTo>
                  <a:cubicBezTo>
                    <a:pt x="814" y="748"/>
                    <a:pt x="820" y="747"/>
                    <a:pt x="820" y="740"/>
                  </a:cubicBezTo>
                  <a:cubicBezTo>
                    <a:pt x="815" y="739"/>
                    <a:pt x="809" y="742"/>
                    <a:pt x="805" y="739"/>
                  </a:cubicBezTo>
                  <a:cubicBezTo>
                    <a:pt x="802" y="745"/>
                    <a:pt x="812" y="750"/>
                    <a:pt x="809" y="754"/>
                  </a:cubicBezTo>
                  <a:cubicBezTo>
                    <a:pt x="805" y="750"/>
                    <a:pt x="805" y="743"/>
                    <a:pt x="800" y="741"/>
                  </a:cubicBezTo>
                  <a:close/>
                  <a:moveTo>
                    <a:pt x="848" y="743"/>
                  </a:moveTo>
                  <a:cubicBezTo>
                    <a:pt x="848" y="744"/>
                    <a:pt x="849" y="744"/>
                    <a:pt x="848" y="745"/>
                  </a:cubicBezTo>
                  <a:cubicBezTo>
                    <a:pt x="850" y="744"/>
                    <a:pt x="851" y="745"/>
                    <a:pt x="854" y="745"/>
                  </a:cubicBezTo>
                  <a:cubicBezTo>
                    <a:pt x="853" y="742"/>
                    <a:pt x="852" y="741"/>
                    <a:pt x="850" y="739"/>
                  </a:cubicBezTo>
                  <a:cubicBezTo>
                    <a:pt x="850" y="742"/>
                    <a:pt x="848" y="741"/>
                    <a:pt x="848" y="743"/>
                  </a:cubicBezTo>
                  <a:close/>
                  <a:moveTo>
                    <a:pt x="873" y="745"/>
                  </a:moveTo>
                  <a:cubicBezTo>
                    <a:pt x="875" y="744"/>
                    <a:pt x="874" y="742"/>
                    <a:pt x="872" y="741"/>
                  </a:cubicBezTo>
                  <a:cubicBezTo>
                    <a:pt x="871" y="742"/>
                    <a:pt x="871" y="745"/>
                    <a:pt x="873" y="745"/>
                  </a:cubicBezTo>
                  <a:close/>
                  <a:moveTo>
                    <a:pt x="1178" y="747"/>
                  </a:moveTo>
                  <a:cubicBezTo>
                    <a:pt x="1180" y="748"/>
                    <a:pt x="1183" y="748"/>
                    <a:pt x="1183" y="745"/>
                  </a:cubicBezTo>
                  <a:cubicBezTo>
                    <a:pt x="1180" y="744"/>
                    <a:pt x="1179" y="746"/>
                    <a:pt x="1178" y="747"/>
                  </a:cubicBezTo>
                  <a:close/>
                  <a:moveTo>
                    <a:pt x="1186" y="745"/>
                  </a:moveTo>
                  <a:cubicBezTo>
                    <a:pt x="1186" y="747"/>
                    <a:pt x="1187" y="748"/>
                    <a:pt x="1188" y="748"/>
                  </a:cubicBezTo>
                  <a:cubicBezTo>
                    <a:pt x="1189" y="747"/>
                    <a:pt x="1191" y="747"/>
                    <a:pt x="1191" y="745"/>
                  </a:cubicBezTo>
                  <a:cubicBezTo>
                    <a:pt x="1189" y="745"/>
                    <a:pt x="1187" y="744"/>
                    <a:pt x="1186" y="745"/>
                  </a:cubicBezTo>
                  <a:close/>
                  <a:moveTo>
                    <a:pt x="861" y="749"/>
                  </a:moveTo>
                  <a:cubicBezTo>
                    <a:pt x="862" y="750"/>
                    <a:pt x="864" y="751"/>
                    <a:pt x="864" y="753"/>
                  </a:cubicBezTo>
                  <a:cubicBezTo>
                    <a:pt x="867" y="752"/>
                    <a:pt x="868" y="754"/>
                    <a:pt x="869" y="753"/>
                  </a:cubicBezTo>
                  <a:cubicBezTo>
                    <a:pt x="869" y="750"/>
                    <a:pt x="866" y="751"/>
                    <a:pt x="867" y="748"/>
                  </a:cubicBezTo>
                  <a:cubicBezTo>
                    <a:pt x="864" y="749"/>
                    <a:pt x="862" y="746"/>
                    <a:pt x="861" y="749"/>
                  </a:cubicBezTo>
                  <a:close/>
                  <a:moveTo>
                    <a:pt x="771" y="759"/>
                  </a:moveTo>
                  <a:cubicBezTo>
                    <a:pt x="768" y="765"/>
                    <a:pt x="763" y="776"/>
                    <a:pt x="764" y="782"/>
                  </a:cubicBezTo>
                  <a:cubicBezTo>
                    <a:pt x="766" y="779"/>
                    <a:pt x="767" y="774"/>
                    <a:pt x="771" y="773"/>
                  </a:cubicBezTo>
                  <a:cubicBezTo>
                    <a:pt x="772" y="764"/>
                    <a:pt x="784" y="762"/>
                    <a:pt x="779" y="750"/>
                  </a:cubicBezTo>
                  <a:cubicBezTo>
                    <a:pt x="774" y="750"/>
                    <a:pt x="770" y="751"/>
                    <a:pt x="771" y="759"/>
                  </a:cubicBezTo>
                  <a:close/>
                  <a:moveTo>
                    <a:pt x="1186" y="759"/>
                  </a:moveTo>
                  <a:cubicBezTo>
                    <a:pt x="1188" y="759"/>
                    <a:pt x="1190" y="759"/>
                    <a:pt x="1191" y="760"/>
                  </a:cubicBezTo>
                  <a:cubicBezTo>
                    <a:pt x="1190" y="757"/>
                    <a:pt x="1192" y="753"/>
                    <a:pt x="1190" y="752"/>
                  </a:cubicBezTo>
                  <a:cubicBezTo>
                    <a:pt x="1192" y="758"/>
                    <a:pt x="1184" y="754"/>
                    <a:pt x="1186" y="759"/>
                  </a:cubicBezTo>
                  <a:close/>
                  <a:moveTo>
                    <a:pt x="878" y="755"/>
                  </a:moveTo>
                  <a:cubicBezTo>
                    <a:pt x="878" y="761"/>
                    <a:pt x="876" y="771"/>
                    <a:pt x="881" y="773"/>
                  </a:cubicBezTo>
                  <a:cubicBezTo>
                    <a:pt x="883" y="772"/>
                    <a:pt x="883" y="768"/>
                    <a:pt x="885" y="767"/>
                  </a:cubicBezTo>
                  <a:cubicBezTo>
                    <a:pt x="885" y="771"/>
                    <a:pt x="883" y="772"/>
                    <a:pt x="883" y="774"/>
                  </a:cubicBezTo>
                  <a:cubicBezTo>
                    <a:pt x="885" y="779"/>
                    <a:pt x="889" y="784"/>
                    <a:pt x="892" y="789"/>
                  </a:cubicBezTo>
                  <a:cubicBezTo>
                    <a:pt x="891" y="776"/>
                    <a:pt x="886" y="765"/>
                    <a:pt x="883" y="754"/>
                  </a:cubicBezTo>
                  <a:cubicBezTo>
                    <a:pt x="881" y="754"/>
                    <a:pt x="880" y="758"/>
                    <a:pt x="878" y="755"/>
                  </a:cubicBezTo>
                  <a:close/>
                  <a:moveTo>
                    <a:pt x="786" y="764"/>
                  </a:moveTo>
                  <a:cubicBezTo>
                    <a:pt x="785" y="762"/>
                    <a:pt x="787" y="757"/>
                    <a:pt x="784" y="758"/>
                  </a:cubicBezTo>
                  <a:cubicBezTo>
                    <a:pt x="783" y="760"/>
                    <a:pt x="783" y="763"/>
                    <a:pt x="786" y="764"/>
                  </a:cubicBezTo>
                  <a:close/>
                  <a:moveTo>
                    <a:pt x="789" y="778"/>
                  </a:moveTo>
                  <a:cubicBezTo>
                    <a:pt x="793" y="777"/>
                    <a:pt x="796" y="777"/>
                    <a:pt x="798" y="776"/>
                  </a:cubicBezTo>
                  <a:cubicBezTo>
                    <a:pt x="802" y="772"/>
                    <a:pt x="807" y="763"/>
                    <a:pt x="808" y="758"/>
                  </a:cubicBezTo>
                  <a:cubicBezTo>
                    <a:pt x="802" y="758"/>
                    <a:pt x="796" y="759"/>
                    <a:pt x="791" y="758"/>
                  </a:cubicBezTo>
                  <a:cubicBezTo>
                    <a:pt x="791" y="764"/>
                    <a:pt x="788" y="771"/>
                    <a:pt x="789" y="778"/>
                  </a:cubicBezTo>
                  <a:close/>
                  <a:moveTo>
                    <a:pt x="1189" y="767"/>
                  </a:moveTo>
                  <a:cubicBezTo>
                    <a:pt x="1190" y="766"/>
                    <a:pt x="1191" y="765"/>
                    <a:pt x="1191" y="763"/>
                  </a:cubicBezTo>
                  <a:cubicBezTo>
                    <a:pt x="1189" y="763"/>
                    <a:pt x="1188" y="764"/>
                    <a:pt x="1187" y="763"/>
                  </a:cubicBezTo>
                  <a:cubicBezTo>
                    <a:pt x="1186" y="765"/>
                    <a:pt x="1187" y="766"/>
                    <a:pt x="1189" y="767"/>
                  </a:cubicBezTo>
                  <a:close/>
                  <a:moveTo>
                    <a:pt x="762" y="789"/>
                  </a:moveTo>
                  <a:cubicBezTo>
                    <a:pt x="768" y="788"/>
                    <a:pt x="776" y="789"/>
                    <a:pt x="781" y="788"/>
                  </a:cubicBezTo>
                  <a:cubicBezTo>
                    <a:pt x="780" y="780"/>
                    <a:pt x="782" y="769"/>
                    <a:pt x="779" y="764"/>
                  </a:cubicBezTo>
                  <a:cubicBezTo>
                    <a:pt x="775" y="773"/>
                    <a:pt x="765" y="781"/>
                    <a:pt x="762" y="789"/>
                  </a:cubicBezTo>
                  <a:close/>
                  <a:moveTo>
                    <a:pt x="1191" y="775"/>
                  </a:moveTo>
                  <a:cubicBezTo>
                    <a:pt x="1191" y="773"/>
                    <a:pt x="1191" y="772"/>
                    <a:pt x="1191" y="771"/>
                  </a:cubicBezTo>
                  <a:cubicBezTo>
                    <a:pt x="1189" y="771"/>
                    <a:pt x="1188" y="771"/>
                    <a:pt x="1187" y="771"/>
                  </a:cubicBezTo>
                  <a:cubicBezTo>
                    <a:pt x="1185" y="773"/>
                    <a:pt x="1187" y="776"/>
                    <a:pt x="1191" y="775"/>
                  </a:cubicBezTo>
                  <a:close/>
                  <a:moveTo>
                    <a:pt x="878" y="786"/>
                  </a:moveTo>
                  <a:cubicBezTo>
                    <a:pt x="883" y="787"/>
                    <a:pt x="886" y="790"/>
                    <a:pt x="891" y="791"/>
                  </a:cubicBezTo>
                  <a:cubicBezTo>
                    <a:pt x="887" y="785"/>
                    <a:pt x="883" y="780"/>
                    <a:pt x="878" y="775"/>
                  </a:cubicBezTo>
                  <a:cubicBezTo>
                    <a:pt x="877" y="778"/>
                    <a:pt x="879" y="782"/>
                    <a:pt x="878" y="786"/>
                  </a:cubicBezTo>
                  <a:close/>
                  <a:moveTo>
                    <a:pt x="1187" y="782"/>
                  </a:moveTo>
                  <a:cubicBezTo>
                    <a:pt x="1191" y="781"/>
                    <a:pt x="1191" y="784"/>
                    <a:pt x="1193" y="785"/>
                  </a:cubicBezTo>
                  <a:cubicBezTo>
                    <a:pt x="1194" y="778"/>
                    <a:pt x="1187" y="779"/>
                    <a:pt x="1185" y="776"/>
                  </a:cubicBezTo>
                  <a:cubicBezTo>
                    <a:pt x="1184" y="779"/>
                    <a:pt x="1187" y="780"/>
                    <a:pt x="1187" y="782"/>
                  </a:cubicBezTo>
                  <a:close/>
                  <a:moveTo>
                    <a:pt x="787" y="788"/>
                  </a:moveTo>
                  <a:cubicBezTo>
                    <a:pt x="792" y="787"/>
                    <a:pt x="794" y="782"/>
                    <a:pt x="794" y="779"/>
                  </a:cubicBezTo>
                  <a:cubicBezTo>
                    <a:pt x="788" y="777"/>
                    <a:pt x="787" y="782"/>
                    <a:pt x="787" y="788"/>
                  </a:cubicBezTo>
                  <a:close/>
                  <a:moveTo>
                    <a:pt x="1186" y="796"/>
                  </a:moveTo>
                  <a:cubicBezTo>
                    <a:pt x="1187" y="795"/>
                    <a:pt x="1187" y="793"/>
                    <a:pt x="1187" y="791"/>
                  </a:cubicBezTo>
                  <a:cubicBezTo>
                    <a:pt x="1188" y="791"/>
                    <a:pt x="1189" y="790"/>
                    <a:pt x="1191" y="791"/>
                  </a:cubicBezTo>
                  <a:cubicBezTo>
                    <a:pt x="1191" y="788"/>
                    <a:pt x="1190" y="786"/>
                    <a:pt x="1188" y="786"/>
                  </a:cubicBezTo>
                  <a:cubicBezTo>
                    <a:pt x="1188" y="788"/>
                    <a:pt x="1180" y="793"/>
                    <a:pt x="1186" y="796"/>
                  </a:cubicBezTo>
                  <a:close/>
                  <a:moveTo>
                    <a:pt x="822" y="790"/>
                  </a:moveTo>
                  <a:cubicBezTo>
                    <a:pt x="821" y="794"/>
                    <a:pt x="825" y="795"/>
                    <a:pt x="827" y="797"/>
                  </a:cubicBezTo>
                  <a:cubicBezTo>
                    <a:pt x="834" y="797"/>
                    <a:pt x="845" y="796"/>
                    <a:pt x="851" y="796"/>
                  </a:cubicBezTo>
                  <a:cubicBezTo>
                    <a:pt x="860" y="795"/>
                    <a:pt x="870" y="797"/>
                    <a:pt x="873" y="790"/>
                  </a:cubicBezTo>
                  <a:cubicBezTo>
                    <a:pt x="861" y="789"/>
                    <a:pt x="838" y="789"/>
                    <a:pt x="822" y="790"/>
                  </a:cubicBezTo>
                  <a:close/>
                  <a:moveTo>
                    <a:pt x="1209" y="791"/>
                  </a:moveTo>
                  <a:cubicBezTo>
                    <a:pt x="1204" y="795"/>
                    <a:pt x="1201" y="789"/>
                    <a:pt x="1197" y="790"/>
                  </a:cubicBezTo>
                  <a:cubicBezTo>
                    <a:pt x="1197" y="793"/>
                    <a:pt x="1198" y="793"/>
                    <a:pt x="1198" y="796"/>
                  </a:cubicBezTo>
                  <a:cubicBezTo>
                    <a:pt x="1206" y="796"/>
                    <a:pt x="1216" y="798"/>
                    <a:pt x="1224" y="795"/>
                  </a:cubicBezTo>
                  <a:cubicBezTo>
                    <a:pt x="1219" y="794"/>
                    <a:pt x="1211" y="795"/>
                    <a:pt x="1209" y="791"/>
                  </a:cubicBezTo>
                  <a:close/>
                  <a:moveTo>
                    <a:pt x="788" y="797"/>
                  </a:moveTo>
                  <a:cubicBezTo>
                    <a:pt x="795" y="794"/>
                    <a:pt x="811" y="801"/>
                    <a:pt x="812" y="791"/>
                  </a:cubicBezTo>
                  <a:cubicBezTo>
                    <a:pt x="803" y="792"/>
                    <a:pt x="788" y="788"/>
                    <a:pt x="788" y="797"/>
                  </a:cubicBezTo>
                  <a:close/>
                  <a:moveTo>
                    <a:pt x="879" y="791"/>
                  </a:moveTo>
                  <a:cubicBezTo>
                    <a:pt x="879" y="794"/>
                    <a:pt x="882" y="794"/>
                    <a:pt x="885" y="794"/>
                  </a:cubicBezTo>
                  <a:cubicBezTo>
                    <a:pt x="885" y="793"/>
                    <a:pt x="885" y="793"/>
                    <a:pt x="885" y="792"/>
                  </a:cubicBezTo>
                  <a:cubicBezTo>
                    <a:pt x="883" y="791"/>
                    <a:pt x="880" y="790"/>
                    <a:pt x="879" y="791"/>
                  </a:cubicBezTo>
                  <a:close/>
                  <a:moveTo>
                    <a:pt x="1167" y="795"/>
                  </a:moveTo>
                  <a:cubicBezTo>
                    <a:pt x="1170" y="797"/>
                    <a:pt x="1175" y="798"/>
                    <a:pt x="1180" y="797"/>
                  </a:cubicBezTo>
                  <a:cubicBezTo>
                    <a:pt x="1181" y="795"/>
                    <a:pt x="1180" y="793"/>
                    <a:pt x="1181" y="791"/>
                  </a:cubicBezTo>
                  <a:cubicBezTo>
                    <a:pt x="1176" y="789"/>
                    <a:pt x="1171" y="794"/>
                    <a:pt x="1167" y="795"/>
                  </a:cubicBezTo>
                  <a:close/>
                  <a:moveTo>
                    <a:pt x="1188" y="797"/>
                  </a:moveTo>
                  <a:cubicBezTo>
                    <a:pt x="1191" y="797"/>
                    <a:pt x="1192" y="796"/>
                    <a:pt x="1194" y="795"/>
                  </a:cubicBezTo>
                  <a:cubicBezTo>
                    <a:pt x="1194" y="793"/>
                    <a:pt x="1194" y="791"/>
                    <a:pt x="1191" y="791"/>
                  </a:cubicBezTo>
                  <a:cubicBezTo>
                    <a:pt x="1193" y="795"/>
                    <a:pt x="1189" y="795"/>
                    <a:pt x="1188" y="797"/>
                  </a:cubicBezTo>
                  <a:close/>
                  <a:moveTo>
                    <a:pt x="770" y="792"/>
                  </a:moveTo>
                  <a:cubicBezTo>
                    <a:pt x="771" y="796"/>
                    <a:pt x="778" y="794"/>
                    <a:pt x="781" y="796"/>
                  </a:cubicBezTo>
                  <a:cubicBezTo>
                    <a:pt x="781" y="794"/>
                    <a:pt x="781" y="793"/>
                    <a:pt x="781" y="791"/>
                  </a:cubicBezTo>
                  <a:cubicBezTo>
                    <a:pt x="777" y="791"/>
                    <a:pt x="774" y="792"/>
                    <a:pt x="770" y="792"/>
                  </a:cubicBezTo>
                  <a:close/>
                  <a:moveTo>
                    <a:pt x="812" y="796"/>
                  </a:moveTo>
                  <a:cubicBezTo>
                    <a:pt x="814" y="798"/>
                    <a:pt x="818" y="798"/>
                    <a:pt x="822" y="797"/>
                  </a:cubicBezTo>
                  <a:cubicBezTo>
                    <a:pt x="821" y="794"/>
                    <a:pt x="819" y="792"/>
                    <a:pt x="816" y="791"/>
                  </a:cubicBezTo>
                  <a:cubicBezTo>
                    <a:pt x="815" y="793"/>
                    <a:pt x="813" y="794"/>
                    <a:pt x="812" y="796"/>
                  </a:cubicBezTo>
                  <a:close/>
                  <a:moveTo>
                    <a:pt x="758" y="808"/>
                  </a:moveTo>
                  <a:cubicBezTo>
                    <a:pt x="760" y="810"/>
                    <a:pt x="762" y="809"/>
                    <a:pt x="764" y="808"/>
                  </a:cubicBezTo>
                  <a:cubicBezTo>
                    <a:pt x="763" y="801"/>
                    <a:pt x="769" y="801"/>
                    <a:pt x="768" y="795"/>
                  </a:cubicBezTo>
                  <a:cubicBezTo>
                    <a:pt x="758" y="789"/>
                    <a:pt x="759" y="801"/>
                    <a:pt x="758" y="808"/>
                  </a:cubicBezTo>
                  <a:close/>
                  <a:moveTo>
                    <a:pt x="1155" y="798"/>
                  </a:moveTo>
                  <a:cubicBezTo>
                    <a:pt x="1159" y="799"/>
                    <a:pt x="1160" y="797"/>
                    <a:pt x="1163" y="797"/>
                  </a:cubicBezTo>
                  <a:cubicBezTo>
                    <a:pt x="1163" y="795"/>
                    <a:pt x="1160" y="796"/>
                    <a:pt x="1158" y="795"/>
                  </a:cubicBezTo>
                  <a:cubicBezTo>
                    <a:pt x="1158" y="797"/>
                    <a:pt x="1156" y="797"/>
                    <a:pt x="1155" y="798"/>
                  </a:cubicBezTo>
                  <a:close/>
                  <a:moveTo>
                    <a:pt x="773" y="809"/>
                  </a:moveTo>
                  <a:cubicBezTo>
                    <a:pt x="775" y="809"/>
                    <a:pt x="776" y="809"/>
                    <a:pt x="778" y="809"/>
                  </a:cubicBezTo>
                  <a:cubicBezTo>
                    <a:pt x="780" y="806"/>
                    <a:pt x="780" y="803"/>
                    <a:pt x="781" y="799"/>
                  </a:cubicBezTo>
                  <a:cubicBezTo>
                    <a:pt x="778" y="800"/>
                    <a:pt x="776" y="797"/>
                    <a:pt x="773" y="797"/>
                  </a:cubicBezTo>
                  <a:cubicBezTo>
                    <a:pt x="773" y="801"/>
                    <a:pt x="772" y="806"/>
                    <a:pt x="773" y="809"/>
                  </a:cubicBezTo>
                  <a:close/>
                  <a:moveTo>
                    <a:pt x="891" y="801"/>
                  </a:moveTo>
                  <a:cubicBezTo>
                    <a:pt x="892" y="801"/>
                    <a:pt x="893" y="802"/>
                    <a:pt x="893" y="802"/>
                  </a:cubicBezTo>
                  <a:cubicBezTo>
                    <a:pt x="895" y="801"/>
                    <a:pt x="896" y="799"/>
                    <a:pt x="894" y="797"/>
                  </a:cubicBezTo>
                  <a:cubicBezTo>
                    <a:pt x="893" y="797"/>
                    <a:pt x="893" y="797"/>
                    <a:pt x="892" y="797"/>
                  </a:cubicBezTo>
                  <a:cubicBezTo>
                    <a:pt x="891" y="798"/>
                    <a:pt x="891" y="800"/>
                    <a:pt x="891" y="801"/>
                  </a:cubicBezTo>
                  <a:close/>
                  <a:moveTo>
                    <a:pt x="866" y="810"/>
                  </a:moveTo>
                  <a:cubicBezTo>
                    <a:pt x="862" y="810"/>
                    <a:pt x="862" y="814"/>
                    <a:pt x="860" y="815"/>
                  </a:cubicBezTo>
                  <a:cubicBezTo>
                    <a:pt x="863" y="819"/>
                    <a:pt x="866" y="823"/>
                    <a:pt x="869" y="826"/>
                  </a:cubicBezTo>
                  <a:cubicBezTo>
                    <a:pt x="872" y="826"/>
                    <a:pt x="875" y="826"/>
                    <a:pt x="878" y="826"/>
                  </a:cubicBezTo>
                  <a:cubicBezTo>
                    <a:pt x="879" y="823"/>
                    <a:pt x="874" y="823"/>
                    <a:pt x="876" y="821"/>
                  </a:cubicBezTo>
                  <a:cubicBezTo>
                    <a:pt x="877" y="821"/>
                    <a:pt x="878" y="823"/>
                    <a:pt x="878" y="821"/>
                  </a:cubicBezTo>
                  <a:cubicBezTo>
                    <a:pt x="876" y="817"/>
                    <a:pt x="878" y="813"/>
                    <a:pt x="876" y="808"/>
                  </a:cubicBezTo>
                  <a:cubicBezTo>
                    <a:pt x="874" y="808"/>
                    <a:pt x="869" y="809"/>
                    <a:pt x="869" y="807"/>
                  </a:cubicBezTo>
                  <a:cubicBezTo>
                    <a:pt x="871" y="807"/>
                    <a:pt x="875" y="808"/>
                    <a:pt x="876" y="806"/>
                  </a:cubicBezTo>
                  <a:cubicBezTo>
                    <a:pt x="876" y="803"/>
                    <a:pt x="876" y="800"/>
                    <a:pt x="874" y="798"/>
                  </a:cubicBezTo>
                  <a:cubicBezTo>
                    <a:pt x="867" y="799"/>
                    <a:pt x="866" y="805"/>
                    <a:pt x="866" y="810"/>
                  </a:cubicBezTo>
                  <a:close/>
                  <a:moveTo>
                    <a:pt x="880" y="806"/>
                  </a:moveTo>
                  <a:cubicBezTo>
                    <a:pt x="883" y="805"/>
                    <a:pt x="882" y="806"/>
                    <a:pt x="885" y="808"/>
                  </a:cubicBezTo>
                  <a:cubicBezTo>
                    <a:pt x="886" y="806"/>
                    <a:pt x="885" y="800"/>
                    <a:pt x="885" y="798"/>
                  </a:cubicBezTo>
                  <a:cubicBezTo>
                    <a:pt x="884" y="798"/>
                    <a:pt x="883" y="798"/>
                    <a:pt x="882" y="798"/>
                  </a:cubicBezTo>
                  <a:cubicBezTo>
                    <a:pt x="882" y="801"/>
                    <a:pt x="879" y="802"/>
                    <a:pt x="880" y="806"/>
                  </a:cubicBezTo>
                  <a:close/>
                  <a:moveTo>
                    <a:pt x="796" y="821"/>
                  </a:moveTo>
                  <a:cubicBezTo>
                    <a:pt x="794" y="821"/>
                    <a:pt x="793" y="822"/>
                    <a:pt x="792" y="819"/>
                  </a:cubicBezTo>
                  <a:cubicBezTo>
                    <a:pt x="788" y="823"/>
                    <a:pt x="780" y="828"/>
                    <a:pt x="784" y="836"/>
                  </a:cubicBezTo>
                  <a:cubicBezTo>
                    <a:pt x="791" y="835"/>
                    <a:pt x="798" y="836"/>
                    <a:pt x="803" y="836"/>
                  </a:cubicBezTo>
                  <a:cubicBezTo>
                    <a:pt x="805" y="830"/>
                    <a:pt x="798" y="826"/>
                    <a:pt x="796" y="821"/>
                  </a:cubicBezTo>
                  <a:close/>
                  <a:moveTo>
                    <a:pt x="807" y="835"/>
                  </a:moveTo>
                  <a:cubicBezTo>
                    <a:pt x="812" y="829"/>
                    <a:pt x="818" y="825"/>
                    <a:pt x="820" y="817"/>
                  </a:cubicBezTo>
                  <a:cubicBezTo>
                    <a:pt x="826" y="815"/>
                    <a:pt x="828" y="811"/>
                    <a:pt x="831" y="806"/>
                  </a:cubicBezTo>
                  <a:cubicBezTo>
                    <a:pt x="828" y="803"/>
                    <a:pt x="827" y="801"/>
                    <a:pt x="824" y="799"/>
                  </a:cubicBezTo>
                  <a:cubicBezTo>
                    <a:pt x="818" y="798"/>
                    <a:pt x="813" y="799"/>
                    <a:pt x="808" y="799"/>
                  </a:cubicBezTo>
                  <a:cubicBezTo>
                    <a:pt x="805" y="805"/>
                    <a:pt x="799" y="809"/>
                    <a:pt x="795" y="814"/>
                  </a:cubicBezTo>
                  <a:cubicBezTo>
                    <a:pt x="799" y="821"/>
                    <a:pt x="802" y="830"/>
                    <a:pt x="807" y="835"/>
                  </a:cubicBezTo>
                  <a:close/>
                  <a:moveTo>
                    <a:pt x="829" y="800"/>
                  </a:moveTo>
                  <a:cubicBezTo>
                    <a:pt x="830" y="801"/>
                    <a:pt x="831" y="803"/>
                    <a:pt x="833" y="804"/>
                  </a:cubicBezTo>
                  <a:cubicBezTo>
                    <a:pt x="834" y="802"/>
                    <a:pt x="836" y="802"/>
                    <a:pt x="836" y="799"/>
                  </a:cubicBezTo>
                  <a:cubicBezTo>
                    <a:pt x="835" y="799"/>
                    <a:pt x="829" y="798"/>
                    <a:pt x="829" y="800"/>
                  </a:cubicBezTo>
                  <a:close/>
                  <a:moveTo>
                    <a:pt x="859" y="814"/>
                  </a:moveTo>
                  <a:cubicBezTo>
                    <a:pt x="861" y="808"/>
                    <a:pt x="865" y="805"/>
                    <a:pt x="868" y="799"/>
                  </a:cubicBezTo>
                  <a:cubicBezTo>
                    <a:pt x="861" y="798"/>
                    <a:pt x="852" y="799"/>
                    <a:pt x="844" y="799"/>
                  </a:cubicBezTo>
                  <a:cubicBezTo>
                    <a:pt x="849" y="805"/>
                    <a:pt x="853" y="810"/>
                    <a:pt x="859" y="814"/>
                  </a:cubicBezTo>
                  <a:close/>
                  <a:moveTo>
                    <a:pt x="787" y="800"/>
                  </a:moveTo>
                  <a:cubicBezTo>
                    <a:pt x="786" y="804"/>
                    <a:pt x="790" y="809"/>
                    <a:pt x="795" y="810"/>
                  </a:cubicBezTo>
                  <a:cubicBezTo>
                    <a:pt x="798" y="806"/>
                    <a:pt x="803" y="804"/>
                    <a:pt x="804" y="799"/>
                  </a:cubicBezTo>
                  <a:cubicBezTo>
                    <a:pt x="798" y="799"/>
                    <a:pt x="790" y="800"/>
                    <a:pt x="787" y="800"/>
                  </a:cubicBezTo>
                  <a:close/>
                  <a:moveTo>
                    <a:pt x="840" y="799"/>
                  </a:moveTo>
                  <a:cubicBezTo>
                    <a:pt x="838" y="801"/>
                    <a:pt x="835" y="803"/>
                    <a:pt x="835" y="806"/>
                  </a:cubicBezTo>
                  <a:cubicBezTo>
                    <a:pt x="840" y="813"/>
                    <a:pt x="845" y="821"/>
                    <a:pt x="853" y="825"/>
                  </a:cubicBezTo>
                  <a:cubicBezTo>
                    <a:pt x="853" y="823"/>
                    <a:pt x="857" y="821"/>
                    <a:pt x="857" y="817"/>
                  </a:cubicBezTo>
                  <a:cubicBezTo>
                    <a:pt x="850" y="811"/>
                    <a:pt x="846" y="804"/>
                    <a:pt x="840" y="799"/>
                  </a:cubicBezTo>
                  <a:close/>
                  <a:moveTo>
                    <a:pt x="1186" y="806"/>
                  </a:moveTo>
                  <a:cubicBezTo>
                    <a:pt x="1186" y="804"/>
                    <a:pt x="1187" y="804"/>
                    <a:pt x="1187" y="802"/>
                  </a:cubicBezTo>
                  <a:cubicBezTo>
                    <a:pt x="1186" y="802"/>
                    <a:pt x="1185" y="801"/>
                    <a:pt x="1184" y="801"/>
                  </a:cubicBezTo>
                  <a:cubicBezTo>
                    <a:pt x="1184" y="804"/>
                    <a:pt x="1183" y="806"/>
                    <a:pt x="1186" y="806"/>
                  </a:cubicBezTo>
                  <a:close/>
                  <a:moveTo>
                    <a:pt x="1194" y="805"/>
                  </a:moveTo>
                  <a:cubicBezTo>
                    <a:pt x="1196" y="804"/>
                    <a:pt x="1195" y="803"/>
                    <a:pt x="1195" y="801"/>
                  </a:cubicBezTo>
                  <a:cubicBezTo>
                    <a:pt x="1194" y="802"/>
                    <a:pt x="1191" y="801"/>
                    <a:pt x="1191" y="802"/>
                  </a:cubicBezTo>
                  <a:cubicBezTo>
                    <a:pt x="1193" y="802"/>
                    <a:pt x="1192" y="805"/>
                    <a:pt x="1194" y="805"/>
                  </a:cubicBezTo>
                  <a:close/>
                  <a:moveTo>
                    <a:pt x="898" y="815"/>
                  </a:moveTo>
                  <a:cubicBezTo>
                    <a:pt x="899" y="810"/>
                    <a:pt x="896" y="808"/>
                    <a:pt x="896" y="802"/>
                  </a:cubicBezTo>
                  <a:cubicBezTo>
                    <a:pt x="896" y="802"/>
                    <a:pt x="895" y="802"/>
                    <a:pt x="894" y="802"/>
                  </a:cubicBezTo>
                  <a:cubicBezTo>
                    <a:pt x="893" y="807"/>
                    <a:pt x="895" y="813"/>
                    <a:pt x="898" y="815"/>
                  </a:cubicBezTo>
                  <a:close/>
                  <a:moveTo>
                    <a:pt x="788" y="808"/>
                  </a:moveTo>
                  <a:cubicBezTo>
                    <a:pt x="788" y="806"/>
                    <a:pt x="787" y="806"/>
                    <a:pt x="786" y="805"/>
                  </a:cubicBezTo>
                  <a:cubicBezTo>
                    <a:pt x="783" y="807"/>
                    <a:pt x="786" y="811"/>
                    <a:pt x="788" y="808"/>
                  </a:cubicBezTo>
                  <a:close/>
                  <a:moveTo>
                    <a:pt x="1185" y="808"/>
                  </a:moveTo>
                  <a:cubicBezTo>
                    <a:pt x="1187" y="810"/>
                    <a:pt x="1191" y="810"/>
                    <a:pt x="1193" y="808"/>
                  </a:cubicBezTo>
                  <a:cubicBezTo>
                    <a:pt x="1193" y="804"/>
                    <a:pt x="1186" y="804"/>
                    <a:pt x="1185" y="808"/>
                  </a:cubicBezTo>
                  <a:close/>
                  <a:moveTo>
                    <a:pt x="832" y="808"/>
                  </a:moveTo>
                  <a:cubicBezTo>
                    <a:pt x="825" y="819"/>
                    <a:pt x="815" y="828"/>
                    <a:pt x="808" y="840"/>
                  </a:cubicBezTo>
                  <a:cubicBezTo>
                    <a:pt x="803" y="843"/>
                    <a:pt x="800" y="849"/>
                    <a:pt x="796" y="854"/>
                  </a:cubicBezTo>
                  <a:cubicBezTo>
                    <a:pt x="792" y="858"/>
                    <a:pt x="786" y="864"/>
                    <a:pt x="786" y="868"/>
                  </a:cubicBezTo>
                  <a:cubicBezTo>
                    <a:pt x="817" y="867"/>
                    <a:pt x="855" y="869"/>
                    <a:pt x="884" y="867"/>
                  </a:cubicBezTo>
                  <a:cubicBezTo>
                    <a:pt x="867" y="847"/>
                    <a:pt x="850" y="827"/>
                    <a:pt x="832" y="808"/>
                  </a:cubicBezTo>
                  <a:close/>
                  <a:moveTo>
                    <a:pt x="1193" y="812"/>
                  </a:moveTo>
                  <a:cubicBezTo>
                    <a:pt x="1194" y="813"/>
                    <a:pt x="1195" y="812"/>
                    <a:pt x="1196" y="811"/>
                  </a:cubicBezTo>
                  <a:cubicBezTo>
                    <a:pt x="1195" y="811"/>
                    <a:pt x="1194" y="810"/>
                    <a:pt x="1193" y="810"/>
                  </a:cubicBezTo>
                  <a:cubicBezTo>
                    <a:pt x="1193" y="811"/>
                    <a:pt x="1192" y="811"/>
                    <a:pt x="1193" y="812"/>
                  </a:cubicBezTo>
                  <a:close/>
                  <a:moveTo>
                    <a:pt x="775" y="817"/>
                  </a:moveTo>
                  <a:cubicBezTo>
                    <a:pt x="777" y="816"/>
                    <a:pt x="778" y="814"/>
                    <a:pt x="779" y="817"/>
                  </a:cubicBezTo>
                  <a:cubicBezTo>
                    <a:pt x="780" y="814"/>
                    <a:pt x="779" y="815"/>
                    <a:pt x="779" y="812"/>
                  </a:cubicBezTo>
                  <a:cubicBezTo>
                    <a:pt x="777" y="812"/>
                    <a:pt x="777" y="810"/>
                    <a:pt x="774" y="810"/>
                  </a:cubicBezTo>
                  <a:cubicBezTo>
                    <a:pt x="772" y="812"/>
                    <a:pt x="773" y="815"/>
                    <a:pt x="775" y="817"/>
                  </a:cubicBezTo>
                  <a:close/>
                  <a:moveTo>
                    <a:pt x="784" y="823"/>
                  </a:moveTo>
                  <a:cubicBezTo>
                    <a:pt x="786" y="819"/>
                    <a:pt x="790" y="818"/>
                    <a:pt x="792" y="814"/>
                  </a:cubicBezTo>
                  <a:cubicBezTo>
                    <a:pt x="792" y="811"/>
                    <a:pt x="789" y="813"/>
                    <a:pt x="790" y="810"/>
                  </a:cubicBezTo>
                  <a:cubicBezTo>
                    <a:pt x="788" y="810"/>
                    <a:pt x="786" y="810"/>
                    <a:pt x="785" y="810"/>
                  </a:cubicBezTo>
                  <a:cubicBezTo>
                    <a:pt x="785" y="816"/>
                    <a:pt x="783" y="819"/>
                    <a:pt x="784" y="823"/>
                  </a:cubicBezTo>
                  <a:close/>
                  <a:moveTo>
                    <a:pt x="890" y="833"/>
                  </a:moveTo>
                  <a:cubicBezTo>
                    <a:pt x="894" y="833"/>
                    <a:pt x="894" y="832"/>
                    <a:pt x="898" y="832"/>
                  </a:cubicBezTo>
                  <a:cubicBezTo>
                    <a:pt x="897" y="828"/>
                    <a:pt x="894" y="827"/>
                    <a:pt x="893" y="824"/>
                  </a:cubicBezTo>
                  <a:cubicBezTo>
                    <a:pt x="894" y="823"/>
                    <a:pt x="895" y="822"/>
                    <a:pt x="895" y="820"/>
                  </a:cubicBezTo>
                  <a:cubicBezTo>
                    <a:pt x="892" y="818"/>
                    <a:pt x="892" y="813"/>
                    <a:pt x="890" y="810"/>
                  </a:cubicBezTo>
                  <a:cubicBezTo>
                    <a:pt x="891" y="816"/>
                    <a:pt x="888" y="825"/>
                    <a:pt x="890" y="833"/>
                  </a:cubicBezTo>
                  <a:close/>
                  <a:moveTo>
                    <a:pt x="1184" y="813"/>
                  </a:moveTo>
                  <a:cubicBezTo>
                    <a:pt x="1187" y="814"/>
                    <a:pt x="1187" y="810"/>
                    <a:pt x="1184" y="810"/>
                  </a:cubicBezTo>
                  <a:cubicBezTo>
                    <a:pt x="1184" y="811"/>
                    <a:pt x="1184" y="812"/>
                    <a:pt x="1184" y="813"/>
                  </a:cubicBezTo>
                  <a:close/>
                  <a:moveTo>
                    <a:pt x="760" y="819"/>
                  </a:moveTo>
                  <a:cubicBezTo>
                    <a:pt x="761" y="817"/>
                    <a:pt x="761" y="814"/>
                    <a:pt x="762" y="811"/>
                  </a:cubicBezTo>
                  <a:cubicBezTo>
                    <a:pt x="758" y="811"/>
                    <a:pt x="757" y="818"/>
                    <a:pt x="760" y="819"/>
                  </a:cubicBezTo>
                  <a:close/>
                  <a:moveTo>
                    <a:pt x="761" y="829"/>
                  </a:moveTo>
                  <a:cubicBezTo>
                    <a:pt x="764" y="829"/>
                    <a:pt x="767" y="829"/>
                    <a:pt x="770" y="830"/>
                  </a:cubicBezTo>
                  <a:cubicBezTo>
                    <a:pt x="771" y="825"/>
                    <a:pt x="771" y="817"/>
                    <a:pt x="768" y="813"/>
                  </a:cubicBezTo>
                  <a:cubicBezTo>
                    <a:pt x="765" y="814"/>
                    <a:pt x="762" y="822"/>
                    <a:pt x="761" y="829"/>
                  </a:cubicBezTo>
                  <a:close/>
                  <a:moveTo>
                    <a:pt x="1185" y="814"/>
                  </a:moveTo>
                  <a:cubicBezTo>
                    <a:pt x="1184" y="817"/>
                    <a:pt x="1187" y="816"/>
                    <a:pt x="1187" y="819"/>
                  </a:cubicBezTo>
                  <a:cubicBezTo>
                    <a:pt x="1189" y="818"/>
                    <a:pt x="1193" y="819"/>
                    <a:pt x="1192" y="815"/>
                  </a:cubicBezTo>
                  <a:cubicBezTo>
                    <a:pt x="1191" y="815"/>
                    <a:pt x="1190" y="815"/>
                    <a:pt x="1191" y="814"/>
                  </a:cubicBezTo>
                  <a:cubicBezTo>
                    <a:pt x="1188" y="813"/>
                    <a:pt x="1187" y="815"/>
                    <a:pt x="1185" y="814"/>
                  </a:cubicBezTo>
                  <a:close/>
                  <a:moveTo>
                    <a:pt x="898" y="821"/>
                  </a:moveTo>
                  <a:cubicBezTo>
                    <a:pt x="898" y="819"/>
                    <a:pt x="900" y="817"/>
                    <a:pt x="898" y="816"/>
                  </a:cubicBezTo>
                  <a:cubicBezTo>
                    <a:pt x="897" y="817"/>
                    <a:pt x="896" y="821"/>
                    <a:pt x="898" y="821"/>
                  </a:cubicBezTo>
                  <a:close/>
                  <a:moveTo>
                    <a:pt x="756" y="823"/>
                  </a:moveTo>
                  <a:cubicBezTo>
                    <a:pt x="756" y="822"/>
                    <a:pt x="758" y="818"/>
                    <a:pt x="756" y="817"/>
                  </a:cubicBezTo>
                  <a:cubicBezTo>
                    <a:pt x="755" y="819"/>
                    <a:pt x="754" y="822"/>
                    <a:pt x="756" y="823"/>
                  </a:cubicBezTo>
                  <a:close/>
                  <a:moveTo>
                    <a:pt x="1183" y="820"/>
                  </a:moveTo>
                  <a:cubicBezTo>
                    <a:pt x="1184" y="824"/>
                    <a:pt x="1186" y="827"/>
                    <a:pt x="1183" y="830"/>
                  </a:cubicBezTo>
                  <a:cubicBezTo>
                    <a:pt x="1183" y="831"/>
                    <a:pt x="1185" y="830"/>
                    <a:pt x="1186" y="831"/>
                  </a:cubicBezTo>
                  <a:cubicBezTo>
                    <a:pt x="1186" y="828"/>
                    <a:pt x="1190" y="830"/>
                    <a:pt x="1192" y="830"/>
                  </a:cubicBezTo>
                  <a:cubicBezTo>
                    <a:pt x="1191" y="827"/>
                    <a:pt x="1194" y="828"/>
                    <a:pt x="1195" y="827"/>
                  </a:cubicBezTo>
                  <a:cubicBezTo>
                    <a:pt x="1195" y="826"/>
                    <a:pt x="1195" y="824"/>
                    <a:pt x="1195" y="823"/>
                  </a:cubicBezTo>
                  <a:cubicBezTo>
                    <a:pt x="1193" y="823"/>
                    <a:pt x="1189" y="821"/>
                    <a:pt x="1186" y="823"/>
                  </a:cubicBezTo>
                  <a:cubicBezTo>
                    <a:pt x="1186" y="821"/>
                    <a:pt x="1186" y="820"/>
                    <a:pt x="1186" y="819"/>
                  </a:cubicBezTo>
                  <a:cubicBezTo>
                    <a:pt x="1184" y="818"/>
                    <a:pt x="1184" y="820"/>
                    <a:pt x="1183" y="820"/>
                  </a:cubicBezTo>
                  <a:close/>
                  <a:moveTo>
                    <a:pt x="1195" y="822"/>
                  </a:moveTo>
                  <a:cubicBezTo>
                    <a:pt x="1195" y="821"/>
                    <a:pt x="1195" y="820"/>
                    <a:pt x="1195" y="819"/>
                  </a:cubicBezTo>
                  <a:cubicBezTo>
                    <a:pt x="1194" y="819"/>
                    <a:pt x="1193" y="819"/>
                    <a:pt x="1193" y="819"/>
                  </a:cubicBezTo>
                  <a:cubicBezTo>
                    <a:pt x="1193" y="820"/>
                    <a:pt x="1193" y="822"/>
                    <a:pt x="1195" y="822"/>
                  </a:cubicBezTo>
                  <a:close/>
                  <a:moveTo>
                    <a:pt x="855" y="826"/>
                  </a:moveTo>
                  <a:cubicBezTo>
                    <a:pt x="859" y="826"/>
                    <a:pt x="861" y="827"/>
                    <a:pt x="865" y="827"/>
                  </a:cubicBezTo>
                  <a:cubicBezTo>
                    <a:pt x="863" y="823"/>
                    <a:pt x="861" y="821"/>
                    <a:pt x="857" y="819"/>
                  </a:cubicBezTo>
                  <a:cubicBezTo>
                    <a:pt x="859" y="824"/>
                    <a:pt x="854" y="824"/>
                    <a:pt x="855" y="826"/>
                  </a:cubicBezTo>
                  <a:close/>
                  <a:moveTo>
                    <a:pt x="773" y="827"/>
                  </a:moveTo>
                  <a:cubicBezTo>
                    <a:pt x="776" y="827"/>
                    <a:pt x="775" y="820"/>
                    <a:pt x="773" y="821"/>
                  </a:cubicBezTo>
                  <a:cubicBezTo>
                    <a:pt x="772" y="823"/>
                    <a:pt x="775" y="825"/>
                    <a:pt x="773" y="827"/>
                  </a:cubicBezTo>
                  <a:close/>
                  <a:moveTo>
                    <a:pt x="886" y="827"/>
                  </a:moveTo>
                  <a:cubicBezTo>
                    <a:pt x="886" y="825"/>
                    <a:pt x="886" y="823"/>
                    <a:pt x="884" y="823"/>
                  </a:cubicBezTo>
                  <a:cubicBezTo>
                    <a:pt x="883" y="825"/>
                    <a:pt x="883" y="827"/>
                    <a:pt x="886" y="827"/>
                  </a:cubicBezTo>
                  <a:close/>
                  <a:moveTo>
                    <a:pt x="1186" y="838"/>
                  </a:moveTo>
                  <a:cubicBezTo>
                    <a:pt x="1189" y="839"/>
                    <a:pt x="1194" y="838"/>
                    <a:pt x="1197" y="838"/>
                  </a:cubicBezTo>
                  <a:cubicBezTo>
                    <a:pt x="1196" y="833"/>
                    <a:pt x="1198" y="830"/>
                    <a:pt x="1196" y="828"/>
                  </a:cubicBezTo>
                  <a:cubicBezTo>
                    <a:pt x="1196" y="832"/>
                    <a:pt x="1194" y="833"/>
                    <a:pt x="1192" y="834"/>
                  </a:cubicBezTo>
                  <a:cubicBezTo>
                    <a:pt x="1193" y="834"/>
                    <a:pt x="1194" y="834"/>
                    <a:pt x="1194" y="836"/>
                  </a:cubicBezTo>
                  <a:cubicBezTo>
                    <a:pt x="1191" y="834"/>
                    <a:pt x="1186" y="834"/>
                    <a:pt x="1186" y="838"/>
                  </a:cubicBezTo>
                  <a:close/>
                  <a:moveTo>
                    <a:pt x="856" y="830"/>
                  </a:moveTo>
                  <a:cubicBezTo>
                    <a:pt x="860" y="836"/>
                    <a:pt x="864" y="843"/>
                    <a:pt x="872" y="847"/>
                  </a:cubicBezTo>
                  <a:cubicBezTo>
                    <a:pt x="874" y="853"/>
                    <a:pt x="879" y="858"/>
                    <a:pt x="884" y="862"/>
                  </a:cubicBezTo>
                  <a:cubicBezTo>
                    <a:pt x="883" y="854"/>
                    <a:pt x="880" y="848"/>
                    <a:pt x="881" y="843"/>
                  </a:cubicBezTo>
                  <a:cubicBezTo>
                    <a:pt x="874" y="838"/>
                    <a:pt x="871" y="825"/>
                    <a:pt x="856" y="830"/>
                  </a:cubicBezTo>
                  <a:close/>
                  <a:moveTo>
                    <a:pt x="874" y="831"/>
                  </a:moveTo>
                  <a:cubicBezTo>
                    <a:pt x="874" y="835"/>
                    <a:pt x="878" y="832"/>
                    <a:pt x="881" y="834"/>
                  </a:cubicBezTo>
                  <a:cubicBezTo>
                    <a:pt x="880" y="832"/>
                    <a:pt x="876" y="829"/>
                    <a:pt x="874" y="831"/>
                  </a:cubicBezTo>
                  <a:close/>
                  <a:moveTo>
                    <a:pt x="886" y="834"/>
                  </a:moveTo>
                  <a:cubicBezTo>
                    <a:pt x="888" y="832"/>
                    <a:pt x="886" y="830"/>
                    <a:pt x="884" y="830"/>
                  </a:cubicBezTo>
                  <a:cubicBezTo>
                    <a:pt x="883" y="833"/>
                    <a:pt x="885" y="833"/>
                    <a:pt x="886" y="834"/>
                  </a:cubicBezTo>
                  <a:close/>
                  <a:moveTo>
                    <a:pt x="762" y="848"/>
                  </a:moveTo>
                  <a:cubicBezTo>
                    <a:pt x="766" y="844"/>
                    <a:pt x="774" y="838"/>
                    <a:pt x="769" y="831"/>
                  </a:cubicBezTo>
                  <a:cubicBezTo>
                    <a:pt x="768" y="833"/>
                    <a:pt x="763" y="832"/>
                    <a:pt x="760" y="832"/>
                  </a:cubicBezTo>
                  <a:cubicBezTo>
                    <a:pt x="759" y="835"/>
                    <a:pt x="755" y="838"/>
                    <a:pt x="758" y="842"/>
                  </a:cubicBezTo>
                  <a:cubicBezTo>
                    <a:pt x="753" y="842"/>
                    <a:pt x="755" y="848"/>
                    <a:pt x="753" y="851"/>
                  </a:cubicBezTo>
                  <a:cubicBezTo>
                    <a:pt x="752" y="857"/>
                    <a:pt x="747" y="860"/>
                    <a:pt x="749" y="864"/>
                  </a:cubicBezTo>
                  <a:cubicBezTo>
                    <a:pt x="753" y="858"/>
                    <a:pt x="761" y="852"/>
                    <a:pt x="760" y="845"/>
                  </a:cubicBezTo>
                  <a:cubicBezTo>
                    <a:pt x="761" y="845"/>
                    <a:pt x="759" y="849"/>
                    <a:pt x="762" y="848"/>
                  </a:cubicBezTo>
                  <a:close/>
                  <a:moveTo>
                    <a:pt x="775" y="834"/>
                  </a:moveTo>
                  <a:cubicBezTo>
                    <a:pt x="776" y="834"/>
                    <a:pt x="777" y="833"/>
                    <a:pt x="777" y="831"/>
                  </a:cubicBezTo>
                  <a:cubicBezTo>
                    <a:pt x="775" y="831"/>
                    <a:pt x="774" y="832"/>
                    <a:pt x="775" y="834"/>
                  </a:cubicBezTo>
                  <a:close/>
                  <a:moveTo>
                    <a:pt x="1185" y="838"/>
                  </a:moveTo>
                  <a:cubicBezTo>
                    <a:pt x="1184" y="837"/>
                    <a:pt x="1185" y="833"/>
                    <a:pt x="1183" y="834"/>
                  </a:cubicBezTo>
                  <a:cubicBezTo>
                    <a:pt x="1182" y="836"/>
                    <a:pt x="1181" y="838"/>
                    <a:pt x="1185" y="838"/>
                  </a:cubicBezTo>
                  <a:close/>
                  <a:moveTo>
                    <a:pt x="1201" y="837"/>
                  </a:moveTo>
                  <a:cubicBezTo>
                    <a:pt x="1204" y="838"/>
                    <a:pt x="1211" y="839"/>
                    <a:pt x="1214" y="837"/>
                  </a:cubicBezTo>
                  <a:cubicBezTo>
                    <a:pt x="1209" y="837"/>
                    <a:pt x="1205" y="835"/>
                    <a:pt x="1202" y="834"/>
                  </a:cubicBezTo>
                  <a:cubicBezTo>
                    <a:pt x="1201" y="834"/>
                    <a:pt x="1201" y="835"/>
                    <a:pt x="1201" y="837"/>
                  </a:cubicBezTo>
                  <a:close/>
                  <a:moveTo>
                    <a:pt x="1168" y="838"/>
                  </a:moveTo>
                  <a:cubicBezTo>
                    <a:pt x="1171" y="839"/>
                    <a:pt x="1180" y="840"/>
                    <a:pt x="1178" y="834"/>
                  </a:cubicBezTo>
                  <a:cubicBezTo>
                    <a:pt x="1175" y="836"/>
                    <a:pt x="1171" y="836"/>
                    <a:pt x="1168" y="838"/>
                  </a:cubicBezTo>
                  <a:close/>
                  <a:moveTo>
                    <a:pt x="752" y="841"/>
                  </a:moveTo>
                  <a:cubicBezTo>
                    <a:pt x="751" y="839"/>
                    <a:pt x="755" y="837"/>
                    <a:pt x="753" y="836"/>
                  </a:cubicBezTo>
                  <a:cubicBezTo>
                    <a:pt x="753" y="838"/>
                    <a:pt x="750" y="839"/>
                    <a:pt x="752" y="841"/>
                  </a:cubicBezTo>
                  <a:close/>
                  <a:moveTo>
                    <a:pt x="889" y="838"/>
                  </a:moveTo>
                  <a:cubicBezTo>
                    <a:pt x="887" y="850"/>
                    <a:pt x="894" y="854"/>
                    <a:pt x="902" y="856"/>
                  </a:cubicBezTo>
                  <a:cubicBezTo>
                    <a:pt x="900" y="857"/>
                    <a:pt x="898" y="854"/>
                    <a:pt x="898" y="857"/>
                  </a:cubicBezTo>
                  <a:cubicBezTo>
                    <a:pt x="901" y="861"/>
                    <a:pt x="905" y="864"/>
                    <a:pt x="908" y="869"/>
                  </a:cubicBezTo>
                  <a:cubicBezTo>
                    <a:pt x="908" y="861"/>
                    <a:pt x="903" y="855"/>
                    <a:pt x="902" y="846"/>
                  </a:cubicBezTo>
                  <a:cubicBezTo>
                    <a:pt x="901" y="844"/>
                    <a:pt x="900" y="847"/>
                    <a:pt x="900" y="845"/>
                  </a:cubicBezTo>
                  <a:cubicBezTo>
                    <a:pt x="901" y="843"/>
                    <a:pt x="900" y="839"/>
                    <a:pt x="899" y="837"/>
                  </a:cubicBezTo>
                  <a:cubicBezTo>
                    <a:pt x="896" y="837"/>
                    <a:pt x="891" y="836"/>
                    <a:pt x="889" y="838"/>
                  </a:cubicBezTo>
                  <a:close/>
                  <a:moveTo>
                    <a:pt x="776" y="851"/>
                  </a:moveTo>
                  <a:cubicBezTo>
                    <a:pt x="775" y="846"/>
                    <a:pt x="778" y="844"/>
                    <a:pt x="777" y="838"/>
                  </a:cubicBezTo>
                  <a:cubicBezTo>
                    <a:pt x="776" y="838"/>
                    <a:pt x="776" y="838"/>
                    <a:pt x="775" y="838"/>
                  </a:cubicBezTo>
                  <a:cubicBezTo>
                    <a:pt x="775" y="842"/>
                    <a:pt x="773" y="849"/>
                    <a:pt x="776" y="851"/>
                  </a:cubicBezTo>
                  <a:close/>
                  <a:moveTo>
                    <a:pt x="782" y="839"/>
                  </a:moveTo>
                  <a:cubicBezTo>
                    <a:pt x="780" y="850"/>
                    <a:pt x="780" y="858"/>
                    <a:pt x="779" y="868"/>
                  </a:cubicBezTo>
                  <a:cubicBezTo>
                    <a:pt x="783" y="868"/>
                    <a:pt x="787" y="861"/>
                    <a:pt x="790" y="856"/>
                  </a:cubicBezTo>
                  <a:cubicBezTo>
                    <a:pt x="796" y="852"/>
                    <a:pt x="800" y="845"/>
                    <a:pt x="804" y="839"/>
                  </a:cubicBezTo>
                  <a:cubicBezTo>
                    <a:pt x="797" y="837"/>
                    <a:pt x="790" y="840"/>
                    <a:pt x="782" y="839"/>
                  </a:cubicBezTo>
                  <a:close/>
                  <a:moveTo>
                    <a:pt x="1183" y="848"/>
                  </a:moveTo>
                  <a:cubicBezTo>
                    <a:pt x="1184" y="847"/>
                    <a:pt x="1183" y="845"/>
                    <a:pt x="1185" y="846"/>
                  </a:cubicBezTo>
                  <a:cubicBezTo>
                    <a:pt x="1185" y="847"/>
                    <a:pt x="1186" y="847"/>
                    <a:pt x="1186" y="847"/>
                  </a:cubicBezTo>
                  <a:cubicBezTo>
                    <a:pt x="1185" y="850"/>
                    <a:pt x="1184" y="848"/>
                    <a:pt x="1183" y="849"/>
                  </a:cubicBezTo>
                  <a:cubicBezTo>
                    <a:pt x="1182" y="852"/>
                    <a:pt x="1182" y="853"/>
                    <a:pt x="1183" y="856"/>
                  </a:cubicBezTo>
                  <a:cubicBezTo>
                    <a:pt x="1189" y="856"/>
                    <a:pt x="1194" y="853"/>
                    <a:pt x="1198" y="856"/>
                  </a:cubicBezTo>
                  <a:cubicBezTo>
                    <a:pt x="1199" y="849"/>
                    <a:pt x="1192" y="849"/>
                    <a:pt x="1191" y="843"/>
                  </a:cubicBezTo>
                  <a:cubicBezTo>
                    <a:pt x="1187" y="844"/>
                    <a:pt x="1186" y="841"/>
                    <a:pt x="1183" y="841"/>
                  </a:cubicBezTo>
                  <a:cubicBezTo>
                    <a:pt x="1182" y="842"/>
                    <a:pt x="1182" y="847"/>
                    <a:pt x="1183" y="848"/>
                  </a:cubicBezTo>
                  <a:close/>
                  <a:moveTo>
                    <a:pt x="1198" y="847"/>
                  </a:moveTo>
                  <a:cubicBezTo>
                    <a:pt x="1198" y="844"/>
                    <a:pt x="1198" y="843"/>
                    <a:pt x="1197" y="841"/>
                  </a:cubicBezTo>
                  <a:cubicBezTo>
                    <a:pt x="1196" y="841"/>
                    <a:pt x="1194" y="841"/>
                    <a:pt x="1193" y="841"/>
                  </a:cubicBezTo>
                  <a:cubicBezTo>
                    <a:pt x="1192" y="845"/>
                    <a:pt x="1196" y="845"/>
                    <a:pt x="1198" y="847"/>
                  </a:cubicBezTo>
                  <a:close/>
                  <a:moveTo>
                    <a:pt x="769" y="843"/>
                  </a:moveTo>
                  <a:cubicBezTo>
                    <a:pt x="764" y="853"/>
                    <a:pt x="752" y="861"/>
                    <a:pt x="748" y="870"/>
                  </a:cubicBezTo>
                  <a:cubicBezTo>
                    <a:pt x="753" y="869"/>
                    <a:pt x="762" y="869"/>
                    <a:pt x="772" y="869"/>
                  </a:cubicBezTo>
                  <a:cubicBezTo>
                    <a:pt x="772" y="860"/>
                    <a:pt x="771" y="852"/>
                    <a:pt x="771" y="843"/>
                  </a:cubicBezTo>
                  <a:cubicBezTo>
                    <a:pt x="771" y="843"/>
                    <a:pt x="770" y="843"/>
                    <a:pt x="769" y="843"/>
                  </a:cubicBezTo>
                  <a:close/>
                  <a:moveTo>
                    <a:pt x="889" y="867"/>
                  </a:moveTo>
                  <a:cubicBezTo>
                    <a:pt x="896" y="868"/>
                    <a:pt x="900" y="871"/>
                    <a:pt x="906" y="872"/>
                  </a:cubicBezTo>
                  <a:cubicBezTo>
                    <a:pt x="901" y="865"/>
                    <a:pt x="896" y="859"/>
                    <a:pt x="889" y="853"/>
                  </a:cubicBezTo>
                  <a:cubicBezTo>
                    <a:pt x="889" y="858"/>
                    <a:pt x="889" y="863"/>
                    <a:pt x="889" y="867"/>
                  </a:cubicBezTo>
                  <a:close/>
                  <a:moveTo>
                    <a:pt x="1180" y="869"/>
                  </a:moveTo>
                  <a:cubicBezTo>
                    <a:pt x="1183" y="869"/>
                    <a:pt x="1183" y="870"/>
                    <a:pt x="1183" y="873"/>
                  </a:cubicBezTo>
                  <a:cubicBezTo>
                    <a:pt x="1182" y="872"/>
                    <a:pt x="1181" y="873"/>
                    <a:pt x="1180" y="873"/>
                  </a:cubicBezTo>
                  <a:cubicBezTo>
                    <a:pt x="1180" y="874"/>
                    <a:pt x="1180" y="875"/>
                    <a:pt x="1180" y="876"/>
                  </a:cubicBezTo>
                  <a:cubicBezTo>
                    <a:pt x="1185" y="878"/>
                    <a:pt x="1195" y="876"/>
                    <a:pt x="1201" y="875"/>
                  </a:cubicBezTo>
                  <a:cubicBezTo>
                    <a:pt x="1198" y="869"/>
                    <a:pt x="1194" y="865"/>
                    <a:pt x="1191" y="859"/>
                  </a:cubicBezTo>
                  <a:cubicBezTo>
                    <a:pt x="1183" y="854"/>
                    <a:pt x="1179" y="860"/>
                    <a:pt x="1180" y="869"/>
                  </a:cubicBezTo>
                  <a:close/>
                  <a:moveTo>
                    <a:pt x="1200" y="861"/>
                  </a:moveTo>
                  <a:cubicBezTo>
                    <a:pt x="1199" y="856"/>
                    <a:pt x="1196" y="858"/>
                    <a:pt x="1193" y="857"/>
                  </a:cubicBezTo>
                  <a:cubicBezTo>
                    <a:pt x="1192" y="861"/>
                    <a:pt x="1197" y="863"/>
                    <a:pt x="1200" y="861"/>
                  </a:cubicBezTo>
                  <a:close/>
                  <a:moveTo>
                    <a:pt x="1201" y="869"/>
                  </a:moveTo>
                  <a:cubicBezTo>
                    <a:pt x="1201" y="867"/>
                    <a:pt x="1201" y="864"/>
                    <a:pt x="1198" y="864"/>
                  </a:cubicBezTo>
                  <a:cubicBezTo>
                    <a:pt x="1198" y="867"/>
                    <a:pt x="1199" y="869"/>
                    <a:pt x="1201" y="869"/>
                  </a:cubicBezTo>
                  <a:close/>
                  <a:moveTo>
                    <a:pt x="820" y="872"/>
                  </a:moveTo>
                  <a:cubicBezTo>
                    <a:pt x="823" y="878"/>
                    <a:pt x="832" y="875"/>
                    <a:pt x="837" y="875"/>
                  </a:cubicBezTo>
                  <a:cubicBezTo>
                    <a:pt x="844" y="875"/>
                    <a:pt x="850" y="875"/>
                    <a:pt x="856" y="875"/>
                  </a:cubicBezTo>
                  <a:cubicBezTo>
                    <a:pt x="867" y="874"/>
                    <a:pt x="879" y="876"/>
                    <a:pt x="885" y="871"/>
                  </a:cubicBezTo>
                  <a:cubicBezTo>
                    <a:pt x="865" y="870"/>
                    <a:pt x="841" y="871"/>
                    <a:pt x="820" y="872"/>
                  </a:cubicBezTo>
                  <a:close/>
                  <a:moveTo>
                    <a:pt x="895" y="873"/>
                  </a:moveTo>
                  <a:cubicBezTo>
                    <a:pt x="893" y="872"/>
                    <a:pt x="892" y="872"/>
                    <a:pt x="891" y="871"/>
                  </a:cubicBezTo>
                  <a:cubicBezTo>
                    <a:pt x="889" y="874"/>
                    <a:pt x="894" y="874"/>
                    <a:pt x="895" y="873"/>
                  </a:cubicBezTo>
                  <a:close/>
                  <a:moveTo>
                    <a:pt x="779" y="875"/>
                  </a:moveTo>
                  <a:cubicBezTo>
                    <a:pt x="788" y="875"/>
                    <a:pt x="804" y="878"/>
                    <a:pt x="810" y="873"/>
                  </a:cubicBezTo>
                  <a:cubicBezTo>
                    <a:pt x="800" y="872"/>
                    <a:pt x="784" y="870"/>
                    <a:pt x="779" y="875"/>
                  </a:cubicBezTo>
                  <a:close/>
                  <a:moveTo>
                    <a:pt x="773" y="873"/>
                  </a:moveTo>
                  <a:cubicBezTo>
                    <a:pt x="769" y="873"/>
                    <a:pt x="766" y="873"/>
                    <a:pt x="762" y="873"/>
                  </a:cubicBezTo>
                  <a:cubicBezTo>
                    <a:pt x="763" y="875"/>
                    <a:pt x="772" y="876"/>
                    <a:pt x="773" y="873"/>
                  </a:cubicBezTo>
                  <a:close/>
                  <a:moveTo>
                    <a:pt x="812" y="875"/>
                  </a:moveTo>
                  <a:cubicBezTo>
                    <a:pt x="814" y="875"/>
                    <a:pt x="818" y="876"/>
                    <a:pt x="818" y="874"/>
                  </a:cubicBezTo>
                  <a:cubicBezTo>
                    <a:pt x="817" y="872"/>
                    <a:pt x="812" y="872"/>
                    <a:pt x="812" y="875"/>
                  </a:cubicBezTo>
                  <a:close/>
                  <a:moveTo>
                    <a:pt x="753" y="884"/>
                  </a:moveTo>
                  <a:cubicBezTo>
                    <a:pt x="756" y="883"/>
                    <a:pt x="757" y="880"/>
                    <a:pt x="758" y="876"/>
                  </a:cubicBezTo>
                  <a:cubicBezTo>
                    <a:pt x="755" y="874"/>
                    <a:pt x="749" y="873"/>
                    <a:pt x="746" y="874"/>
                  </a:cubicBezTo>
                  <a:cubicBezTo>
                    <a:pt x="744" y="878"/>
                    <a:pt x="745" y="884"/>
                    <a:pt x="744" y="890"/>
                  </a:cubicBezTo>
                  <a:cubicBezTo>
                    <a:pt x="747" y="891"/>
                    <a:pt x="754" y="891"/>
                    <a:pt x="753" y="886"/>
                  </a:cubicBezTo>
                  <a:cubicBezTo>
                    <a:pt x="752" y="883"/>
                    <a:pt x="748" y="882"/>
                    <a:pt x="748" y="877"/>
                  </a:cubicBezTo>
                  <a:cubicBezTo>
                    <a:pt x="750" y="879"/>
                    <a:pt x="751" y="882"/>
                    <a:pt x="753" y="884"/>
                  </a:cubicBezTo>
                  <a:close/>
                  <a:moveTo>
                    <a:pt x="763" y="876"/>
                  </a:moveTo>
                  <a:cubicBezTo>
                    <a:pt x="762" y="882"/>
                    <a:pt x="762" y="897"/>
                    <a:pt x="766" y="901"/>
                  </a:cubicBezTo>
                  <a:cubicBezTo>
                    <a:pt x="767" y="892"/>
                    <a:pt x="773" y="888"/>
                    <a:pt x="772" y="879"/>
                  </a:cubicBezTo>
                  <a:cubicBezTo>
                    <a:pt x="768" y="878"/>
                    <a:pt x="766" y="877"/>
                    <a:pt x="763" y="876"/>
                  </a:cubicBezTo>
                  <a:close/>
                  <a:moveTo>
                    <a:pt x="908" y="883"/>
                  </a:moveTo>
                  <a:cubicBezTo>
                    <a:pt x="906" y="887"/>
                    <a:pt x="908" y="892"/>
                    <a:pt x="911" y="894"/>
                  </a:cubicBezTo>
                  <a:cubicBezTo>
                    <a:pt x="915" y="889"/>
                    <a:pt x="910" y="882"/>
                    <a:pt x="910" y="877"/>
                  </a:cubicBezTo>
                  <a:cubicBezTo>
                    <a:pt x="907" y="877"/>
                    <a:pt x="906" y="876"/>
                    <a:pt x="904" y="876"/>
                  </a:cubicBezTo>
                  <a:cubicBezTo>
                    <a:pt x="904" y="880"/>
                    <a:pt x="906" y="883"/>
                    <a:pt x="908" y="883"/>
                  </a:cubicBezTo>
                  <a:close/>
                  <a:moveTo>
                    <a:pt x="874" y="892"/>
                  </a:moveTo>
                  <a:cubicBezTo>
                    <a:pt x="873" y="892"/>
                    <a:pt x="873" y="891"/>
                    <a:pt x="872" y="891"/>
                  </a:cubicBezTo>
                  <a:cubicBezTo>
                    <a:pt x="871" y="893"/>
                    <a:pt x="869" y="895"/>
                    <a:pt x="868" y="897"/>
                  </a:cubicBezTo>
                  <a:cubicBezTo>
                    <a:pt x="874" y="901"/>
                    <a:pt x="877" y="912"/>
                    <a:pt x="889" y="908"/>
                  </a:cubicBezTo>
                  <a:cubicBezTo>
                    <a:pt x="890" y="896"/>
                    <a:pt x="887" y="888"/>
                    <a:pt x="886" y="877"/>
                  </a:cubicBezTo>
                  <a:cubicBezTo>
                    <a:pt x="878" y="879"/>
                    <a:pt x="876" y="886"/>
                    <a:pt x="874" y="892"/>
                  </a:cubicBezTo>
                  <a:close/>
                  <a:moveTo>
                    <a:pt x="898" y="896"/>
                  </a:moveTo>
                  <a:cubicBezTo>
                    <a:pt x="898" y="889"/>
                    <a:pt x="899" y="881"/>
                    <a:pt x="898" y="877"/>
                  </a:cubicBezTo>
                  <a:cubicBezTo>
                    <a:pt x="896" y="877"/>
                    <a:pt x="894" y="877"/>
                    <a:pt x="892" y="877"/>
                  </a:cubicBezTo>
                  <a:cubicBezTo>
                    <a:pt x="894" y="884"/>
                    <a:pt x="895" y="891"/>
                    <a:pt x="898" y="896"/>
                  </a:cubicBezTo>
                  <a:close/>
                  <a:moveTo>
                    <a:pt x="848" y="878"/>
                  </a:moveTo>
                  <a:cubicBezTo>
                    <a:pt x="854" y="884"/>
                    <a:pt x="859" y="891"/>
                    <a:pt x="867" y="895"/>
                  </a:cubicBezTo>
                  <a:cubicBezTo>
                    <a:pt x="870" y="889"/>
                    <a:pt x="878" y="884"/>
                    <a:pt x="878" y="877"/>
                  </a:cubicBezTo>
                  <a:cubicBezTo>
                    <a:pt x="868" y="877"/>
                    <a:pt x="859" y="879"/>
                    <a:pt x="848" y="878"/>
                  </a:cubicBezTo>
                  <a:close/>
                  <a:moveTo>
                    <a:pt x="790" y="899"/>
                  </a:moveTo>
                  <a:cubicBezTo>
                    <a:pt x="784" y="902"/>
                    <a:pt x="780" y="907"/>
                    <a:pt x="775" y="913"/>
                  </a:cubicBezTo>
                  <a:cubicBezTo>
                    <a:pt x="784" y="917"/>
                    <a:pt x="801" y="912"/>
                    <a:pt x="807" y="914"/>
                  </a:cubicBezTo>
                  <a:cubicBezTo>
                    <a:pt x="814" y="904"/>
                    <a:pt x="823" y="897"/>
                    <a:pt x="831" y="888"/>
                  </a:cubicBezTo>
                  <a:cubicBezTo>
                    <a:pt x="829" y="882"/>
                    <a:pt x="820" y="875"/>
                    <a:pt x="808" y="879"/>
                  </a:cubicBezTo>
                  <a:cubicBezTo>
                    <a:pt x="802" y="884"/>
                    <a:pt x="796" y="890"/>
                    <a:pt x="791" y="896"/>
                  </a:cubicBezTo>
                  <a:cubicBezTo>
                    <a:pt x="791" y="900"/>
                    <a:pt x="797" y="902"/>
                    <a:pt x="796" y="905"/>
                  </a:cubicBezTo>
                  <a:cubicBezTo>
                    <a:pt x="792" y="904"/>
                    <a:pt x="793" y="900"/>
                    <a:pt x="790" y="899"/>
                  </a:cubicBezTo>
                  <a:close/>
                  <a:moveTo>
                    <a:pt x="833" y="885"/>
                  </a:moveTo>
                  <a:cubicBezTo>
                    <a:pt x="836" y="884"/>
                    <a:pt x="836" y="880"/>
                    <a:pt x="840" y="880"/>
                  </a:cubicBezTo>
                  <a:cubicBezTo>
                    <a:pt x="840" y="884"/>
                    <a:pt x="835" y="884"/>
                    <a:pt x="835" y="888"/>
                  </a:cubicBezTo>
                  <a:cubicBezTo>
                    <a:pt x="842" y="895"/>
                    <a:pt x="849" y="901"/>
                    <a:pt x="857" y="907"/>
                  </a:cubicBezTo>
                  <a:cubicBezTo>
                    <a:pt x="860" y="905"/>
                    <a:pt x="862" y="901"/>
                    <a:pt x="864" y="899"/>
                  </a:cubicBezTo>
                  <a:cubicBezTo>
                    <a:pt x="854" y="889"/>
                    <a:pt x="848" y="875"/>
                    <a:pt x="827" y="878"/>
                  </a:cubicBezTo>
                  <a:cubicBezTo>
                    <a:pt x="827" y="882"/>
                    <a:pt x="830" y="883"/>
                    <a:pt x="833" y="885"/>
                  </a:cubicBezTo>
                  <a:close/>
                  <a:moveTo>
                    <a:pt x="789" y="893"/>
                  </a:moveTo>
                  <a:cubicBezTo>
                    <a:pt x="794" y="888"/>
                    <a:pt x="799" y="884"/>
                    <a:pt x="803" y="879"/>
                  </a:cubicBezTo>
                  <a:cubicBezTo>
                    <a:pt x="795" y="878"/>
                    <a:pt x="787" y="879"/>
                    <a:pt x="779" y="879"/>
                  </a:cubicBezTo>
                  <a:cubicBezTo>
                    <a:pt x="775" y="885"/>
                    <a:pt x="777" y="899"/>
                    <a:pt x="775" y="907"/>
                  </a:cubicBezTo>
                  <a:cubicBezTo>
                    <a:pt x="779" y="903"/>
                    <a:pt x="784" y="899"/>
                    <a:pt x="787" y="894"/>
                  </a:cubicBezTo>
                  <a:cubicBezTo>
                    <a:pt x="784" y="890"/>
                    <a:pt x="780" y="887"/>
                    <a:pt x="779" y="883"/>
                  </a:cubicBezTo>
                  <a:cubicBezTo>
                    <a:pt x="784" y="884"/>
                    <a:pt x="784" y="892"/>
                    <a:pt x="789" y="893"/>
                  </a:cubicBezTo>
                  <a:close/>
                  <a:moveTo>
                    <a:pt x="1193" y="881"/>
                  </a:moveTo>
                  <a:cubicBezTo>
                    <a:pt x="1188" y="881"/>
                    <a:pt x="1186" y="879"/>
                    <a:pt x="1180" y="879"/>
                  </a:cubicBezTo>
                  <a:cubicBezTo>
                    <a:pt x="1179" y="881"/>
                    <a:pt x="1177" y="884"/>
                    <a:pt x="1180" y="886"/>
                  </a:cubicBezTo>
                  <a:cubicBezTo>
                    <a:pt x="1182" y="885"/>
                    <a:pt x="1182" y="883"/>
                    <a:pt x="1185" y="883"/>
                  </a:cubicBezTo>
                  <a:cubicBezTo>
                    <a:pt x="1186" y="885"/>
                    <a:pt x="1187" y="887"/>
                    <a:pt x="1185" y="888"/>
                  </a:cubicBezTo>
                  <a:cubicBezTo>
                    <a:pt x="1184" y="888"/>
                    <a:pt x="1180" y="887"/>
                    <a:pt x="1178" y="888"/>
                  </a:cubicBezTo>
                  <a:cubicBezTo>
                    <a:pt x="1178" y="892"/>
                    <a:pt x="1183" y="891"/>
                    <a:pt x="1182" y="896"/>
                  </a:cubicBezTo>
                  <a:cubicBezTo>
                    <a:pt x="1181" y="897"/>
                    <a:pt x="1180" y="896"/>
                    <a:pt x="1178" y="896"/>
                  </a:cubicBezTo>
                  <a:cubicBezTo>
                    <a:pt x="1178" y="897"/>
                    <a:pt x="1177" y="900"/>
                    <a:pt x="1178" y="901"/>
                  </a:cubicBezTo>
                  <a:cubicBezTo>
                    <a:pt x="1189" y="900"/>
                    <a:pt x="1195" y="902"/>
                    <a:pt x="1204" y="901"/>
                  </a:cubicBezTo>
                  <a:cubicBezTo>
                    <a:pt x="1205" y="895"/>
                    <a:pt x="1199" y="896"/>
                    <a:pt x="1200" y="890"/>
                  </a:cubicBezTo>
                  <a:cubicBezTo>
                    <a:pt x="1202" y="890"/>
                    <a:pt x="1202" y="892"/>
                    <a:pt x="1204" y="892"/>
                  </a:cubicBezTo>
                  <a:cubicBezTo>
                    <a:pt x="1205" y="889"/>
                    <a:pt x="1203" y="888"/>
                    <a:pt x="1202" y="886"/>
                  </a:cubicBezTo>
                  <a:cubicBezTo>
                    <a:pt x="1203" y="885"/>
                    <a:pt x="1203" y="883"/>
                    <a:pt x="1203" y="881"/>
                  </a:cubicBezTo>
                  <a:cubicBezTo>
                    <a:pt x="1200" y="880"/>
                    <a:pt x="1194" y="876"/>
                    <a:pt x="1193" y="881"/>
                  </a:cubicBezTo>
                  <a:close/>
                  <a:moveTo>
                    <a:pt x="757" y="890"/>
                  </a:moveTo>
                  <a:cubicBezTo>
                    <a:pt x="760" y="891"/>
                    <a:pt x="759" y="886"/>
                    <a:pt x="758" y="886"/>
                  </a:cubicBezTo>
                  <a:cubicBezTo>
                    <a:pt x="758" y="888"/>
                    <a:pt x="756" y="888"/>
                    <a:pt x="757" y="890"/>
                  </a:cubicBezTo>
                  <a:close/>
                  <a:moveTo>
                    <a:pt x="833" y="890"/>
                  </a:moveTo>
                  <a:cubicBezTo>
                    <a:pt x="812" y="909"/>
                    <a:pt x="794" y="930"/>
                    <a:pt x="774" y="950"/>
                  </a:cubicBezTo>
                  <a:cubicBezTo>
                    <a:pt x="811" y="948"/>
                    <a:pt x="851" y="950"/>
                    <a:pt x="895" y="948"/>
                  </a:cubicBezTo>
                  <a:cubicBezTo>
                    <a:pt x="873" y="930"/>
                    <a:pt x="854" y="908"/>
                    <a:pt x="833" y="890"/>
                  </a:cubicBezTo>
                  <a:close/>
                  <a:moveTo>
                    <a:pt x="904" y="894"/>
                  </a:moveTo>
                  <a:cubicBezTo>
                    <a:pt x="906" y="893"/>
                    <a:pt x="905" y="889"/>
                    <a:pt x="903" y="890"/>
                  </a:cubicBezTo>
                  <a:cubicBezTo>
                    <a:pt x="903" y="891"/>
                    <a:pt x="901" y="895"/>
                    <a:pt x="904" y="894"/>
                  </a:cubicBezTo>
                  <a:close/>
                  <a:moveTo>
                    <a:pt x="745" y="901"/>
                  </a:moveTo>
                  <a:cubicBezTo>
                    <a:pt x="748" y="900"/>
                    <a:pt x="751" y="897"/>
                    <a:pt x="751" y="892"/>
                  </a:cubicBezTo>
                  <a:cubicBezTo>
                    <a:pt x="743" y="889"/>
                    <a:pt x="744" y="898"/>
                    <a:pt x="745" y="901"/>
                  </a:cubicBezTo>
                  <a:close/>
                  <a:moveTo>
                    <a:pt x="772" y="896"/>
                  </a:moveTo>
                  <a:cubicBezTo>
                    <a:pt x="771" y="895"/>
                    <a:pt x="773" y="892"/>
                    <a:pt x="771" y="892"/>
                  </a:cubicBezTo>
                  <a:cubicBezTo>
                    <a:pt x="771" y="894"/>
                    <a:pt x="769" y="897"/>
                    <a:pt x="772" y="896"/>
                  </a:cubicBezTo>
                  <a:close/>
                  <a:moveTo>
                    <a:pt x="749" y="910"/>
                  </a:moveTo>
                  <a:cubicBezTo>
                    <a:pt x="752" y="912"/>
                    <a:pt x="755" y="910"/>
                    <a:pt x="760" y="911"/>
                  </a:cubicBezTo>
                  <a:cubicBezTo>
                    <a:pt x="761" y="906"/>
                    <a:pt x="760" y="897"/>
                    <a:pt x="758" y="893"/>
                  </a:cubicBezTo>
                  <a:cubicBezTo>
                    <a:pt x="752" y="896"/>
                    <a:pt x="752" y="904"/>
                    <a:pt x="749" y="910"/>
                  </a:cubicBezTo>
                  <a:close/>
                  <a:moveTo>
                    <a:pt x="1267" y="894"/>
                  </a:moveTo>
                  <a:cubicBezTo>
                    <a:pt x="1269" y="897"/>
                    <a:pt x="1266" y="900"/>
                    <a:pt x="1270" y="901"/>
                  </a:cubicBezTo>
                  <a:cubicBezTo>
                    <a:pt x="1271" y="898"/>
                    <a:pt x="1269" y="896"/>
                    <a:pt x="1269" y="893"/>
                  </a:cubicBezTo>
                  <a:cubicBezTo>
                    <a:pt x="1268" y="894"/>
                    <a:pt x="1268" y="894"/>
                    <a:pt x="1267" y="894"/>
                  </a:cubicBezTo>
                  <a:close/>
                  <a:moveTo>
                    <a:pt x="893" y="899"/>
                  </a:moveTo>
                  <a:cubicBezTo>
                    <a:pt x="896" y="900"/>
                    <a:pt x="896" y="894"/>
                    <a:pt x="893" y="895"/>
                  </a:cubicBezTo>
                  <a:cubicBezTo>
                    <a:pt x="893" y="896"/>
                    <a:pt x="893" y="897"/>
                    <a:pt x="893" y="899"/>
                  </a:cubicBezTo>
                  <a:close/>
                  <a:moveTo>
                    <a:pt x="904" y="901"/>
                  </a:moveTo>
                  <a:cubicBezTo>
                    <a:pt x="900" y="901"/>
                    <a:pt x="902" y="908"/>
                    <a:pt x="902" y="912"/>
                  </a:cubicBezTo>
                  <a:cubicBezTo>
                    <a:pt x="904" y="913"/>
                    <a:pt x="911" y="914"/>
                    <a:pt x="911" y="911"/>
                  </a:cubicBezTo>
                  <a:cubicBezTo>
                    <a:pt x="910" y="907"/>
                    <a:pt x="907" y="904"/>
                    <a:pt x="905" y="901"/>
                  </a:cubicBezTo>
                  <a:cubicBezTo>
                    <a:pt x="906" y="900"/>
                    <a:pt x="907" y="903"/>
                    <a:pt x="908" y="901"/>
                  </a:cubicBezTo>
                  <a:cubicBezTo>
                    <a:pt x="906" y="900"/>
                    <a:pt x="907" y="896"/>
                    <a:pt x="905" y="895"/>
                  </a:cubicBezTo>
                  <a:cubicBezTo>
                    <a:pt x="904" y="895"/>
                    <a:pt x="904" y="895"/>
                    <a:pt x="903" y="895"/>
                  </a:cubicBezTo>
                  <a:cubicBezTo>
                    <a:pt x="903" y="898"/>
                    <a:pt x="904" y="899"/>
                    <a:pt x="904" y="901"/>
                  </a:cubicBezTo>
                  <a:close/>
                  <a:moveTo>
                    <a:pt x="913" y="901"/>
                  </a:moveTo>
                  <a:cubicBezTo>
                    <a:pt x="912" y="899"/>
                    <a:pt x="914" y="895"/>
                    <a:pt x="911" y="896"/>
                  </a:cubicBezTo>
                  <a:cubicBezTo>
                    <a:pt x="911" y="898"/>
                    <a:pt x="910" y="901"/>
                    <a:pt x="913" y="901"/>
                  </a:cubicBezTo>
                  <a:close/>
                  <a:moveTo>
                    <a:pt x="770" y="905"/>
                  </a:moveTo>
                  <a:cubicBezTo>
                    <a:pt x="770" y="905"/>
                    <a:pt x="772" y="899"/>
                    <a:pt x="769" y="900"/>
                  </a:cubicBezTo>
                  <a:cubicBezTo>
                    <a:pt x="770" y="902"/>
                    <a:pt x="768" y="905"/>
                    <a:pt x="770" y="905"/>
                  </a:cubicBezTo>
                  <a:close/>
                  <a:moveTo>
                    <a:pt x="860" y="908"/>
                  </a:moveTo>
                  <a:cubicBezTo>
                    <a:pt x="865" y="909"/>
                    <a:pt x="870" y="909"/>
                    <a:pt x="875" y="909"/>
                  </a:cubicBezTo>
                  <a:cubicBezTo>
                    <a:pt x="873" y="905"/>
                    <a:pt x="869" y="903"/>
                    <a:pt x="865" y="900"/>
                  </a:cubicBezTo>
                  <a:cubicBezTo>
                    <a:pt x="864" y="903"/>
                    <a:pt x="861" y="904"/>
                    <a:pt x="860" y="908"/>
                  </a:cubicBezTo>
                  <a:close/>
                  <a:moveTo>
                    <a:pt x="741" y="905"/>
                  </a:moveTo>
                  <a:cubicBezTo>
                    <a:pt x="743" y="906"/>
                    <a:pt x="744" y="900"/>
                    <a:pt x="742" y="901"/>
                  </a:cubicBezTo>
                  <a:cubicBezTo>
                    <a:pt x="742" y="902"/>
                    <a:pt x="741" y="903"/>
                    <a:pt x="741" y="905"/>
                  </a:cubicBezTo>
                  <a:close/>
                  <a:moveTo>
                    <a:pt x="898" y="909"/>
                  </a:moveTo>
                  <a:cubicBezTo>
                    <a:pt x="899" y="907"/>
                    <a:pt x="897" y="903"/>
                    <a:pt x="896" y="901"/>
                  </a:cubicBezTo>
                  <a:cubicBezTo>
                    <a:pt x="894" y="903"/>
                    <a:pt x="893" y="910"/>
                    <a:pt x="898" y="909"/>
                  </a:cubicBezTo>
                  <a:close/>
                  <a:moveTo>
                    <a:pt x="1203" y="921"/>
                  </a:moveTo>
                  <a:cubicBezTo>
                    <a:pt x="1200" y="915"/>
                    <a:pt x="1196" y="909"/>
                    <a:pt x="1191" y="905"/>
                  </a:cubicBezTo>
                  <a:cubicBezTo>
                    <a:pt x="1187" y="907"/>
                    <a:pt x="1182" y="903"/>
                    <a:pt x="1177" y="905"/>
                  </a:cubicBezTo>
                  <a:cubicBezTo>
                    <a:pt x="1177" y="906"/>
                    <a:pt x="1177" y="907"/>
                    <a:pt x="1177" y="908"/>
                  </a:cubicBezTo>
                  <a:cubicBezTo>
                    <a:pt x="1180" y="909"/>
                    <a:pt x="1186" y="907"/>
                    <a:pt x="1187" y="911"/>
                  </a:cubicBezTo>
                  <a:cubicBezTo>
                    <a:pt x="1183" y="912"/>
                    <a:pt x="1177" y="908"/>
                    <a:pt x="1176" y="913"/>
                  </a:cubicBezTo>
                  <a:cubicBezTo>
                    <a:pt x="1178" y="914"/>
                    <a:pt x="1181" y="912"/>
                    <a:pt x="1183" y="915"/>
                  </a:cubicBezTo>
                  <a:cubicBezTo>
                    <a:pt x="1183" y="917"/>
                    <a:pt x="1182" y="919"/>
                    <a:pt x="1181" y="920"/>
                  </a:cubicBezTo>
                  <a:cubicBezTo>
                    <a:pt x="1181" y="918"/>
                    <a:pt x="1177" y="917"/>
                    <a:pt x="1175" y="918"/>
                  </a:cubicBezTo>
                  <a:cubicBezTo>
                    <a:pt x="1175" y="921"/>
                    <a:pt x="1177" y="921"/>
                    <a:pt x="1177" y="923"/>
                  </a:cubicBezTo>
                  <a:cubicBezTo>
                    <a:pt x="1175" y="924"/>
                    <a:pt x="1174" y="925"/>
                    <a:pt x="1174" y="929"/>
                  </a:cubicBezTo>
                  <a:cubicBezTo>
                    <a:pt x="1186" y="930"/>
                    <a:pt x="1198" y="929"/>
                    <a:pt x="1208" y="929"/>
                  </a:cubicBezTo>
                  <a:cubicBezTo>
                    <a:pt x="1209" y="924"/>
                    <a:pt x="1204" y="924"/>
                    <a:pt x="1203" y="921"/>
                  </a:cubicBezTo>
                  <a:close/>
                  <a:moveTo>
                    <a:pt x="1196" y="905"/>
                  </a:moveTo>
                  <a:cubicBezTo>
                    <a:pt x="1198" y="908"/>
                    <a:pt x="1202" y="916"/>
                    <a:pt x="1207" y="912"/>
                  </a:cubicBezTo>
                  <a:cubicBezTo>
                    <a:pt x="1206" y="912"/>
                    <a:pt x="1206" y="911"/>
                    <a:pt x="1206" y="910"/>
                  </a:cubicBezTo>
                  <a:cubicBezTo>
                    <a:pt x="1203" y="911"/>
                    <a:pt x="1202" y="910"/>
                    <a:pt x="1201" y="908"/>
                  </a:cubicBezTo>
                  <a:cubicBezTo>
                    <a:pt x="1203" y="908"/>
                    <a:pt x="1204" y="907"/>
                    <a:pt x="1206" y="907"/>
                  </a:cubicBezTo>
                  <a:cubicBezTo>
                    <a:pt x="1207" y="902"/>
                    <a:pt x="1198" y="904"/>
                    <a:pt x="1196" y="905"/>
                  </a:cubicBezTo>
                  <a:close/>
                  <a:moveTo>
                    <a:pt x="767" y="910"/>
                  </a:moveTo>
                  <a:cubicBezTo>
                    <a:pt x="767" y="909"/>
                    <a:pt x="769" y="909"/>
                    <a:pt x="769" y="909"/>
                  </a:cubicBezTo>
                  <a:cubicBezTo>
                    <a:pt x="769" y="904"/>
                    <a:pt x="763" y="908"/>
                    <a:pt x="767" y="910"/>
                  </a:cubicBezTo>
                  <a:close/>
                  <a:moveTo>
                    <a:pt x="740" y="911"/>
                  </a:moveTo>
                  <a:cubicBezTo>
                    <a:pt x="743" y="911"/>
                    <a:pt x="743" y="910"/>
                    <a:pt x="743" y="907"/>
                  </a:cubicBezTo>
                  <a:cubicBezTo>
                    <a:pt x="742" y="907"/>
                    <a:pt x="742" y="907"/>
                    <a:pt x="741" y="907"/>
                  </a:cubicBezTo>
                  <a:cubicBezTo>
                    <a:pt x="741" y="909"/>
                    <a:pt x="740" y="909"/>
                    <a:pt x="740" y="911"/>
                  </a:cubicBezTo>
                  <a:close/>
                  <a:moveTo>
                    <a:pt x="885" y="918"/>
                  </a:moveTo>
                  <a:cubicBezTo>
                    <a:pt x="884" y="910"/>
                    <a:pt x="870" y="911"/>
                    <a:pt x="861" y="912"/>
                  </a:cubicBezTo>
                  <a:cubicBezTo>
                    <a:pt x="867" y="917"/>
                    <a:pt x="871" y="924"/>
                    <a:pt x="878" y="928"/>
                  </a:cubicBezTo>
                  <a:cubicBezTo>
                    <a:pt x="880" y="924"/>
                    <a:pt x="885" y="922"/>
                    <a:pt x="885" y="918"/>
                  </a:cubicBezTo>
                  <a:close/>
                  <a:moveTo>
                    <a:pt x="741" y="933"/>
                  </a:moveTo>
                  <a:cubicBezTo>
                    <a:pt x="737" y="935"/>
                    <a:pt x="736" y="941"/>
                    <a:pt x="734" y="946"/>
                  </a:cubicBezTo>
                  <a:cubicBezTo>
                    <a:pt x="744" y="938"/>
                    <a:pt x="751" y="928"/>
                    <a:pt x="761" y="920"/>
                  </a:cubicBezTo>
                  <a:cubicBezTo>
                    <a:pt x="761" y="918"/>
                    <a:pt x="761" y="915"/>
                    <a:pt x="760" y="914"/>
                  </a:cubicBezTo>
                  <a:cubicBezTo>
                    <a:pt x="758" y="914"/>
                    <a:pt x="753" y="914"/>
                    <a:pt x="748" y="914"/>
                  </a:cubicBezTo>
                  <a:cubicBezTo>
                    <a:pt x="745" y="919"/>
                    <a:pt x="742" y="924"/>
                    <a:pt x="741" y="933"/>
                  </a:cubicBezTo>
                  <a:close/>
                  <a:moveTo>
                    <a:pt x="737" y="927"/>
                  </a:moveTo>
                  <a:cubicBezTo>
                    <a:pt x="740" y="924"/>
                    <a:pt x="740" y="918"/>
                    <a:pt x="742" y="914"/>
                  </a:cubicBezTo>
                  <a:cubicBezTo>
                    <a:pt x="742" y="914"/>
                    <a:pt x="741" y="914"/>
                    <a:pt x="740" y="914"/>
                  </a:cubicBezTo>
                  <a:cubicBezTo>
                    <a:pt x="738" y="916"/>
                    <a:pt x="736" y="921"/>
                    <a:pt x="737" y="927"/>
                  </a:cubicBezTo>
                  <a:close/>
                  <a:moveTo>
                    <a:pt x="902" y="916"/>
                  </a:moveTo>
                  <a:cubicBezTo>
                    <a:pt x="901" y="922"/>
                    <a:pt x="900" y="934"/>
                    <a:pt x="909" y="932"/>
                  </a:cubicBezTo>
                  <a:cubicBezTo>
                    <a:pt x="912" y="939"/>
                    <a:pt x="918" y="945"/>
                    <a:pt x="924" y="947"/>
                  </a:cubicBezTo>
                  <a:cubicBezTo>
                    <a:pt x="919" y="937"/>
                    <a:pt x="916" y="926"/>
                    <a:pt x="912" y="916"/>
                  </a:cubicBezTo>
                  <a:cubicBezTo>
                    <a:pt x="908" y="917"/>
                    <a:pt x="906" y="915"/>
                    <a:pt x="902" y="916"/>
                  </a:cubicBezTo>
                  <a:close/>
                  <a:moveTo>
                    <a:pt x="1267" y="922"/>
                  </a:moveTo>
                  <a:cubicBezTo>
                    <a:pt x="1268" y="922"/>
                    <a:pt x="1271" y="921"/>
                    <a:pt x="1271" y="922"/>
                  </a:cubicBezTo>
                  <a:cubicBezTo>
                    <a:pt x="1270" y="924"/>
                    <a:pt x="1269" y="924"/>
                    <a:pt x="1268" y="923"/>
                  </a:cubicBezTo>
                  <a:cubicBezTo>
                    <a:pt x="1268" y="924"/>
                    <a:pt x="1267" y="927"/>
                    <a:pt x="1269" y="927"/>
                  </a:cubicBezTo>
                  <a:cubicBezTo>
                    <a:pt x="1269" y="926"/>
                    <a:pt x="1272" y="927"/>
                    <a:pt x="1272" y="926"/>
                  </a:cubicBezTo>
                  <a:cubicBezTo>
                    <a:pt x="1271" y="922"/>
                    <a:pt x="1273" y="919"/>
                    <a:pt x="1271" y="917"/>
                  </a:cubicBezTo>
                  <a:cubicBezTo>
                    <a:pt x="1271" y="918"/>
                    <a:pt x="1270" y="919"/>
                    <a:pt x="1269" y="918"/>
                  </a:cubicBezTo>
                  <a:cubicBezTo>
                    <a:pt x="1269" y="917"/>
                    <a:pt x="1270" y="916"/>
                    <a:pt x="1268" y="916"/>
                  </a:cubicBezTo>
                  <a:cubicBezTo>
                    <a:pt x="1267" y="918"/>
                    <a:pt x="1268" y="919"/>
                    <a:pt x="1267" y="922"/>
                  </a:cubicBezTo>
                  <a:close/>
                  <a:moveTo>
                    <a:pt x="1205" y="918"/>
                  </a:moveTo>
                  <a:cubicBezTo>
                    <a:pt x="1206" y="920"/>
                    <a:pt x="1207" y="921"/>
                    <a:pt x="1208" y="922"/>
                  </a:cubicBezTo>
                  <a:cubicBezTo>
                    <a:pt x="1210" y="919"/>
                    <a:pt x="1208" y="915"/>
                    <a:pt x="1205" y="918"/>
                  </a:cubicBezTo>
                  <a:close/>
                  <a:moveTo>
                    <a:pt x="775" y="918"/>
                  </a:moveTo>
                  <a:cubicBezTo>
                    <a:pt x="776" y="924"/>
                    <a:pt x="783" y="927"/>
                    <a:pt x="783" y="932"/>
                  </a:cubicBezTo>
                  <a:cubicBezTo>
                    <a:pt x="778" y="930"/>
                    <a:pt x="778" y="923"/>
                    <a:pt x="773" y="920"/>
                  </a:cubicBezTo>
                  <a:cubicBezTo>
                    <a:pt x="773" y="925"/>
                    <a:pt x="771" y="934"/>
                    <a:pt x="773" y="937"/>
                  </a:cubicBezTo>
                  <a:cubicBezTo>
                    <a:pt x="770" y="938"/>
                    <a:pt x="770" y="948"/>
                    <a:pt x="771" y="950"/>
                  </a:cubicBezTo>
                  <a:cubicBezTo>
                    <a:pt x="775" y="945"/>
                    <a:pt x="783" y="940"/>
                    <a:pt x="783" y="933"/>
                  </a:cubicBezTo>
                  <a:cubicBezTo>
                    <a:pt x="784" y="933"/>
                    <a:pt x="786" y="933"/>
                    <a:pt x="788" y="933"/>
                  </a:cubicBezTo>
                  <a:cubicBezTo>
                    <a:pt x="791" y="928"/>
                    <a:pt x="797" y="924"/>
                    <a:pt x="801" y="918"/>
                  </a:cubicBezTo>
                  <a:cubicBezTo>
                    <a:pt x="792" y="917"/>
                    <a:pt x="787" y="919"/>
                    <a:pt x="775" y="918"/>
                  </a:cubicBezTo>
                  <a:close/>
                  <a:moveTo>
                    <a:pt x="767" y="927"/>
                  </a:moveTo>
                  <a:cubicBezTo>
                    <a:pt x="768" y="924"/>
                    <a:pt x="768" y="921"/>
                    <a:pt x="768" y="918"/>
                  </a:cubicBezTo>
                  <a:cubicBezTo>
                    <a:pt x="768" y="918"/>
                    <a:pt x="767" y="918"/>
                    <a:pt x="766" y="918"/>
                  </a:cubicBezTo>
                  <a:cubicBezTo>
                    <a:pt x="765" y="921"/>
                    <a:pt x="765" y="925"/>
                    <a:pt x="767" y="927"/>
                  </a:cubicBezTo>
                  <a:close/>
                  <a:moveTo>
                    <a:pt x="881" y="930"/>
                  </a:moveTo>
                  <a:cubicBezTo>
                    <a:pt x="884" y="929"/>
                    <a:pt x="888" y="929"/>
                    <a:pt x="893" y="929"/>
                  </a:cubicBezTo>
                  <a:cubicBezTo>
                    <a:pt x="894" y="923"/>
                    <a:pt x="890" y="920"/>
                    <a:pt x="885" y="920"/>
                  </a:cubicBezTo>
                  <a:cubicBezTo>
                    <a:pt x="885" y="925"/>
                    <a:pt x="880" y="926"/>
                    <a:pt x="881" y="930"/>
                  </a:cubicBezTo>
                  <a:close/>
                  <a:moveTo>
                    <a:pt x="1306" y="927"/>
                  </a:moveTo>
                  <a:cubicBezTo>
                    <a:pt x="1307" y="924"/>
                    <a:pt x="1304" y="923"/>
                    <a:pt x="1303" y="924"/>
                  </a:cubicBezTo>
                  <a:cubicBezTo>
                    <a:pt x="1304" y="925"/>
                    <a:pt x="1304" y="927"/>
                    <a:pt x="1306" y="927"/>
                  </a:cubicBezTo>
                  <a:close/>
                  <a:moveTo>
                    <a:pt x="734" y="951"/>
                  </a:moveTo>
                  <a:cubicBezTo>
                    <a:pt x="740" y="951"/>
                    <a:pt x="755" y="953"/>
                    <a:pt x="764" y="951"/>
                  </a:cubicBezTo>
                  <a:cubicBezTo>
                    <a:pt x="763" y="942"/>
                    <a:pt x="763" y="932"/>
                    <a:pt x="761" y="924"/>
                  </a:cubicBezTo>
                  <a:cubicBezTo>
                    <a:pt x="752" y="933"/>
                    <a:pt x="742" y="942"/>
                    <a:pt x="734" y="951"/>
                  </a:cubicBezTo>
                  <a:close/>
                  <a:moveTo>
                    <a:pt x="1267" y="933"/>
                  </a:moveTo>
                  <a:cubicBezTo>
                    <a:pt x="1270" y="934"/>
                    <a:pt x="1273" y="934"/>
                    <a:pt x="1273" y="930"/>
                  </a:cubicBezTo>
                  <a:cubicBezTo>
                    <a:pt x="1270" y="928"/>
                    <a:pt x="1265" y="929"/>
                    <a:pt x="1267" y="933"/>
                  </a:cubicBezTo>
                  <a:close/>
                  <a:moveTo>
                    <a:pt x="1303" y="935"/>
                  </a:moveTo>
                  <a:cubicBezTo>
                    <a:pt x="1304" y="935"/>
                    <a:pt x="1305" y="935"/>
                    <a:pt x="1306" y="935"/>
                  </a:cubicBezTo>
                  <a:cubicBezTo>
                    <a:pt x="1306" y="934"/>
                    <a:pt x="1307" y="934"/>
                    <a:pt x="1307" y="931"/>
                  </a:cubicBezTo>
                  <a:cubicBezTo>
                    <a:pt x="1306" y="931"/>
                    <a:pt x="1305" y="930"/>
                    <a:pt x="1303" y="931"/>
                  </a:cubicBezTo>
                  <a:cubicBezTo>
                    <a:pt x="1303" y="931"/>
                    <a:pt x="1303" y="933"/>
                    <a:pt x="1303" y="935"/>
                  </a:cubicBezTo>
                  <a:close/>
                  <a:moveTo>
                    <a:pt x="895" y="945"/>
                  </a:moveTo>
                  <a:cubicBezTo>
                    <a:pt x="895" y="940"/>
                    <a:pt x="895" y="935"/>
                    <a:pt x="893" y="931"/>
                  </a:cubicBezTo>
                  <a:cubicBezTo>
                    <a:pt x="890" y="931"/>
                    <a:pt x="886" y="931"/>
                    <a:pt x="882" y="931"/>
                  </a:cubicBezTo>
                  <a:cubicBezTo>
                    <a:pt x="885" y="937"/>
                    <a:pt x="890" y="941"/>
                    <a:pt x="895" y="945"/>
                  </a:cubicBezTo>
                  <a:close/>
                  <a:moveTo>
                    <a:pt x="1194" y="934"/>
                  </a:moveTo>
                  <a:cubicBezTo>
                    <a:pt x="1187" y="932"/>
                    <a:pt x="1178" y="929"/>
                    <a:pt x="1173" y="935"/>
                  </a:cubicBezTo>
                  <a:cubicBezTo>
                    <a:pt x="1173" y="937"/>
                    <a:pt x="1178" y="935"/>
                    <a:pt x="1178" y="938"/>
                  </a:cubicBezTo>
                  <a:cubicBezTo>
                    <a:pt x="1178" y="941"/>
                    <a:pt x="1174" y="937"/>
                    <a:pt x="1172" y="940"/>
                  </a:cubicBezTo>
                  <a:cubicBezTo>
                    <a:pt x="1172" y="941"/>
                    <a:pt x="1172" y="942"/>
                    <a:pt x="1172" y="943"/>
                  </a:cubicBezTo>
                  <a:cubicBezTo>
                    <a:pt x="1176" y="943"/>
                    <a:pt x="1179" y="941"/>
                    <a:pt x="1181" y="944"/>
                  </a:cubicBezTo>
                  <a:cubicBezTo>
                    <a:pt x="1181" y="947"/>
                    <a:pt x="1176" y="948"/>
                    <a:pt x="1173" y="946"/>
                  </a:cubicBezTo>
                  <a:cubicBezTo>
                    <a:pt x="1172" y="950"/>
                    <a:pt x="1172" y="954"/>
                    <a:pt x="1170" y="956"/>
                  </a:cubicBezTo>
                  <a:cubicBezTo>
                    <a:pt x="1183" y="958"/>
                    <a:pt x="1201" y="958"/>
                    <a:pt x="1214" y="955"/>
                  </a:cubicBezTo>
                  <a:cubicBezTo>
                    <a:pt x="1206" y="949"/>
                    <a:pt x="1199" y="943"/>
                    <a:pt x="1194" y="934"/>
                  </a:cubicBezTo>
                  <a:close/>
                  <a:moveTo>
                    <a:pt x="1202" y="937"/>
                  </a:moveTo>
                  <a:cubicBezTo>
                    <a:pt x="1204" y="940"/>
                    <a:pt x="1207" y="945"/>
                    <a:pt x="1212" y="942"/>
                  </a:cubicBezTo>
                  <a:cubicBezTo>
                    <a:pt x="1213" y="937"/>
                    <a:pt x="1206" y="940"/>
                    <a:pt x="1205" y="937"/>
                  </a:cubicBezTo>
                  <a:cubicBezTo>
                    <a:pt x="1205" y="935"/>
                    <a:pt x="1209" y="936"/>
                    <a:pt x="1211" y="937"/>
                  </a:cubicBezTo>
                  <a:cubicBezTo>
                    <a:pt x="1211" y="935"/>
                    <a:pt x="1211" y="934"/>
                    <a:pt x="1211" y="932"/>
                  </a:cubicBezTo>
                  <a:cubicBezTo>
                    <a:pt x="1207" y="931"/>
                    <a:pt x="1201" y="932"/>
                    <a:pt x="1196" y="931"/>
                  </a:cubicBezTo>
                  <a:cubicBezTo>
                    <a:pt x="1195" y="935"/>
                    <a:pt x="1199" y="935"/>
                    <a:pt x="1202" y="937"/>
                  </a:cubicBezTo>
                  <a:close/>
                  <a:moveTo>
                    <a:pt x="902" y="949"/>
                  </a:moveTo>
                  <a:cubicBezTo>
                    <a:pt x="909" y="950"/>
                    <a:pt x="915" y="952"/>
                    <a:pt x="923" y="952"/>
                  </a:cubicBezTo>
                  <a:cubicBezTo>
                    <a:pt x="916" y="946"/>
                    <a:pt x="910" y="939"/>
                    <a:pt x="902" y="933"/>
                  </a:cubicBezTo>
                  <a:cubicBezTo>
                    <a:pt x="901" y="937"/>
                    <a:pt x="902" y="946"/>
                    <a:pt x="902" y="949"/>
                  </a:cubicBezTo>
                  <a:close/>
                  <a:moveTo>
                    <a:pt x="1267" y="939"/>
                  </a:moveTo>
                  <a:cubicBezTo>
                    <a:pt x="1270" y="939"/>
                    <a:pt x="1273" y="939"/>
                    <a:pt x="1273" y="937"/>
                  </a:cubicBezTo>
                  <a:cubicBezTo>
                    <a:pt x="1272" y="935"/>
                    <a:pt x="1267" y="936"/>
                    <a:pt x="1267" y="939"/>
                  </a:cubicBezTo>
                  <a:close/>
                  <a:moveTo>
                    <a:pt x="1277" y="942"/>
                  </a:moveTo>
                  <a:cubicBezTo>
                    <a:pt x="1280" y="959"/>
                    <a:pt x="1282" y="980"/>
                    <a:pt x="1287" y="996"/>
                  </a:cubicBezTo>
                  <a:cubicBezTo>
                    <a:pt x="1289" y="996"/>
                    <a:pt x="1291" y="996"/>
                    <a:pt x="1293" y="996"/>
                  </a:cubicBezTo>
                  <a:cubicBezTo>
                    <a:pt x="1296" y="976"/>
                    <a:pt x="1297" y="958"/>
                    <a:pt x="1299" y="941"/>
                  </a:cubicBezTo>
                  <a:cubicBezTo>
                    <a:pt x="1293" y="942"/>
                    <a:pt x="1285" y="941"/>
                    <a:pt x="1277" y="942"/>
                  </a:cubicBezTo>
                  <a:close/>
                  <a:moveTo>
                    <a:pt x="1266" y="942"/>
                  </a:moveTo>
                  <a:cubicBezTo>
                    <a:pt x="1270" y="945"/>
                    <a:pt x="1261" y="951"/>
                    <a:pt x="1268" y="953"/>
                  </a:cubicBezTo>
                  <a:cubicBezTo>
                    <a:pt x="1268" y="952"/>
                    <a:pt x="1267" y="949"/>
                    <a:pt x="1269" y="949"/>
                  </a:cubicBezTo>
                  <a:cubicBezTo>
                    <a:pt x="1275" y="948"/>
                    <a:pt x="1272" y="953"/>
                    <a:pt x="1275" y="954"/>
                  </a:cubicBezTo>
                  <a:cubicBezTo>
                    <a:pt x="1276" y="948"/>
                    <a:pt x="1271" y="946"/>
                    <a:pt x="1274" y="942"/>
                  </a:cubicBezTo>
                  <a:cubicBezTo>
                    <a:pt x="1272" y="942"/>
                    <a:pt x="1268" y="942"/>
                    <a:pt x="1266" y="942"/>
                  </a:cubicBezTo>
                  <a:close/>
                  <a:moveTo>
                    <a:pt x="1310" y="943"/>
                  </a:moveTo>
                  <a:cubicBezTo>
                    <a:pt x="1313" y="953"/>
                    <a:pt x="1312" y="959"/>
                    <a:pt x="1314" y="970"/>
                  </a:cubicBezTo>
                  <a:cubicBezTo>
                    <a:pt x="1317" y="967"/>
                    <a:pt x="1318" y="957"/>
                    <a:pt x="1314" y="955"/>
                  </a:cubicBezTo>
                  <a:cubicBezTo>
                    <a:pt x="1319" y="953"/>
                    <a:pt x="1320" y="944"/>
                    <a:pt x="1317" y="941"/>
                  </a:cubicBezTo>
                  <a:cubicBezTo>
                    <a:pt x="1314" y="940"/>
                    <a:pt x="1312" y="942"/>
                    <a:pt x="1310" y="943"/>
                  </a:cubicBezTo>
                  <a:close/>
                  <a:moveTo>
                    <a:pt x="1301" y="969"/>
                  </a:moveTo>
                  <a:cubicBezTo>
                    <a:pt x="1305" y="968"/>
                    <a:pt x="1306" y="965"/>
                    <a:pt x="1310" y="965"/>
                  </a:cubicBezTo>
                  <a:cubicBezTo>
                    <a:pt x="1310" y="961"/>
                    <a:pt x="1305" y="960"/>
                    <a:pt x="1306" y="955"/>
                  </a:cubicBezTo>
                  <a:cubicBezTo>
                    <a:pt x="1307" y="955"/>
                    <a:pt x="1308" y="957"/>
                    <a:pt x="1310" y="957"/>
                  </a:cubicBezTo>
                  <a:cubicBezTo>
                    <a:pt x="1310" y="953"/>
                    <a:pt x="1307" y="950"/>
                    <a:pt x="1304" y="948"/>
                  </a:cubicBezTo>
                  <a:cubicBezTo>
                    <a:pt x="1305" y="948"/>
                    <a:pt x="1305" y="947"/>
                    <a:pt x="1305" y="946"/>
                  </a:cubicBezTo>
                  <a:cubicBezTo>
                    <a:pt x="1307" y="946"/>
                    <a:pt x="1306" y="947"/>
                    <a:pt x="1308" y="946"/>
                  </a:cubicBezTo>
                  <a:cubicBezTo>
                    <a:pt x="1308" y="945"/>
                    <a:pt x="1308" y="944"/>
                    <a:pt x="1308" y="943"/>
                  </a:cubicBezTo>
                  <a:cubicBezTo>
                    <a:pt x="1305" y="943"/>
                    <a:pt x="1304" y="942"/>
                    <a:pt x="1303" y="942"/>
                  </a:cubicBezTo>
                  <a:cubicBezTo>
                    <a:pt x="1304" y="949"/>
                    <a:pt x="1299" y="960"/>
                    <a:pt x="1301" y="969"/>
                  </a:cubicBezTo>
                  <a:close/>
                  <a:moveTo>
                    <a:pt x="1213" y="950"/>
                  </a:moveTo>
                  <a:cubicBezTo>
                    <a:pt x="1213" y="947"/>
                    <a:pt x="1212" y="945"/>
                    <a:pt x="1209" y="946"/>
                  </a:cubicBezTo>
                  <a:cubicBezTo>
                    <a:pt x="1209" y="949"/>
                    <a:pt x="1211" y="949"/>
                    <a:pt x="1213" y="950"/>
                  </a:cubicBezTo>
                  <a:close/>
                  <a:moveTo>
                    <a:pt x="1321" y="962"/>
                  </a:moveTo>
                  <a:cubicBezTo>
                    <a:pt x="1326" y="961"/>
                    <a:pt x="1322" y="952"/>
                    <a:pt x="1321" y="950"/>
                  </a:cubicBezTo>
                  <a:cubicBezTo>
                    <a:pt x="1321" y="955"/>
                    <a:pt x="1320" y="959"/>
                    <a:pt x="1321" y="962"/>
                  </a:cubicBezTo>
                  <a:close/>
                  <a:moveTo>
                    <a:pt x="1275" y="956"/>
                  </a:moveTo>
                  <a:cubicBezTo>
                    <a:pt x="1273" y="956"/>
                    <a:pt x="1269" y="952"/>
                    <a:pt x="1265" y="956"/>
                  </a:cubicBezTo>
                  <a:cubicBezTo>
                    <a:pt x="1266" y="961"/>
                    <a:pt x="1261" y="965"/>
                    <a:pt x="1265" y="968"/>
                  </a:cubicBezTo>
                  <a:cubicBezTo>
                    <a:pt x="1264" y="966"/>
                    <a:pt x="1268" y="966"/>
                    <a:pt x="1267" y="968"/>
                  </a:cubicBezTo>
                  <a:cubicBezTo>
                    <a:pt x="1266" y="970"/>
                    <a:pt x="1264" y="967"/>
                    <a:pt x="1263" y="969"/>
                  </a:cubicBezTo>
                  <a:cubicBezTo>
                    <a:pt x="1264" y="976"/>
                    <a:pt x="1264" y="981"/>
                    <a:pt x="1262" y="985"/>
                  </a:cubicBezTo>
                  <a:cubicBezTo>
                    <a:pt x="1264" y="985"/>
                    <a:pt x="1266" y="982"/>
                    <a:pt x="1267" y="985"/>
                  </a:cubicBezTo>
                  <a:cubicBezTo>
                    <a:pt x="1266" y="987"/>
                    <a:pt x="1264" y="988"/>
                    <a:pt x="1262" y="987"/>
                  </a:cubicBezTo>
                  <a:cubicBezTo>
                    <a:pt x="1262" y="991"/>
                    <a:pt x="1261" y="992"/>
                    <a:pt x="1261" y="995"/>
                  </a:cubicBezTo>
                  <a:cubicBezTo>
                    <a:pt x="1269" y="994"/>
                    <a:pt x="1275" y="995"/>
                    <a:pt x="1282" y="994"/>
                  </a:cubicBezTo>
                  <a:cubicBezTo>
                    <a:pt x="1279" y="992"/>
                    <a:pt x="1280" y="990"/>
                    <a:pt x="1279" y="987"/>
                  </a:cubicBezTo>
                  <a:cubicBezTo>
                    <a:pt x="1277" y="989"/>
                    <a:pt x="1273" y="984"/>
                    <a:pt x="1273" y="981"/>
                  </a:cubicBezTo>
                  <a:cubicBezTo>
                    <a:pt x="1270" y="981"/>
                    <a:pt x="1268" y="980"/>
                    <a:pt x="1268" y="977"/>
                  </a:cubicBezTo>
                  <a:cubicBezTo>
                    <a:pt x="1270" y="977"/>
                    <a:pt x="1274" y="977"/>
                    <a:pt x="1276" y="978"/>
                  </a:cubicBezTo>
                  <a:cubicBezTo>
                    <a:pt x="1275" y="979"/>
                    <a:pt x="1273" y="978"/>
                    <a:pt x="1273" y="981"/>
                  </a:cubicBezTo>
                  <a:cubicBezTo>
                    <a:pt x="1275" y="981"/>
                    <a:pt x="1277" y="984"/>
                    <a:pt x="1280" y="985"/>
                  </a:cubicBezTo>
                  <a:cubicBezTo>
                    <a:pt x="1281" y="982"/>
                    <a:pt x="1277" y="984"/>
                    <a:pt x="1277" y="983"/>
                  </a:cubicBezTo>
                  <a:cubicBezTo>
                    <a:pt x="1281" y="977"/>
                    <a:pt x="1275" y="972"/>
                    <a:pt x="1273" y="968"/>
                  </a:cubicBezTo>
                  <a:cubicBezTo>
                    <a:pt x="1274" y="967"/>
                    <a:pt x="1274" y="967"/>
                    <a:pt x="1275" y="966"/>
                  </a:cubicBezTo>
                  <a:cubicBezTo>
                    <a:pt x="1276" y="966"/>
                    <a:pt x="1276" y="967"/>
                    <a:pt x="1277" y="967"/>
                  </a:cubicBezTo>
                  <a:cubicBezTo>
                    <a:pt x="1276" y="964"/>
                    <a:pt x="1276" y="957"/>
                    <a:pt x="1275" y="956"/>
                  </a:cubicBezTo>
                  <a:close/>
                  <a:moveTo>
                    <a:pt x="731" y="957"/>
                  </a:moveTo>
                  <a:cubicBezTo>
                    <a:pt x="730" y="964"/>
                    <a:pt x="732" y="968"/>
                    <a:pt x="734" y="972"/>
                  </a:cubicBezTo>
                  <a:cubicBezTo>
                    <a:pt x="737" y="973"/>
                    <a:pt x="736" y="973"/>
                    <a:pt x="740" y="972"/>
                  </a:cubicBezTo>
                  <a:cubicBezTo>
                    <a:pt x="741" y="970"/>
                    <a:pt x="742" y="969"/>
                    <a:pt x="742" y="965"/>
                  </a:cubicBezTo>
                  <a:cubicBezTo>
                    <a:pt x="740" y="963"/>
                    <a:pt x="733" y="961"/>
                    <a:pt x="734" y="957"/>
                  </a:cubicBezTo>
                  <a:cubicBezTo>
                    <a:pt x="739" y="957"/>
                    <a:pt x="738" y="963"/>
                    <a:pt x="743" y="963"/>
                  </a:cubicBezTo>
                  <a:cubicBezTo>
                    <a:pt x="744" y="961"/>
                    <a:pt x="745" y="959"/>
                    <a:pt x="745" y="956"/>
                  </a:cubicBezTo>
                  <a:cubicBezTo>
                    <a:pt x="741" y="955"/>
                    <a:pt x="733" y="954"/>
                    <a:pt x="731" y="957"/>
                  </a:cubicBezTo>
                  <a:close/>
                  <a:moveTo>
                    <a:pt x="903" y="957"/>
                  </a:moveTo>
                  <a:cubicBezTo>
                    <a:pt x="903" y="962"/>
                    <a:pt x="908" y="963"/>
                    <a:pt x="907" y="970"/>
                  </a:cubicBezTo>
                  <a:cubicBezTo>
                    <a:pt x="914" y="969"/>
                    <a:pt x="913" y="960"/>
                    <a:pt x="911" y="956"/>
                  </a:cubicBezTo>
                  <a:cubicBezTo>
                    <a:pt x="907" y="956"/>
                    <a:pt x="905" y="956"/>
                    <a:pt x="903" y="957"/>
                  </a:cubicBezTo>
                  <a:close/>
                  <a:moveTo>
                    <a:pt x="920" y="961"/>
                  </a:moveTo>
                  <a:cubicBezTo>
                    <a:pt x="921" y="959"/>
                    <a:pt x="924" y="959"/>
                    <a:pt x="924" y="956"/>
                  </a:cubicBezTo>
                  <a:cubicBezTo>
                    <a:pt x="922" y="956"/>
                    <a:pt x="919" y="956"/>
                    <a:pt x="917" y="956"/>
                  </a:cubicBezTo>
                  <a:cubicBezTo>
                    <a:pt x="917" y="959"/>
                    <a:pt x="918" y="961"/>
                    <a:pt x="920" y="961"/>
                  </a:cubicBezTo>
                  <a:close/>
                  <a:moveTo>
                    <a:pt x="757" y="974"/>
                  </a:moveTo>
                  <a:cubicBezTo>
                    <a:pt x="760" y="969"/>
                    <a:pt x="761" y="962"/>
                    <a:pt x="764" y="958"/>
                  </a:cubicBezTo>
                  <a:cubicBezTo>
                    <a:pt x="761" y="957"/>
                    <a:pt x="755" y="958"/>
                    <a:pt x="751" y="957"/>
                  </a:cubicBezTo>
                  <a:cubicBezTo>
                    <a:pt x="751" y="962"/>
                    <a:pt x="750" y="974"/>
                    <a:pt x="757" y="974"/>
                  </a:cubicBezTo>
                  <a:close/>
                  <a:moveTo>
                    <a:pt x="832" y="971"/>
                  </a:moveTo>
                  <a:cubicBezTo>
                    <a:pt x="835" y="967"/>
                    <a:pt x="841" y="961"/>
                    <a:pt x="842" y="957"/>
                  </a:cubicBezTo>
                  <a:cubicBezTo>
                    <a:pt x="835" y="957"/>
                    <a:pt x="826" y="958"/>
                    <a:pt x="820" y="957"/>
                  </a:cubicBezTo>
                  <a:cubicBezTo>
                    <a:pt x="823" y="963"/>
                    <a:pt x="827" y="967"/>
                    <a:pt x="832" y="971"/>
                  </a:cubicBezTo>
                  <a:close/>
                  <a:moveTo>
                    <a:pt x="851" y="957"/>
                  </a:moveTo>
                  <a:cubicBezTo>
                    <a:pt x="856" y="964"/>
                    <a:pt x="861" y="970"/>
                    <a:pt x="867" y="975"/>
                  </a:cubicBezTo>
                  <a:cubicBezTo>
                    <a:pt x="875" y="970"/>
                    <a:pt x="882" y="964"/>
                    <a:pt x="889" y="957"/>
                  </a:cubicBezTo>
                  <a:cubicBezTo>
                    <a:pt x="878" y="957"/>
                    <a:pt x="863" y="958"/>
                    <a:pt x="851" y="957"/>
                  </a:cubicBezTo>
                  <a:close/>
                  <a:moveTo>
                    <a:pt x="878" y="971"/>
                  </a:moveTo>
                  <a:cubicBezTo>
                    <a:pt x="885" y="971"/>
                    <a:pt x="892" y="971"/>
                    <a:pt x="899" y="971"/>
                  </a:cubicBezTo>
                  <a:cubicBezTo>
                    <a:pt x="898" y="966"/>
                    <a:pt x="899" y="960"/>
                    <a:pt x="897" y="957"/>
                  </a:cubicBezTo>
                  <a:cubicBezTo>
                    <a:pt x="889" y="960"/>
                    <a:pt x="884" y="965"/>
                    <a:pt x="878" y="971"/>
                  </a:cubicBezTo>
                  <a:close/>
                  <a:moveTo>
                    <a:pt x="771" y="959"/>
                  </a:moveTo>
                  <a:cubicBezTo>
                    <a:pt x="780" y="962"/>
                    <a:pt x="783" y="971"/>
                    <a:pt x="793" y="974"/>
                  </a:cubicBezTo>
                  <a:cubicBezTo>
                    <a:pt x="798" y="968"/>
                    <a:pt x="802" y="963"/>
                    <a:pt x="807" y="957"/>
                  </a:cubicBezTo>
                  <a:cubicBezTo>
                    <a:pt x="795" y="958"/>
                    <a:pt x="780" y="956"/>
                    <a:pt x="771" y="959"/>
                  </a:cubicBezTo>
                  <a:close/>
                  <a:moveTo>
                    <a:pt x="811" y="957"/>
                  </a:moveTo>
                  <a:cubicBezTo>
                    <a:pt x="805" y="963"/>
                    <a:pt x="799" y="972"/>
                    <a:pt x="795" y="977"/>
                  </a:cubicBezTo>
                  <a:cubicBezTo>
                    <a:pt x="802" y="982"/>
                    <a:pt x="808" y="988"/>
                    <a:pt x="816" y="992"/>
                  </a:cubicBezTo>
                  <a:cubicBezTo>
                    <a:pt x="820" y="986"/>
                    <a:pt x="826" y="981"/>
                    <a:pt x="829" y="974"/>
                  </a:cubicBezTo>
                  <a:cubicBezTo>
                    <a:pt x="825" y="968"/>
                    <a:pt x="820" y="963"/>
                    <a:pt x="816" y="957"/>
                  </a:cubicBezTo>
                  <a:cubicBezTo>
                    <a:pt x="815" y="958"/>
                    <a:pt x="811" y="957"/>
                    <a:pt x="811" y="957"/>
                  </a:cubicBezTo>
                  <a:close/>
                  <a:moveTo>
                    <a:pt x="846" y="958"/>
                  </a:moveTo>
                  <a:cubicBezTo>
                    <a:pt x="843" y="963"/>
                    <a:pt x="834" y="968"/>
                    <a:pt x="834" y="974"/>
                  </a:cubicBezTo>
                  <a:cubicBezTo>
                    <a:pt x="834" y="981"/>
                    <a:pt x="844" y="985"/>
                    <a:pt x="848" y="991"/>
                  </a:cubicBezTo>
                  <a:cubicBezTo>
                    <a:pt x="853" y="987"/>
                    <a:pt x="859" y="982"/>
                    <a:pt x="864" y="978"/>
                  </a:cubicBezTo>
                  <a:cubicBezTo>
                    <a:pt x="858" y="971"/>
                    <a:pt x="853" y="963"/>
                    <a:pt x="846" y="958"/>
                  </a:cubicBezTo>
                  <a:close/>
                  <a:moveTo>
                    <a:pt x="920" y="962"/>
                  </a:moveTo>
                  <a:cubicBezTo>
                    <a:pt x="921" y="966"/>
                    <a:pt x="921" y="970"/>
                    <a:pt x="922" y="973"/>
                  </a:cubicBezTo>
                  <a:cubicBezTo>
                    <a:pt x="924" y="973"/>
                    <a:pt x="925" y="973"/>
                    <a:pt x="927" y="972"/>
                  </a:cubicBezTo>
                  <a:cubicBezTo>
                    <a:pt x="925" y="969"/>
                    <a:pt x="929" y="959"/>
                    <a:pt x="924" y="958"/>
                  </a:cubicBezTo>
                  <a:cubicBezTo>
                    <a:pt x="925" y="961"/>
                    <a:pt x="921" y="960"/>
                    <a:pt x="920" y="962"/>
                  </a:cubicBezTo>
                  <a:close/>
                  <a:moveTo>
                    <a:pt x="768" y="974"/>
                  </a:moveTo>
                  <a:cubicBezTo>
                    <a:pt x="772" y="974"/>
                    <a:pt x="784" y="975"/>
                    <a:pt x="786" y="974"/>
                  </a:cubicBezTo>
                  <a:cubicBezTo>
                    <a:pt x="781" y="968"/>
                    <a:pt x="775" y="964"/>
                    <a:pt x="769" y="960"/>
                  </a:cubicBezTo>
                  <a:cubicBezTo>
                    <a:pt x="768" y="964"/>
                    <a:pt x="768" y="969"/>
                    <a:pt x="768" y="974"/>
                  </a:cubicBezTo>
                  <a:close/>
                  <a:moveTo>
                    <a:pt x="1195" y="962"/>
                  </a:moveTo>
                  <a:cubicBezTo>
                    <a:pt x="1188" y="961"/>
                    <a:pt x="1177" y="959"/>
                    <a:pt x="1170" y="962"/>
                  </a:cubicBezTo>
                  <a:cubicBezTo>
                    <a:pt x="1169" y="965"/>
                    <a:pt x="1171" y="965"/>
                    <a:pt x="1171" y="968"/>
                  </a:cubicBezTo>
                  <a:cubicBezTo>
                    <a:pt x="1168" y="967"/>
                    <a:pt x="1168" y="970"/>
                    <a:pt x="1169" y="971"/>
                  </a:cubicBezTo>
                  <a:cubicBezTo>
                    <a:pt x="1172" y="973"/>
                    <a:pt x="1180" y="968"/>
                    <a:pt x="1180" y="974"/>
                  </a:cubicBezTo>
                  <a:cubicBezTo>
                    <a:pt x="1177" y="975"/>
                    <a:pt x="1173" y="976"/>
                    <a:pt x="1169" y="975"/>
                  </a:cubicBezTo>
                  <a:cubicBezTo>
                    <a:pt x="1169" y="978"/>
                    <a:pt x="1168" y="983"/>
                    <a:pt x="1168" y="985"/>
                  </a:cubicBezTo>
                  <a:cubicBezTo>
                    <a:pt x="1177" y="986"/>
                    <a:pt x="1188" y="985"/>
                    <a:pt x="1199" y="985"/>
                  </a:cubicBezTo>
                  <a:cubicBezTo>
                    <a:pt x="1206" y="985"/>
                    <a:pt x="1214" y="987"/>
                    <a:pt x="1219" y="983"/>
                  </a:cubicBezTo>
                  <a:cubicBezTo>
                    <a:pt x="1216" y="981"/>
                    <a:pt x="1211" y="981"/>
                    <a:pt x="1211" y="976"/>
                  </a:cubicBezTo>
                  <a:cubicBezTo>
                    <a:pt x="1204" y="974"/>
                    <a:pt x="1200" y="966"/>
                    <a:pt x="1197" y="963"/>
                  </a:cubicBezTo>
                  <a:cubicBezTo>
                    <a:pt x="1202" y="965"/>
                    <a:pt x="1210" y="975"/>
                    <a:pt x="1217" y="969"/>
                  </a:cubicBezTo>
                  <a:cubicBezTo>
                    <a:pt x="1215" y="966"/>
                    <a:pt x="1211" y="970"/>
                    <a:pt x="1211" y="965"/>
                  </a:cubicBezTo>
                  <a:cubicBezTo>
                    <a:pt x="1212" y="962"/>
                    <a:pt x="1216" y="967"/>
                    <a:pt x="1216" y="963"/>
                  </a:cubicBezTo>
                  <a:cubicBezTo>
                    <a:pt x="1212" y="959"/>
                    <a:pt x="1199" y="959"/>
                    <a:pt x="1195" y="962"/>
                  </a:cubicBezTo>
                  <a:close/>
                  <a:moveTo>
                    <a:pt x="1320" y="968"/>
                  </a:moveTo>
                  <a:cubicBezTo>
                    <a:pt x="1322" y="969"/>
                    <a:pt x="1324" y="970"/>
                    <a:pt x="1325" y="972"/>
                  </a:cubicBezTo>
                  <a:cubicBezTo>
                    <a:pt x="1326" y="967"/>
                    <a:pt x="1325" y="964"/>
                    <a:pt x="1321" y="964"/>
                  </a:cubicBezTo>
                  <a:cubicBezTo>
                    <a:pt x="1321" y="966"/>
                    <a:pt x="1319" y="966"/>
                    <a:pt x="1320" y="968"/>
                  </a:cubicBezTo>
                  <a:close/>
                  <a:moveTo>
                    <a:pt x="762" y="975"/>
                  </a:moveTo>
                  <a:cubicBezTo>
                    <a:pt x="764" y="973"/>
                    <a:pt x="766" y="967"/>
                    <a:pt x="763" y="965"/>
                  </a:cubicBezTo>
                  <a:cubicBezTo>
                    <a:pt x="763" y="968"/>
                    <a:pt x="759" y="973"/>
                    <a:pt x="762" y="975"/>
                  </a:cubicBezTo>
                  <a:close/>
                  <a:moveTo>
                    <a:pt x="904" y="972"/>
                  </a:moveTo>
                  <a:cubicBezTo>
                    <a:pt x="906" y="970"/>
                    <a:pt x="906" y="966"/>
                    <a:pt x="903" y="966"/>
                  </a:cubicBezTo>
                  <a:cubicBezTo>
                    <a:pt x="903" y="968"/>
                    <a:pt x="903" y="971"/>
                    <a:pt x="904" y="972"/>
                  </a:cubicBezTo>
                  <a:close/>
                  <a:moveTo>
                    <a:pt x="1313" y="978"/>
                  </a:moveTo>
                  <a:cubicBezTo>
                    <a:pt x="1309" y="978"/>
                    <a:pt x="1309" y="972"/>
                    <a:pt x="1310" y="969"/>
                  </a:cubicBezTo>
                  <a:cubicBezTo>
                    <a:pt x="1308" y="970"/>
                    <a:pt x="1307" y="969"/>
                    <a:pt x="1304" y="969"/>
                  </a:cubicBezTo>
                  <a:cubicBezTo>
                    <a:pt x="1305" y="972"/>
                    <a:pt x="1303" y="973"/>
                    <a:pt x="1299" y="973"/>
                  </a:cubicBezTo>
                  <a:cubicBezTo>
                    <a:pt x="1299" y="982"/>
                    <a:pt x="1296" y="989"/>
                    <a:pt x="1298" y="996"/>
                  </a:cubicBezTo>
                  <a:cubicBezTo>
                    <a:pt x="1304" y="997"/>
                    <a:pt x="1307" y="995"/>
                    <a:pt x="1312" y="996"/>
                  </a:cubicBezTo>
                  <a:cubicBezTo>
                    <a:pt x="1314" y="991"/>
                    <a:pt x="1312" y="985"/>
                    <a:pt x="1313" y="978"/>
                  </a:cubicBezTo>
                  <a:close/>
                  <a:moveTo>
                    <a:pt x="909" y="971"/>
                  </a:moveTo>
                  <a:cubicBezTo>
                    <a:pt x="910" y="973"/>
                    <a:pt x="909" y="977"/>
                    <a:pt x="913" y="977"/>
                  </a:cubicBezTo>
                  <a:cubicBezTo>
                    <a:pt x="911" y="974"/>
                    <a:pt x="914" y="971"/>
                    <a:pt x="911" y="970"/>
                  </a:cubicBezTo>
                  <a:cubicBezTo>
                    <a:pt x="911" y="970"/>
                    <a:pt x="910" y="971"/>
                    <a:pt x="909" y="971"/>
                  </a:cubicBezTo>
                  <a:close/>
                  <a:moveTo>
                    <a:pt x="1421" y="972"/>
                  </a:moveTo>
                  <a:cubicBezTo>
                    <a:pt x="1421" y="974"/>
                    <a:pt x="1423" y="973"/>
                    <a:pt x="1423" y="976"/>
                  </a:cubicBezTo>
                  <a:cubicBezTo>
                    <a:pt x="1419" y="978"/>
                    <a:pt x="1419" y="986"/>
                    <a:pt x="1420" y="991"/>
                  </a:cubicBezTo>
                  <a:cubicBezTo>
                    <a:pt x="1422" y="991"/>
                    <a:pt x="1422" y="992"/>
                    <a:pt x="1424" y="992"/>
                  </a:cubicBezTo>
                  <a:cubicBezTo>
                    <a:pt x="1425" y="990"/>
                    <a:pt x="1425" y="987"/>
                    <a:pt x="1429" y="988"/>
                  </a:cubicBezTo>
                  <a:cubicBezTo>
                    <a:pt x="1425" y="983"/>
                    <a:pt x="1428" y="977"/>
                    <a:pt x="1428" y="970"/>
                  </a:cubicBezTo>
                  <a:cubicBezTo>
                    <a:pt x="1424" y="969"/>
                    <a:pt x="1422" y="970"/>
                    <a:pt x="1421" y="972"/>
                  </a:cubicBezTo>
                  <a:close/>
                  <a:moveTo>
                    <a:pt x="1320" y="989"/>
                  </a:moveTo>
                  <a:cubicBezTo>
                    <a:pt x="1323" y="986"/>
                    <a:pt x="1324" y="983"/>
                    <a:pt x="1321" y="978"/>
                  </a:cubicBezTo>
                  <a:cubicBezTo>
                    <a:pt x="1323" y="978"/>
                    <a:pt x="1324" y="977"/>
                    <a:pt x="1325" y="979"/>
                  </a:cubicBezTo>
                  <a:cubicBezTo>
                    <a:pt x="1326" y="974"/>
                    <a:pt x="1323" y="973"/>
                    <a:pt x="1319" y="972"/>
                  </a:cubicBezTo>
                  <a:cubicBezTo>
                    <a:pt x="1319" y="979"/>
                    <a:pt x="1317" y="984"/>
                    <a:pt x="1320" y="989"/>
                  </a:cubicBezTo>
                  <a:close/>
                  <a:moveTo>
                    <a:pt x="879" y="973"/>
                  </a:moveTo>
                  <a:cubicBezTo>
                    <a:pt x="882" y="978"/>
                    <a:pt x="888" y="980"/>
                    <a:pt x="893" y="983"/>
                  </a:cubicBezTo>
                  <a:cubicBezTo>
                    <a:pt x="895" y="982"/>
                    <a:pt x="896" y="977"/>
                    <a:pt x="900" y="979"/>
                  </a:cubicBezTo>
                  <a:cubicBezTo>
                    <a:pt x="902" y="968"/>
                    <a:pt x="887" y="975"/>
                    <a:pt x="879" y="973"/>
                  </a:cubicBezTo>
                  <a:close/>
                  <a:moveTo>
                    <a:pt x="727" y="988"/>
                  </a:moveTo>
                  <a:cubicBezTo>
                    <a:pt x="730" y="989"/>
                    <a:pt x="729" y="984"/>
                    <a:pt x="732" y="986"/>
                  </a:cubicBezTo>
                  <a:cubicBezTo>
                    <a:pt x="732" y="984"/>
                    <a:pt x="733" y="983"/>
                    <a:pt x="734" y="982"/>
                  </a:cubicBezTo>
                  <a:cubicBezTo>
                    <a:pt x="735" y="982"/>
                    <a:pt x="734" y="984"/>
                    <a:pt x="736" y="984"/>
                  </a:cubicBezTo>
                  <a:cubicBezTo>
                    <a:pt x="737" y="981"/>
                    <a:pt x="739" y="979"/>
                    <a:pt x="739" y="975"/>
                  </a:cubicBezTo>
                  <a:cubicBezTo>
                    <a:pt x="737" y="975"/>
                    <a:pt x="737" y="974"/>
                    <a:pt x="734" y="974"/>
                  </a:cubicBezTo>
                  <a:cubicBezTo>
                    <a:pt x="734" y="982"/>
                    <a:pt x="728" y="983"/>
                    <a:pt x="727" y="988"/>
                  </a:cubicBezTo>
                  <a:close/>
                  <a:moveTo>
                    <a:pt x="745" y="978"/>
                  </a:moveTo>
                  <a:cubicBezTo>
                    <a:pt x="745" y="977"/>
                    <a:pt x="747" y="977"/>
                    <a:pt x="747" y="975"/>
                  </a:cubicBezTo>
                  <a:cubicBezTo>
                    <a:pt x="745" y="973"/>
                    <a:pt x="741" y="978"/>
                    <a:pt x="745" y="978"/>
                  </a:cubicBezTo>
                  <a:close/>
                  <a:moveTo>
                    <a:pt x="920" y="982"/>
                  </a:moveTo>
                  <a:cubicBezTo>
                    <a:pt x="919" y="979"/>
                    <a:pt x="919" y="976"/>
                    <a:pt x="917" y="974"/>
                  </a:cubicBezTo>
                  <a:cubicBezTo>
                    <a:pt x="916" y="977"/>
                    <a:pt x="917" y="982"/>
                    <a:pt x="920" y="982"/>
                  </a:cubicBezTo>
                  <a:close/>
                  <a:moveTo>
                    <a:pt x="927" y="985"/>
                  </a:moveTo>
                  <a:cubicBezTo>
                    <a:pt x="926" y="982"/>
                    <a:pt x="927" y="978"/>
                    <a:pt x="926" y="975"/>
                  </a:cubicBezTo>
                  <a:cubicBezTo>
                    <a:pt x="925" y="975"/>
                    <a:pt x="924" y="975"/>
                    <a:pt x="924" y="974"/>
                  </a:cubicBezTo>
                  <a:cubicBezTo>
                    <a:pt x="924" y="978"/>
                    <a:pt x="924" y="983"/>
                    <a:pt x="927" y="985"/>
                  </a:cubicBezTo>
                  <a:close/>
                  <a:moveTo>
                    <a:pt x="729" y="980"/>
                  </a:moveTo>
                  <a:cubicBezTo>
                    <a:pt x="728" y="977"/>
                    <a:pt x="730" y="977"/>
                    <a:pt x="730" y="975"/>
                  </a:cubicBezTo>
                  <a:cubicBezTo>
                    <a:pt x="729" y="975"/>
                    <a:pt x="728" y="975"/>
                    <a:pt x="727" y="975"/>
                  </a:cubicBezTo>
                  <a:cubicBezTo>
                    <a:pt x="728" y="978"/>
                    <a:pt x="726" y="979"/>
                    <a:pt x="729" y="980"/>
                  </a:cubicBezTo>
                  <a:close/>
                  <a:moveTo>
                    <a:pt x="877" y="975"/>
                  </a:moveTo>
                  <a:cubicBezTo>
                    <a:pt x="873" y="975"/>
                    <a:pt x="872" y="975"/>
                    <a:pt x="869" y="977"/>
                  </a:cubicBezTo>
                  <a:cubicBezTo>
                    <a:pt x="872" y="983"/>
                    <a:pt x="877" y="987"/>
                    <a:pt x="882" y="991"/>
                  </a:cubicBezTo>
                  <a:cubicBezTo>
                    <a:pt x="885" y="990"/>
                    <a:pt x="887" y="988"/>
                    <a:pt x="889" y="985"/>
                  </a:cubicBezTo>
                  <a:cubicBezTo>
                    <a:pt x="888" y="980"/>
                    <a:pt x="880" y="980"/>
                    <a:pt x="877" y="975"/>
                  </a:cubicBezTo>
                  <a:close/>
                  <a:moveTo>
                    <a:pt x="1211" y="976"/>
                  </a:moveTo>
                  <a:cubicBezTo>
                    <a:pt x="1213" y="977"/>
                    <a:pt x="1216" y="978"/>
                    <a:pt x="1218" y="978"/>
                  </a:cubicBezTo>
                  <a:cubicBezTo>
                    <a:pt x="1220" y="974"/>
                    <a:pt x="1212" y="974"/>
                    <a:pt x="1211" y="976"/>
                  </a:cubicBezTo>
                  <a:close/>
                  <a:moveTo>
                    <a:pt x="753" y="993"/>
                  </a:moveTo>
                  <a:cubicBezTo>
                    <a:pt x="757" y="993"/>
                    <a:pt x="756" y="987"/>
                    <a:pt x="758" y="985"/>
                  </a:cubicBezTo>
                  <a:cubicBezTo>
                    <a:pt x="758" y="987"/>
                    <a:pt x="755" y="993"/>
                    <a:pt x="760" y="992"/>
                  </a:cubicBezTo>
                  <a:cubicBezTo>
                    <a:pt x="760" y="990"/>
                    <a:pt x="762" y="987"/>
                    <a:pt x="762" y="983"/>
                  </a:cubicBezTo>
                  <a:cubicBezTo>
                    <a:pt x="759" y="983"/>
                    <a:pt x="759" y="981"/>
                    <a:pt x="758" y="981"/>
                  </a:cubicBezTo>
                  <a:cubicBezTo>
                    <a:pt x="757" y="982"/>
                    <a:pt x="757" y="984"/>
                    <a:pt x="755" y="983"/>
                  </a:cubicBezTo>
                  <a:cubicBezTo>
                    <a:pt x="753" y="981"/>
                    <a:pt x="756" y="979"/>
                    <a:pt x="755" y="976"/>
                  </a:cubicBezTo>
                  <a:cubicBezTo>
                    <a:pt x="755" y="976"/>
                    <a:pt x="755" y="976"/>
                    <a:pt x="753" y="976"/>
                  </a:cubicBezTo>
                  <a:cubicBezTo>
                    <a:pt x="752" y="982"/>
                    <a:pt x="756" y="987"/>
                    <a:pt x="753" y="993"/>
                  </a:cubicBezTo>
                  <a:close/>
                  <a:moveTo>
                    <a:pt x="761" y="979"/>
                  </a:moveTo>
                  <a:cubicBezTo>
                    <a:pt x="764" y="980"/>
                    <a:pt x="764" y="976"/>
                    <a:pt x="761" y="976"/>
                  </a:cubicBezTo>
                  <a:cubicBezTo>
                    <a:pt x="761" y="977"/>
                    <a:pt x="761" y="978"/>
                    <a:pt x="761" y="979"/>
                  </a:cubicBezTo>
                  <a:close/>
                  <a:moveTo>
                    <a:pt x="768" y="986"/>
                  </a:moveTo>
                  <a:cubicBezTo>
                    <a:pt x="766" y="986"/>
                    <a:pt x="765" y="987"/>
                    <a:pt x="766" y="989"/>
                  </a:cubicBezTo>
                  <a:cubicBezTo>
                    <a:pt x="767" y="991"/>
                    <a:pt x="772" y="994"/>
                    <a:pt x="773" y="990"/>
                  </a:cubicBezTo>
                  <a:cubicBezTo>
                    <a:pt x="770" y="990"/>
                    <a:pt x="770" y="991"/>
                    <a:pt x="768" y="990"/>
                  </a:cubicBezTo>
                  <a:cubicBezTo>
                    <a:pt x="769" y="989"/>
                    <a:pt x="768" y="986"/>
                    <a:pt x="769" y="985"/>
                  </a:cubicBezTo>
                  <a:cubicBezTo>
                    <a:pt x="775" y="989"/>
                    <a:pt x="780" y="978"/>
                    <a:pt x="786" y="979"/>
                  </a:cubicBezTo>
                  <a:cubicBezTo>
                    <a:pt x="782" y="983"/>
                    <a:pt x="778" y="985"/>
                    <a:pt x="774" y="987"/>
                  </a:cubicBezTo>
                  <a:cubicBezTo>
                    <a:pt x="774" y="990"/>
                    <a:pt x="775" y="991"/>
                    <a:pt x="778" y="991"/>
                  </a:cubicBezTo>
                  <a:cubicBezTo>
                    <a:pt x="782" y="987"/>
                    <a:pt x="786" y="983"/>
                    <a:pt x="789" y="978"/>
                  </a:cubicBezTo>
                  <a:cubicBezTo>
                    <a:pt x="783" y="976"/>
                    <a:pt x="775" y="976"/>
                    <a:pt x="768" y="976"/>
                  </a:cubicBezTo>
                  <a:cubicBezTo>
                    <a:pt x="766" y="980"/>
                    <a:pt x="767" y="983"/>
                    <a:pt x="768" y="986"/>
                  </a:cubicBezTo>
                  <a:close/>
                  <a:moveTo>
                    <a:pt x="782" y="992"/>
                  </a:moveTo>
                  <a:cubicBezTo>
                    <a:pt x="791" y="991"/>
                    <a:pt x="803" y="994"/>
                    <a:pt x="810" y="991"/>
                  </a:cubicBezTo>
                  <a:cubicBezTo>
                    <a:pt x="804" y="987"/>
                    <a:pt x="799" y="982"/>
                    <a:pt x="793" y="978"/>
                  </a:cubicBezTo>
                  <a:cubicBezTo>
                    <a:pt x="790" y="984"/>
                    <a:pt x="785" y="987"/>
                    <a:pt x="782" y="992"/>
                  </a:cubicBezTo>
                  <a:close/>
                  <a:moveTo>
                    <a:pt x="738" y="991"/>
                  </a:moveTo>
                  <a:cubicBezTo>
                    <a:pt x="740" y="993"/>
                    <a:pt x="744" y="992"/>
                    <a:pt x="747" y="992"/>
                  </a:cubicBezTo>
                  <a:cubicBezTo>
                    <a:pt x="749" y="989"/>
                    <a:pt x="746" y="985"/>
                    <a:pt x="747" y="979"/>
                  </a:cubicBezTo>
                  <a:cubicBezTo>
                    <a:pt x="741" y="980"/>
                    <a:pt x="741" y="987"/>
                    <a:pt x="738" y="991"/>
                  </a:cubicBezTo>
                  <a:close/>
                  <a:moveTo>
                    <a:pt x="907" y="991"/>
                  </a:moveTo>
                  <a:cubicBezTo>
                    <a:pt x="909" y="991"/>
                    <a:pt x="912" y="991"/>
                    <a:pt x="913" y="990"/>
                  </a:cubicBezTo>
                  <a:cubicBezTo>
                    <a:pt x="912" y="985"/>
                    <a:pt x="908" y="982"/>
                    <a:pt x="907" y="979"/>
                  </a:cubicBezTo>
                  <a:cubicBezTo>
                    <a:pt x="906" y="983"/>
                    <a:pt x="908" y="988"/>
                    <a:pt x="907" y="991"/>
                  </a:cubicBezTo>
                  <a:close/>
                  <a:moveTo>
                    <a:pt x="865" y="980"/>
                  </a:moveTo>
                  <a:cubicBezTo>
                    <a:pt x="862" y="984"/>
                    <a:pt x="856" y="986"/>
                    <a:pt x="854" y="991"/>
                  </a:cubicBezTo>
                  <a:cubicBezTo>
                    <a:pt x="860" y="990"/>
                    <a:pt x="868" y="992"/>
                    <a:pt x="874" y="990"/>
                  </a:cubicBezTo>
                  <a:cubicBezTo>
                    <a:pt x="873" y="985"/>
                    <a:pt x="869" y="983"/>
                    <a:pt x="865" y="980"/>
                  </a:cubicBezTo>
                  <a:close/>
                  <a:moveTo>
                    <a:pt x="895" y="985"/>
                  </a:moveTo>
                  <a:cubicBezTo>
                    <a:pt x="898" y="985"/>
                    <a:pt x="898" y="988"/>
                    <a:pt x="902" y="988"/>
                  </a:cubicBezTo>
                  <a:cubicBezTo>
                    <a:pt x="902" y="980"/>
                    <a:pt x="898" y="978"/>
                    <a:pt x="895" y="985"/>
                  </a:cubicBezTo>
                  <a:close/>
                  <a:moveTo>
                    <a:pt x="1350" y="985"/>
                  </a:moveTo>
                  <a:cubicBezTo>
                    <a:pt x="1350" y="983"/>
                    <a:pt x="1351" y="980"/>
                    <a:pt x="1349" y="980"/>
                  </a:cubicBezTo>
                  <a:cubicBezTo>
                    <a:pt x="1349" y="983"/>
                    <a:pt x="1347" y="984"/>
                    <a:pt x="1350" y="985"/>
                  </a:cubicBezTo>
                  <a:close/>
                  <a:moveTo>
                    <a:pt x="1163" y="986"/>
                  </a:moveTo>
                  <a:cubicBezTo>
                    <a:pt x="1163" y="985"/>
                    <a:pt x="1165" y="981"/>
                    <a:pt x="1162" y="981"/>
                  </a:cubicBezTo>
                  <a:cubicBezTo>
                    <a:pt x="1162" y="983"/>
                    <a:pt x="1161" y="986"/>
                    <a:pt x="1163" y="986"/>
                  </a:cubicBezTo>
                  <a:close/>
                  <a:moveTo>
                    <a:pt x="919" y="992"/>
                  </a:moveTo>
                  <a:cubicBezTo>
                    <a:pt x="919" y="991"/>
                    <a:pt x="922" y="992"/>
                    <a:pt x="923" y="991"/>
                  </a:cubicBezTo>
                  <a:cubicBezTo>
                    <a:pt x="923" y="987"/>
                    <a:pt x="921" y="985"/>
                    <a:pt x="917" y="985"/>
                  </a:cubicBezTo>
                  <a:cubicBezTo>
                    <a:pt x="916" y="987"/>
                    <a:pt x="916" y="992"/>
                    <a:pt x="919" y="992"/>
                  </a:cubicBezTo>
                  <a:close/>
                  <a:moveTo>
                    <a:pt x="887" y="989"/>
                  </a:moveTo>
                  <a:cubicBezTo>
                    <a:pt x="888" y="994"/>
                    <a:pt x="895" y="989"/>
                    <a:pt x="899" y="991"/>
                  </a:cubicBezTo>
                  <a:cubicBezTo>
                    <a:pt x="897" y="985"/>
                    <a:pt x="892" y="986"/>
                    <a:pt x="887" y="989"/>
                  </a:cubicBezTo>
                  <a:close/>
                  <a:moveTo>
                    <a:pt x="730" y="991"/>
                  </a:moveTo>
                  <a:cubicBezTo>
                    <a:pt x="730" y="992"/>
                    <a:pt x="731" y="992"/>
                    <a:pt x="733" y="992"/>
                  </a:cubicBezTo>
                  <a:cubicBezTo>
                    <a:pt x="733" y="991"/>
                    <a:pt x="733" y="990"/>
                    <a:pt x="734" y="989"/>
                  </a:cubicBezTo>
                  <a:cubicBezTo>
                    <a:pt x="733" y="989"/>
                    <a:pt x="732" y="988"/>
                    <a:pt x="731" y="989"/>
                  </a:cubicBezTo>
                  <a:cubicBezTo>
                    <a:pt x="731" y="990"/>
                    <a:pt x="730" y="990"/>
                    <a:pt x="730" y="991"/>
                  </a:cubicBezTo>
                  <a:close/>
                  <a:moveTo>
                    <a:pt x="1195" y="990"/>
                  </a:moveTo>
                  <a:cubicBezTo>
                    <a:pt x="1187" y="990"/>
                    <a:pt x="1171" y="985"/>
                    <a:pt x="1166" y="992"/>
                  </a:cubicBezTo>
                  <a:cubicBezTo>
                    <a:pt x="1171" y="988"/>
                    <a:pt x="1173" y="994"/>
                    <a:pt x="1176" y="996"/>
                  </a:cubicBezTo>
                  <a:cubicBezTo>
                    <a:pt x="1179" y="994"/>
                    <a:pt x="1184" y="992"/>
                    <a:pt x="1187" y="996"/>
                  </a:cubicBezTo>
                  <a:cubicBezTo>
                    <a:pt x="1187" y="994"/>
                    <a:pt x="1185" y="992"/>
                    <a:pt x="1187" y="991"/>
                  </a:cubicBezTo>
                  <a:cubicBezTo>
                    <a:pt x="1191" y="991"/>
                    <a:pt x="1190" y="995"/>
                    <a:pt x="1193" y="996"/>
                  </a:cubicBezTo>
                  <a:cubicBezTo>
                    <a:pt x="1198" y="994"/>
                    <a:pt x="1201" y="994"/>
                    <a:pt x="1204" y="994"/>
                  </a:cubicBezTo>
                  <a:cubicBezTo>
                    <a:pt x="1206" y="994"/>
                    <a:pt x="1205" y="991"/>
                    <a:pt x="1207" y="991"/>
                  </a:cubicBezTo>
                  <a:cubicBezTo>
                    <a:pt x="1211" y="994"/>
                    <a:pt x="1216" y="993"/>
                    <a:pt x="1220" y="990"/>
                  </a:cubicBezTo>
                  <a:cubicBezTo>
                    <a:pt x="1213" y="987"/>
                    <a:pt x="1204" y="990"/>
                    <a:pt x="1195" y="990"/>
                  </a:cubicBezTo>
                  <a:close/>
                  <a:moveTo>
                    <a:pt x="1321" y="996"/>
                  </a:moveTo>
                  <a:cubicBezTo>
                    <a:pt x="1324" y="995"/>
                    <a:pt x="1322" y="994"/>
                    <a:pt x="1325" y="995"/>
                  </a:cubicBezTo>
                  <a:cubicBezTo>
                    <a:pt x="1324" y="993"/>
                    <a:pt x="1322" y="990"/>
                    <a:pt x="1321" y="992"/>
                  </a:cubicBezTo>
                  <a:cubicBezTo>
                    <a:pt x="1322" y="992"/>
                    <a:pt x="1321" y="995"/>
                    <a:pt x="1321" y="996"/>
                  </a:cubicBezTo>
                  <a:close/>
                  <a:moveTo>
                    <a:pt x="1133" y="998"/>
                  </a:moveTo>
                  <a:cubicBezTo>
                    <a:pt x="1136" y="998"/>
                    <a:pt x="1136" y="1000"/>
                    <a:pt x="1134" y="1001"/>
                  </a:cubicBezTo>
                  <a:cubicBezTo>
                    <a:pt x="1137" y="1001"/>
                    <a:pt x="1139" y="1004"/>
                    <a:pt x="1142" y="1002"/>
                  </a:cubicBezTo>
                  <a:cubicBezTo>
                    <a:pt x="1141" y="1003"/>
                    <a:pt x="1142" y="1003"/>
                    <a:pt x="1142" y="1004"/>
                  </a:cubicBezTo>
                  <a:cubicBezTo>
                    <a:pt x="1144" y="1002"/>
                    <a:pt x="1148" y="1003"/>
                    <a:pt x="1149" y="1001"/>
                  </a:cubicBezTo>
                  <a:cubicBezTo>
                    <a:pt x="1146" y="999"/>
                    <a:pt x="1141" y="1000"/>
                    <a:pt x="1138" y="997"/>
                  </a:cubicBezTo>
                  <a:cubicBezTo>
                    <a:pt x="1136" y="997"/>
                    <a:pt x="1133" y="996"/>
                    <a:pt x="1133" y="998"/>
                  </a:cubicBezTo>
                  <a:close/>
                  <a:moveTo>
                    <a:pt x="1103" y="1003"/>
                  </a:moveTo>
                  <a:cubicBezTo>
                    <a:pt x="1104" y="1006"/>
                    <a:pt x="1107" y="1003"/>
                    <a:pt x="1109" y="1004"/>
                  </a:cubicBezTo>
                  <a:cubicBezTo>
                    <a:pt x="1109" y="1002"/>
                    <a:pt x="1110" y="999"/>
                    <a:pt x="1107" y="999"/>
                  </a:cubicBezTo>
                  <a:cubicBezTo>
                    <a:pt x="1107" y="1002"/>
                    <a:pt x="1103" y="1000"/>
                    <a:pt x="1103" y="1003"/>
                  </a:cubicBezTo>
                  <a:close/>
                  <a:moveTo>
                    <a:pt x="1126" y="1004"/>
                  </a:moveTo>
                  <a:cubicBezTo>
                    <a:pt x="1126" y="1002"/>
                    <a:pt x="1125" y="999"/>
                    <a:pt x="1122" y="999"/>
                  </a:cubicBezTo>
                  <a:cubicBezTo>
                    <a:pt x="1123" y="1001"/>
                    <a:pt x="1122" y="1005"/>
                    <a:pt x="1126" y="1004"/>
                  </a:cubicBezTo>
                  <a:close/>
                  <a:moveTo>
                    <a:pt x="1096" y="1003"/>
                  </a:moveTo>
                  <a:cubicBezTo>
                    <a:pt x="1097" y="1003"/>
                    <a:pt x="1097" y="1004"/>
                    <a:pt x="1098" y="1004"/>
                  </a:cubicBezTo>
                  <a:cubicBezTo>
                    <a:pt x="1099" y="1002"/>
                    <a:pt x="1098" y="1002"/>
                    <a:pt x="1099" y="1000"/>
                  </a:cubicBezTo>
                  <a:cubicBezTo>
                    <a:pt x="1097" y="1000"/>
                    <a:pt x="1096" y="1001"/>
                    <a:pt x="1096" y="1003"/>
                  </a:cubicBezTo>
                  <a:close/>
                  <a:moveTo>
                    <a:pt x="1177" y="1004"/>
                  </a:moveTo>
                  <a:cubicBezTo>
                    <a:pt x="1178" y="1004"/>
                    <a:pt x="1179" y="1004"/>
                    <a:pt x="1180" y="1004"/>
                  </a:cubicBezTo>
                  <a:cubicBezTo>
                    <a:pt x="1180" y="1002"/>
                    <a:pt x="1180" y="1001"/>
                    <a:pt x="1178" y="1001"/>
                  </a:cubicBezTo>
                  <a:cubicBezTo>
                    <a:pt x="1178" y="1002"/>
                    <a:pt x="1177" y="1002"/>
                    <a:pt x="1177" y="1004"/>
                  </a:cubicBezTo>
                  <a:close/>
                  <a:moveTo>
                    <a:pt x="1129" y="1002"/>
                  </a:moveTo>
                  <a:cubicBezTo>
                    <a:pt x="1129" y="1005"/>
                    <a:pt x="1134" y="1004"/>
                    <a:pt x="1133" y="1002"/>
                  </a:cubicBezTo>
                  <a:cubicBezTo>
                    <a:pt x="1131" y="1001"/>
                    <a:pt x="1131" y="1003"/>
                    <a:pt x="1129" y="1002"/>
                  </a:cubicBezTo>
                  <a:close/>
                  <a:moveTo>
                    <a:pt x="1208" y="1006"/>
                  </a:moveTo>
                  <a:cubicBezTo>
                    <a:pt x="1208" y="1004"/>
                    <a:pt x="1211" y="1005"/>
                    <a:pt x="1211" y="1003"/>
                  </a:cubicBezTo>
                  <a:cubicBezTo>
                    <a:pt x="1209" y="1003"/>
                    <a:pt x="1206" y="1002"/>
                    <a:pt x="1205" y="1004"/>
                  </a:cubicBezTo>
                  <a:cubicBezTo>
                    <a:pt x="1207" y="1004"/>
                    <a:pt x="1207" y="1006"/>
                    <a:pt x="1208" y="1006"/>
                  </a:cubicBezTo>
                  <a:close/>
                  <a:moveTo>
                    <a:pt x="889" y="1009"/>
                  </a:moveTo>
                  <a:cubicBezTo>
                    <a:pt x="889" y="1011"/>
                    <a:pt x="891" y="1011"/>
                    <a:pt x="893" y="1011"/>
                  </a:cubicBezTo>
                  <a:cubicBezTo>
                    <a:pt x="894" y="1008"/>
                    <a:pt x="891" y="1007"/>
                    <a:pt x="889" y="1009"/>
                  </a:cubicBezTo>
                  <a:close/>
                  <a:moveTo>
                    <a:pt x="995" y="1015"/>
                  </a:moveTo>
                  <a:cubicBezTo>
                    <a:pt x="998" y="1012"/>
                    <a:pt x="989" y="1007"/>
                    <a:pt x="988" y="1009"/>
                  </a:cubicBezTo>
                  <a:cubicBezTo>
                    <a:pt x="992" y="1010"/>
                    <a:pt x="992" y="1014"/>
                    <a:pt x="995" y="1015"/>
                  </a:cubicBezTo>
                  <a:close/>
                  <a:moveTo>
                    <a:pt x="1054" y="1010"/>
                  </a:moveTo>
                  <a:cubicBezTo>
                    <a:pt x="1054" y="1008"/>
                    <a:pt x="1053" y="1008"/>
                    <a:pt x="1051" y="1008"/>
                  </a:cubicBezTo>
                  <a:cubicBezTo>
                    <a:pt x="1051" y="1010"/>
                    <a:pt x="1052" y="1010"/>
                    <a:pt x="1054" y="1010"/>
                  </a:cubicBezTo>
                  <a:close/>
                  <a:moveTo>
                    <a:pt x="842" y="1015"/>
                  </a:moveTo>
                  <a:cubicBezTo>
                    <a:pt x="846" y="1019"/>
                    <a:pt x="847" y="1014"/>
                    <a:pt x="852" y="1014"/>
                  </a:cubicBezTo>
                  <a:cubicBezTo>
                    <a:pt x="850" y="1008"/>
                    <a:pt x="844" y="1011"/>
                    <a:pt x="842" y="1015"/>
                  </a:cubicBezTo>
                  <a:close/>
                  <a:moveTo>
                    <a:pt x="1002" y="1011"/>
                  </a:moveTo>
                  <a:cubicBezTo>
                    <a:pt x="1005" y="1012"/>
                    <a:pt x="1006" y="1012"/>
                    <a:pt x="1008" y="1011"/>
                  </a:cubicBezTo>
                  <a:cubicBezTo>
                    <a:pt x="1006" y="1011"/>
                    <a:pt x="1003" y="1009"/>
                    <a:pt x="1002" y="1011"/>
                  </a:cubicBezTo>
                  <a:close/>
                  <a:moveTo>
                    <a:pt x="1105" y="1012"/>
                  </a:moveTo>
                  <a:cubicBezTo>
                    <a:pt x="1105" y="1010"/>
                    <a:pt x="1104" y="1010"/>
                    <a:pt x="1102" y="1010"/>
                  </a:cubicBezTo>
                  <a:cubicBezTo>
                    <a:pt x="1101" y="1012"/>
                    <a:pt x="1103" y="1013"/>
                    <a:pt x="1105" y="1012"/>
                  </a:cubicBezTo>
                  <a:close/>
                  <a:moveTo>
                    <a:pt x="901" y="1013"/>
                  </a:moveTo>
                  <a:cubicBezTo>
                    <a:pt x="902" y="1015"/>
                    <a:pt x="905" y="1015"/>
                    <a:pt x="906" y="1014"/>
                  </a:cubicBezTo>
                  <a:cubicBezTo>
                    <a:pt x="906" y="1012"/>
                    <a:pt x="905" y="1011"/>
                    <a:pt x="904" y="1011"/>
                  </a:cubicBezTo>
                  <a:cubicBezTo>
                    <a:pt x="903" y="1012"/>
                    <a:pt x="900" y="1011"/>
                    <a:pt x="901" y="1013"/>
                  </a:cubicBezTo>
                  <a:close/>
                  <a:moveTo>
                    <a:pt x="928" y="1015"/>
                  </a:moveTo>
                  <a:cubicBezTo>
                    <a:pt x="931" y="1015"/>
                    <a:pt x="931" y="1010"/>
                    <a:pt x="928" y="1011"/>
                  </a:cubicBezTo>
                  <a:cubicBezTo>
                    <a:pt x="926" y="1012"/>
                    <a:pt x="928" y="1012"/>
                    <a:pt x="928" y="1015"/>
                  </a:cubicBezTo>
                  <a:close/>
                  <a:moveTo>
                    <a:pt x="869" y="1016"/>
                  </a:moveTo>
                  <a:cubicBezTo>
                    <a:pt x="873" y="1018"/>
                    <a:pt x="875" y="1018"/>
                    <a:pt x="881" y="1017"/>
                  </a:cubicBezTo>
                  <a:cubicBezTo>
                    <a:pt x="881" y="1018"/>
                    <a:pt x="879" y="1018"/>
                    <a:pt x="880" y="1020"/>
                  </a:cubicBezTo>
                  <a:cubicBezTo>
                    <a:pt x="881" y="1021"/>
                    <a:pt x="885" y="1023"/>
                    <a:pt x="886" y="1021"/>
                  </a:cubicBezTo>
                  <a:cubicBezTo>
                    <a:pt x="885" y="1020"/>
                    <a:pt x="883" y="1020"/>
                    <a:pt x="883" y="1019"/>
                  </a:cubicBezTo>
                  <a:cubicBezTo>
                    <a:pt x="885" y="1017"/>
                    <a:pt x="888" y="1015"/>
                    <a:pt x="893" y="1015"/>
                  </a:cubicBezTo>
                  <a:cubicBezTo>
                    <a:pt x="896" y="1016"/>
                    <a:pt x="895" y="1016"/>
                    <a:pt x="894" y="1019"/>
                  </a:cubicBezTo>
                  <a:cubicBezTo>
                    <a:pt x="900" y="1020"/>
                    <a:pt x="901" y="1019"/>
                    <a:pt x="904" y="1022"/>
                  </a:cubicBezTo>
                  <a:cubicBezTo>
                    <a:pt x="908" y="1016"/>
                    <a:pt x="895" y="1016"/>
                    <a:pt x="893" y="1012"/>
                  </a:cubicBezTo>
                  <a:cubicBezTo>
                    <a:pt x="886" y="1014"/>
                    <a:pt x="882" y="1014"/>
                    <a:pt x="876" y="1016"/>
                  </a:cubicBezTo>
                  <a:cubicBezTo>
                    <a:pt x="876" y="1015"/>
                    <a:pt x="875" y="1015"/>
                    <a:pt x="875" y="1015"/>
                  </a:cubicBezTo>
                  <a:cubicBezTo>
                    <a:pt x="877" y="1015"/>
                    <a:pt x="876" y="1013"/>
                    <a:pt x="876" y="1012"/>
                  </a:cubicBezTo>
                  <a:cubicBezTo>
                    <a:pt x="874" y="1012"/>
                    <a:pt x="874" y="1011"/>
                    <a:pt x="872" y="1011"/>
                  </a:cubicBezTo>
                  <a:cubicBezTo>
                    <a:pt x="873" y="1015"/>
                    <a:pt x="869" y="1013"/>
                    <a:pt x="869" y="1016"/>
                  </a:cubicBezTo>
                  <a:close/>
                  <a:moveTo>
                    <a:pt x="950" y="1013"/>
                  </a:moveTo>
                  <a:cubicBezTo>
                    <a:pt x="949" y="1015"/>
                    <a:pt x="951" y="1015"/>
                    <a:pt x="951" y="1017"/>
                  </a:cubicBezTo>
                  <a:cubicBezTo>
                    <a:pt x="953" y="1017"/>
                    <a:pt x="953" y="1014"/>
                    <a:pt x="956" y="1015"/>
                  </a:cubicBezTo>
                  <a:cubicBezTo>
                    <a:pt x="958" y="1016"/>
                    <a:pt x="958" y="1017"/>
                    <a:pt x="960" y="1019"/>
                  </a:cubicBezTo>
                  <a:cubicBezTo>
                    <a:pt x="960" y="1014"/>
                    <a:pt x="964" y="1018"/>
                    <a:pt x="965" y="1015"/>
                  </a:cubicBezTo>
                  <a:cubicBezTo>
                    <a:pt x="958" y="1013"/>
                    <a:pt x="955" y="1011"/>
                    <a:pt x="950" y="1013"/>
                  </a:cubicBezTo>
                  <a:close/>
                  <a:moveTo>
                    <a:pt x="919" y="1013"/>
                  </a:moveTo>
                  <a:cubicBezTo>
                    <a:pt x="918" y="1013"/>
                    <a:pt x="916" y="1013"/>
                    <a:pt x="915" y="1013"/>
                  </a:cubicBezTo>
                  <a:cubicBezTo>
                    <a:pt x="914" y="1015"/>
                    <a:pt x="919" y="1014"/>
                    <a:pt x="919" y="1013"/>
                  </a:cubicBezTo>
                  <a:close/>
                  <a:moveTo>
                    <a:pt x="1020" y="1018"/>
                  </a:moveTo>
                  <a:cubicBezTo>
                    <a:pt x="1018" y="1017"/>
                    <a:pt x="1017" y="1015"/>
                    <a:pt x="1016" y="1014"/>
                  </a:cubicBezTo>
                  <a:cubicBezTo>
                    <a:pt x="1014" y="1015"/>
                    <a:pt x="1019" y="1020"/>
                    <a:pt x="1020" y="1018"/>
                  </a:cubicBezTo>
                  <a:close/>
                  <a:moveTo>
                    <a:pt x="943" y="1019"/>
                  </a:moveTo>
                  <a:cubicBezTo>
                    <a:pt x="945" y="1019"/>
                    <a:pt x="946" y="1019"/>
                    <a:pt x="948" y="1019"/>
                  </a:cubicBezTo>
                  <a:cubicBezTo>
                    <a:pt x="947" y="1017"/>
                    <a:pt x="945" y="1016"/>
                    <a:pt x="942" y="1015"/>
                  </a:cubicBezTo>
                  <a:cubicBezTo>
                    <a:pt x="941" y="1018"/>
                    <a:pt x="943" y="1016"/>
                    <a:pt x="943" y="1019"/>
                  </a:cubicBezTo>
                  <a:close/>
                  <a:moveTo>
                    <a:pt x="866" y="1019"/>
                  </a:moveTo>
                  <a:cubicBezTo>
                    <a:pt x="866" y="1017"/>
                    <a:pt x="861" y="1016"/>
                    <a:pt x="859" y="1017"/>
                  </a:cubicBezTo>
                  <a:cubicBezTo>
                    <a:pt x="860" y="1020"/>
                    <a:pt x="865" y="1023"/>
                    <a:pt x="866" y="1019"/>
                  </a:cubicBezTo>
                  <a:close/>
                  <a:moveTo>
                    <a:pt x="1010" y="1019"/>
                  </a:moveTo>
                  <a:cubicBezTo>
                    <a:pt x="1009" y="1017"/>
                    <a:pt x="1006" y="1019"/>
                    <a:pt x="1004" y="1018"/>
                  </a:cubicBezTo>
                  <a:cubicBezTo>
                    <a:pt x="1004" y="1020"/>
                    <a:pt x="1010" y="1021"/>
                    <a:pt x="1010" y="1019"/>
                  </a:cubicBezTo>
                  <a:close/>
                  <a:moveTo>
                    <a:pt x="1035" y="1022"/>
                  </a:moveTo>
                  <a:cubicBezTo>
                    <a:pt x="1036" y="1021"/>
                    <a:pt x="1035" y="1019"/>
                    <a:pt x="1034" y="1019"/>
                  </a:cubicBezTo>
                  <a:cubicBezTo>
                    <a:pt x="1033" y="1020"/>
                    <a:pt x="1033" y="1022"/>
                    <a:pt x="1035" y="1022"/>
                  </a:cubicBezTo>
                  <a:close/>
                  <a:moveTo>
                    <a:pt x="1052" y="1020"/>
                  </a:moveTo>
                  <a:cubicBezTo>
                    <a:pt x="1051" y="1020"/>
                    <a:pt x="1051" y="1018"/>
                    <a:pt x="1049" y="1019"/>
                  </a:cubicBezTo>
                  <a:cubicBezTo>
                    <a:pt x="1048" y="1020"/>
                    <a:pt x="1052" y="1022"/>
                    <a:pt x="1052" y="1020"/>
                  </a:cubicBezTo>
                  <a:close/>
                  <a:moveTo>
                    <a:pt x="837" y="1022"/>
                  </a:moveTo>
                  <a:cubicBezTo>
                    <a:pt x="839" y="1022"/>
                    <a:pt x="840" y="1023"/>
                    <a:pt x="842" y="1023"/>
                  </a:cubicBezTo>
                  <a:cubicBezTo>
                    <a:pt x="841" y="1021"/>
                    <a:pt x="839" y="1020"/>
                    <a:pt x="837" y="1019"/>
                  </a:cubicBezTo>
                  <a:cubicBezTo>
                    <a:pt x="837" y="1020"/>
                    <a:pt x="837" y="1021"/>
                    <a:pt x="837" y="1022"/>
                  </a:cubicBezTo>
                  <a:close/>
                  <a:moveTo>
                    <a:pt x="961" y="1025"/>
                  </a:moveTo>
                  <a:cubicBezTo>
                    <a:pt x="961" y="1024"/>
                    <a:pt x="961" y="1023"/>
                    <a:pt x="961" y="1022"/>
                  </a:cubicBezTo>
                  <a:cubicBezTo>
                    <a:pt x="958" y="1021"/>
                    <a:pt x="959" y="1024"/>
                    <a:pt x="956" y="1024"/>
                  </a:cubicBezTo>
                  <a:cubicBezTo>
                    <a:pt x="957" y="1021"/>
                    <a:pt x="954" y="1022"/>
                    <a:pt x="953" y="1020"/>
                  </a:cubicBezTo>
                  <a:cubicBezTo>
                    <a:pt x="952" y="1025"/>
                    <a:pt x="956" y="1026"/>
                    <a:pt x="961" y="1025"/>
                  </a:cubicBezTo>
                  <a:close/>
                  <a:moveTo>
                    <a:pt x="855" y="1025"/>
                  </a:moveTo>
                  <a:cubicBezTo>
                    <a:pt x="855" y="1024"/>
                    <a:pt x="856" y="1024"/>
                    <a:pt x="856" y="1022"/>
                  </a:cubicBezTo>
                  <a:cubicBezTo>
                    <a:pt x="853" y="1023"/>
                    <a:pt x="854" y="1020"/>
                    <a:pt x="852" y="1021"/>
                  </a:cubicBezTo>
                  <a:cubicBezTo>
                    <a:pt x="851" y="1024"/>
                    <a:pt x="855" y="1023"/>
                    <a:pt x="855" y="1025"/>
                  </a:cubicBezTo>
                  <a:close/>
                  <a:moveTo>
                    <a:pt x="866" y="1024"/>
                  </a:moveTo>
                  <a:cubicBezTo>
                    <a:pt x="866" y="1023"/>
                    <a:pt x="866" y="1022"/>
                    <a:pt x="866" y="1022"/>
                  </a:cubicBezTo>
                  <a:cubicBezTo>
                    <a:pt x="865" y="1022"/>
                    <a:pt x="864" y="1022"/>
                    <a:pt x="863" y="1022"/>
                  </a:cubicBezTo>
                  <a:cubicBezTo>
                    <a:pt x="862" y="1024"/>
                    <a:pt x="864" y="1024"/>
                    <a:pt x="866" y="1024"/>
                  </a:cubicBezTo>
                  <a:close/>
                  <a:moveTo>
                    <a:pt x="1071" y="1025"/>
                  </a:moveTo>
                  <a:cubicBezTo>
                    <a:pt x="1073" y="1025"/>
                    <a:pt x="1074" y="1025"/>
                    <a:pt x="1075" y="1025"/>
                  </a:cubicBezTo>
                  <a:cubicBezTo>
                    <a:pt x="1075" y="1023"/>
                    <a:pt x="1075" y="1022"/>
                    <a:pt x="1073" y="1022"/>
                  </a:cubicBezTo>
                  <a:cubicBezTo>
                    <a:pt x="1073" y="1023"/>
                    <a:pt x="1072" y="1024"/>
                    <a:pt x="1071" y="1025"/>
                  </a:cubicBezTo>
                  <a:close/>
                  <a:moveTo>
                    <a:pt x="911" y="1024"/>
                  </a:moveTo>
                  <a:cubicBezTo>
                    <a:pt x="914" y="1025"/>
                    <a:pt x="917" y="1025"/>
                    <a:pt x="917" y="1024"/>
                  </a:cubicBezTo>
                  <a:cubicBezTo>
                    <a:pt x="917" y="1023"/>
                    <a:pt x="917" y="1023"/>
                    <a:pt x="917" y="1022"/>
                  </a:cubicBezTo>
                  <a:cubicBezTo>
                    <a:pt x="914" y="1023"/>
                    <a:pt x="913" y="1021"/>
                    <a:pt x="911" y="1024"/>
                  </a:cubicBezTo>
                  <a:close/>
                  <a:moveTo>
                    <a:pt x="678" y="1026"/>
                  </a:moveTo>
                  <a:cubicBezTo>
                    <a:pt x="680" y="1027"/>
                    <a:pt x="680" y="1030"/>
                    <a:pt x="683" y="1030"/>
                  </a:cubicBezTo>
                  <a:cubicBezTo>
                    <a:pt x="682" y="1027"/>
                    <a:pt x="685" y="1028"/>
                    <a:pt x="686" y="1027"/>
                  </a:cubicBezTo>
                  <a:cubicBezTo>
                    <a:pt x="684" y="1027"/>
                    <a:pt x="684" y="1025"/>
                    <a:pt x="684" y="1024"/>
                  </a:cubicBezTo>
                  <a:cubicBezTo>
                    <a:pt x="682" y="1025"/>
                    <a:pt x="679" y="1024"/>
                    <a:pt x="678" y="1026"/>
                  </a:cubicBezTo>
                  <a:close/>
                  <a:moveTo>
                    <a:pt x="892" y="1025"/>
                  </a:moveTo>
                  <a:cubicBezTo>
                    <a:pt x="892" y="1028"/>
                    <a:pt x="895" y="1025"/>
                    <a:pt x="897" y="1027"/>
                  </a:cubicBezTo>
                  <a:cubicBezTo>
                    <a:pt x="897" y="1024"/>
                    <a:pt x="894" y="1024"/>
                    <a:pt x="892" y="1025"/>
                  </a:cubicBezTo>
                  <a:close/>
                  <a:moveTo>
                    <a:pt x="1339" y="1033"/>
                  </a:moveTo>
                  <a:cubicBezTo>
                    <a:pt x="1336" y="1034"/>
                    <a:pt x="1332" y="1032"/>
                    <a:pt x="1331" y="1034"/>
                  </a:cubicBezTo>
                  <a:cubicBezTo>
                    <a:pt x="1333" y="1033"/>
                    <a:pt x="1338" y="1035"/>
                    <a:pt x="1339" y="1033"/>
                  </a:cubicBezTo>
                  <a:close/>
                  <a:moveTo>
                    <a:pt x="1159" y="1037"/>
                  </a:moveTo>
                  <a:cubicBezTo>
                    <a:pt x="1164" y="1036"/>
                    <a:pt x="1167" y="1036"/>
                    <a:pt x="1170" y="1036"/>
                  </a:cubicBezTo>
                  <a:cubicBezTo>
                    <a:pt x="1167" y="1034"/>
                    <a:pt x="1161" y="1034"/>
                    <a:pt x="1159" y="1037"/>
                  </a:cubicBezTo>
                  <a:close/>
                  <a:moveTo>
                    <a:pt x="1199" y="1041"/>
                  </a:moveTo>
                  <a:cubicBezTo>
                    <a:pt x="1198" y="1038"/>
                    <a:pt x="1194" y="1039"/>
                    <a:pt x="1194" y="1035"/>
                  </a:cubicBezTo>
                  <a:cubicBezTo>
                    <a:pt x="1192" y="1036"/>
                    <a:pt x="1188" y="1034"/>
                    <a:pt x="1187" y="1036"/>
                  </a:cubicBezTo>
                  <a:cubicBezTo>
                    <a:pt x="1190" y="1037"/>
                    <a:pt x="1192" y="1040"/>
                    <a:pt x="1194" y="1037"/>
                  </a:cubicBezTo>
                  <a:cubicBezTo>
                    <a:pt x="1194" y="1040"/>
                    <a:pt x="1196" y="1043"/>
                    <a:pt x="1199" y="1041"/>
                  </a:cubicBezTo>
                  <a:close/>
                  <a:moveTo>
                    <a:pt x="1211" y="1041"/>
                  </a:moveTo>
                  <a:cubicBezTo>
                    <a:pt x="1210" y="1039"/>
                    <a:pt x="1208" y="1039"/>
                    <a:pt x="1208" y="1037"/>
                  </a:cubicBezTo>
                  <a:cubicBezTo>
                    <a:pt x="1207" y="1037"/>
                    <a:pt x="1206" y="1037"/>
                    <a:pt x="1205" y="1037"/>
                  </a:cubicBezTo>
                  <a:cubicBezTo>
                    <a:pt x="1207" y="1038"/>
                    <a:pt x="1207" y="1041"/>
                    <a:pt x="1211" y="1041"/>
                  </a:cubicBezTo>
                  <a:close/>
                  <a:moveTo>
                    <a:pt x="1211" y="1039"/>
                  </a:moveTo>
                  <a:cubicBezTo>
                    <a:pt x="1213" y="1040"/>
                    <a:pt x="1214" y="1039"/>
                    <a:pt x="1216" y="1039"/>
                  </a:cubicBezTo>
                  <a:cubicBezTo>
                    <a:pt x="1216" y="1036"/>
                    <a:pt x="1214" y="1037"/>
                    <a:pt x="1212" y="1037"/>
                  </a:cubicBezTo>
                  <a:cubicBezTo>
                    <a:pt x="1212" y="1037"/>
                    <a:pt x="1212" y="1038"/>
                    <a:pt x="1211" y="1039"/>
                  </a:cubicBezTo>
                  <a:close/>
                  <a:moveTo>
                    <a:pt x="1233" y="1038"/>
                  </a:moveTo>
                  <a:cubicBezTo>
                    <a:pt x="1234" y="1039"/>
                    <a:pt x="1238" y="1039"/>
                    <a:pt x="1239" y="1038"/>
                  </a:cubicBezTo>
                  <a:cubicBezTo>
                    <a:pt x="1237" y="1038"/>
                    <a:pt x="1234" y="1035"/>
                    <a:pt x="1233" y="1038"/>
                  </a:cubicBezTo>
                  <a:close/>
                  <a:moveTo>
                    <a:pt x="1220" y="1039"/>
                  </a:moveTo>
                  <a:cubicBezTo>
                    <a:pt x="1221" y="1039"/>
                    <a:pt x="1222" y="1040"/>
                    <a:pt x="1221" y="1042"/>
                  </a:cubicBezTo>
                  <a:cubicBezTo>
                    <a:pt x="1223" y="1042"/>
                    <a:pt x="1224" y="1042"/>
                    <a:pt x="1224" y="1041"/>
                  </a:cubicBezTo>
                  <a:cubicBezTo>
                    <a:pt x="1223" y="1041"/>
                    <a:pt x="1224" y="1038"/>
                    <a:pt x="1224" y="1037"/>
                  </a:cubicBezTo>
                  <a:cubicBezTo>
                    <a:pt x="1222" y="1037"/>
                    <a:pt x="1221" y="1038"/>
                    <a:pt x="1220" y="1039"/>
                  </a:cubicBezTo>
                  <a:close/>
                  <a:moveTo>
                    <a:pt x="1241" y="1039"/>
                  </a:moveTo>
                  <a:cubicBezTo>
                    <a:pt x="1242" y="1039"/>
                    <a:pt x="1244" y="1039"/>
                    <a:pt x="1245" y="1039"/>
                  </a:cubicBezTo>
                  <a:cubicBezTo>
                    <a:pt x="1245" y="1038"/>
                    <a:pt x="1245" y="1038"/>
                    <a:pt x="1245" y="1037"/>
                  </a:cubicBezTo>
                  <a:cubicBezTo>
                    <a:pt x="1244" y="1037"/>
                    <a:pt x="1242" y="1037"/>
                    <a:pt x="1241" y="1037"/>
                  </a:cubicBezTo>
                  <a:cubicBezTo>
                    <a:pt x="1241" y="1038"/>
                    <a:pt x="1241" y="1038"/>
                    <a:pt x="1241" y="1039"/>
                  </a:cubicBezTo>
                  <a:close/>
                  <a:moveTo>
                    <a:pt x="1252" y="1041"/>
                  </a:moveTo>
                  <a:cubicBezTo>
                    <a:pt x="1252" y="1039"/>
                    <a:pt x="1251" y="1038"/>
                    <a:pt x="1249" y="1037"/>
                  </a:cubicBezTo>
                  <a:cubicBezTo>
                    <a:pt x="1248" y="1040"/>
                    <a:pt x="1249" y="1042"/>
                    <a:pt x="1252" y="1041"/>
                  </a:cubicBezTo>
                  <a:close/>
                  <a:moveTo>
                    <a:pt x="1285" y="1039"/>
                  </a:moveTo>
                  <a:cubicBezTo>
                    <a:pt x="1283" y="1039"/>
                    <a:pt x="1281" y="1035"/>
                    <a:pt x="1279" y="1038"/>
                  </a:cubicBezTo>
                  <a:cubicBezTo>
                    <a:pt x="1280" y="1038"/>
                    <a:pt x="1284" y="1040"/>
                    <a:pt x="1285" y="1039"/>
                  </a:cubicBezTo>
                  <a:close/>
                  <a:moveTo>
                    <a:pt x="1167" y="1043"/>
                  </a:moveTo>
                  <a:cubicBezTo>
                    <a:pt x="1164" y="1044"/>
                    <a:pt x="1161" y="1041"/>
                    <a:pt x="1159" y="1043"/>
                  </a:cubicBezTo>
                  <a:cubicBezTo>
                    <a:pt x="1160" y="1044"/>
                    <a:pt x="1167" y="1045"/>
                    <a:pt x="1167" y="1043"/>
                  </a:cubicBezTo>
                  <a:close/>
                  <a:moveTo>
                    <a:pt x="1110" y="1054"/>
                  </a:moveTo>
                  <a:cubicBezTo>
                    <a:pt x="1113" y="1055"/>
                    <a:pt x="1114" y="1049"/>
                    <a:pt x="1112" y="1050"/>
                  </a:cubicBezTo>
                  <a:cubicBezTo>
                    <a:pt x="1112" y="1052"/>
                    <a:pt x="1109" y="1051"/>
                    <a:pt x="1110" y="1054"/>
                  </a:cubicBezTo>
                  <a:close/>
                </a:path>
              </a:pathLst>
            </a:custGeom>
            <a:solidFill>
              <a:srgbClr val="DA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7" name="Picture 10" descr="FGC-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163" y="6821488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r>
              <a:rPr lang="en-US" sz="1300" dirty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t>Page</a:t>
            </a:r>
          </a:p>
        </p:txBody>
      </p:sp>
      <p:cxnSp>
        <p:nvCxnSpPr>
          <p:cNvPr id="9" name="Straight Connector 6"/>
          <p:cNvCxnSpPr/>
          <p:nvPr userDrawn="1"/>
        </p:nvCxnSpPr>
        <p:spPr>
          <a:xfrm rot="5400000">
            <a:off x="420688" y="6992938"/>
            <a:ext cx="350837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799" y="-3711"/>
            <a:ext cx="8778240" cy="1219200"/>
          </a:xfrm>
        </p:spPr>
        <p:txBody>
          <a:bodyPr rtlCol="0">
            <a:normAutofit/>
          </a:bodyPr>
          <a:lstStyle>
            <a:lvl1pPr algn="l" defTabSz="975299" rtl="0" eaLnBrk="1" latinLnBrk="0" hangingPunct="1">
              <a:spcBef>
                <a:spcPct val="0"/>
              </a:spcBef>
              <a:buNone/>
              <a:defRPr lang="en-US" sz="3200" b="1" kern="12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5913438" y="6780213"/>
            <a:ext cx="2274887" cy="3889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2300" y="6780213"/>
            <a:ext cx="2274888" cy="388937"/>
          </a:xfrm>
        </p:spPr>
        <p:txBody>
          <a:bodyPr lIns="36000"/>
          <a:lstStyle>
            <a:lvl1pPr algn="l">
              <a:defRPr/>
            </a:lvl1pPr>
          </a:lstStyle>
          <a:p>
            <a:pPr>
              <a:defRPr/>
            </a:pPr>
            <a:fld id="{CEC9706E-5874-43EE-8FDD-DD75DD8B26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96598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4" y="291253"/>
            <a:ext cx="320899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13907" y="291261"/>
            <a:ext cx="545201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4" y="1530777"/>
            <a:ext cx="320899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00107815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164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11644" y="653627"/>
            <a:ext cx="5852160" cy="4389120"/>
          </a:xfrm>
        </p:spPr>
        <p:txBody>
          <a:bodyPr/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1164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8191902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386565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13453" y="0"/>
            <a:ext cx="2208627" cy="6502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86006" y="0"/>
            <a:ext cx="6477391" cy="6502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80240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86011" y="0"/>
            <a:ext cx="8836074" cy="6502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793827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267" y="0"/>
            <a:ext cx="8151707" cy="1219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1520" y="2113280"/>
            <a:ext cx="8290560" cy="4389120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54526102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267" y="0"/>
            <a:ext cx="8151707" cy="1219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2113280"/>
            <a:ext cx="4064000" cy="43891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58080" y="2113280"/>
            <a:ext cx="4064000" cy="2113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58080" y="4389120"/>
            <a:ext cx="4064000" cy="2113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41355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267" y="0"/>
            <a:ext cx="8151707" cy="1219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1520" y="2113280"/>
            <a:ext cx="4064000" cy="43891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080" y="2113280"/>
            <a:ext cx="4064000" cy="43891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9899698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1520" y="2272454"/>
            <a:ext cx="8290560" cy="15680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63040" y="4145280"/>
            <a:ext cx="6827520" cy="1869440"/>
          </a:xfrm>
        </p:spPr>
        <p:txBody>
          <a:bodyPr/>
          <a:lstStyle>
            <a:lvl1pPr marL="0" indent="0" algn="ctr">
              <a:buNone/>
              <a:defRPr/>
            </a:lvl1pPr>
            <a:lvl2pPr marL="487650" indent="0" algn="ctr">
              <a:buNone/>
              <a:defRPr/>
            </a:lvl2pPr>
            <a:lvl3pPr marL="975299" indent="0" algn="ctr">
              <a:buNone/>
              <a:defRPr/>
            </a:lvl3pPr>
            <a:lvl4pPr marL="1462949" indent="0" algn="ctr">
              <a:buNone/>
              <a:defRPr/>
            </a:lvl4pPr>
            <a:lvl5pPr marL="1950598" indent="0" algn="ctr">
              <a:buNone/>
              <a:defRPr/>
            </a:lvl5pPr>
            <a:lvl6pPr marL="2438248" indent="0" algn="ctr">
              <a:buNone/>
              <a:defRPr/>
            </a:lvl6pPr>
            <a:lvl7pPr marL="2925897" indent="0" algn="ctr">
              <a:buNone/>
              <a:defRPr/>
            </a:lvl7pPr>
            <a:lvl8pPr marL="3413547" indent="0" algn="ctr">
              <a:buNone/>
              <a:defRPr/>
            </a:lvl8pPr>
            <a:lvl9pPr marL="390119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938612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1838" y="2271713"/>
            <a:ext cx="8289925" cy="15684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63675" y="4144963"/>
            <a:ext cx="6826250" cy="18700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FC8094-23C5-4DCE-A571-CE742A529D50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40942-392E-4C2F-87CC-738E21A8EB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3021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467" y="4700694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046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876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7529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629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5059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382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2589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1354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011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DC44B9-7987-496F-A8A0-DBBEBDF073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61288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FDDACC-1EED-4A72-A3B8-E08BAF77374C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DB95B-1E97-4CB5-A94F-2F98877D24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90722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9938" y="4700588"/>
            <a:ext cx="8291512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69938" y="3100388"/>
            <a:ext cx="8291512" cy="160020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45A4E-5FF2-41AE-89A6-CC2C9FE78EB3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95E9B4-D479-486B-BF00-82CD0935F1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0832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87363" y="1458913"/>
            <a:ext cx="4313237" cy="4827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0" y="1458913"/>
            <a:ext cx="4313238" cy="4827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E90B8E-D8A9-4387-881D-7A5F33309360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43A7-9736-482F-AB07-2B1E9D73AB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29904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363" y="293688"/>
            <a:ext cx="8778875" cy="1219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87363" y="1636713"/>
            <a:ext cx="4310062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363" y="2319338"/>
            <a:ext cx="4310062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54588" y="1636713"/>
            <a:ext cx="4311650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54588" y="2319338"/>
            <a:ext cx="4311650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750EC-0F79-4CE2-8F3E-103CC446251B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AF2E2B-C1F2-4308-85B1-231D7DD318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02082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A5AA0-2032-48C8-84F2-93B0D110D83B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0CB91-B135-4D38-A7F4-24418D4389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94024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0462C-082F-44C8-A5F8-615C9A63B2A8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A537A-64D9-4AB7-B68C-20328A07C0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61455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363" y="290513"/>
            <a:ext cx="32099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13175" y="290513"/>
            <a:ext cx="5453063" cy="6243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363" y="1530350"/>
            <a:ext cx="3209925" cy="50038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DC83-3906-489D-9D37-E2D28CAB608B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B661A-4B51-4306-9049-63CB389145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00625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1350" y="5121275"/>
            <a:ext cx="5853113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11350" y="654050"/>
            <a:ext cx="5853113" cy="43894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11350" y="5724525"/>
            <a:ext cx="5853113" cy="8588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A0E5D-CB2F-4761-90CF-02873BBFBC4C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265F4-4F96-44C6-8224-8AE9CD4810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54139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3156D3-0445-47B6-B7E3-AB2CB17B858B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489115-633C-431C-9657-C03C48BDD9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14671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69138" y="-1588"/>
            <a:ext cx="2197100" cy="62880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4663" y="-1588"/>
            <a:ext cx="6442075" cy="62880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900BCC-6B57-4926-B18C-69180AF5F346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5D0A15-639B-4FEB-8E32-2CD51EB78E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17718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854" y="1820334"/>
            <a:ext cx="4600786" cy="514942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83200" y="1820334"/>
            <a:ext cx="4600787" cy="514942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91A123-539F-4217-8A6E-23DBBCD723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00559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1520" y="2272454"/>
            <a:ext cx="8290560" cy="15680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63040" y="4145280"/>
            <a:ext cx="6827520" cy="1869440"/>
          </a:xfrm>
        </p:spPr>
        <p:txBody>
          <a:bodyPr/>
          <a:lstStyle>
            <a:lvl1pPr marL="0" indent="0" algn="ctr">
              <a:buNone/>
              <a:defRPr/>
            </a:lvl1pPr>
            <a:lvl2pPr marL="487650" indent="0" algn="ctr">
              <a:buNone/>
              <a:defRPr/>
            </a:lvl2pPr>
            <a:lvl3pPr marL="975299" indent="0" algn="ctr">
              <a:buNone/>
              <a:defRPr/>
            </a:lvl3pPr>
            <a:lvl4pPr marL="1462949" indent="0" algn="ctr">
              <a:buNone/>
              <a:defRPr/>
            </a:lvl4pPr>
            <a:lvl5pPr marL="1950598" indent="0" algn="ctr">
              <a:buNone/>
              <a:defRPr/>
            </a:lvl5pPr>
            <a:lvl6pPr marL="2438248" indent="0" algn="ctr">
              <a:buNone/>
              <a:defRPr/>
            </a:lvl6pPr>
            <a:lvl7pPr marL="2925897" indent="0" algn="ctr">
              <a:buNone/>
              <a:defRPr/>
            </a:lvl7pPr>
            <a:lvl8pPr marL="3413547" indent="0" algn="ctr">
              <a:buNone/>
              <a:defRPr/>
            </a:lvl8pPr>
            <a:lvl9pPr marL="390119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365ACA-C2EF-4D75-80FA-2070B7503E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800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68977-0F1B-49C4-8C60-2C999D29D1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34023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0467" y="4700694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7046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/>
            </a:lvl1pPr>
            <a:lvl2pPr marL="487650" indent="0">
              <a:buNone/>
              <a:defRPr sz="1900"/>
            </a:lvl2pPr>
            <a:lvl3pPr marL="975299" indent="0">
              <a:buNone/>
              <a:defRPr sz="1700"/>
            </a:lvl3pPr>
            <a:lvl4pPr marL="1462949" indent="0">
              <a:buNone/>
              <a:defRPr sz="1500"/>
            </a:lvl4pPr>
            <a:lvl5pPr marL="1950598" indent="0">
              <a:buNone/>
              <a:defRPr sz="1500"/>
            </a:lvl5pPr>
            <a:lvl6pPr marL="2438248" indent="0">
              <a:buNone/>
              <a:defRPr sz="1500"/>
            </a:lvl6pPr>
            <a:lvl7pPr marL="2925897" indent="0">
              <a:buNone/>
              <a:defRPr sz="1500"/>
            </a:lvl7pPr>
            <a:lvl8pPr marL="3413547" indent="0">
              <a:buNone/>
              <a:defRPr sz="1500"/>
            </a:lvl8pPr>
            <a:lvl9pPr marL="3901196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443AC2-15F6-4780-AA83-EBCDC94D39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69875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87680" y="1459654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8080" y="1459654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2F0C1E-3DA0-4800-A7B3-A829C0C6AD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2366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0" y="292947"/>
            <a:ext cx="877824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53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53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54694" y="1637454"/>
            <a:ext cx="4311227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54694" y="2319867"/>
            <a:ext cx="4311227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134137-E5D6-44EA-9CE6-4C2943EC6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7074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E1A2A-F5FB-449B-9EFB-8688742C15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84457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196A06-47FE-4A13-8D13-B8FB68CAF2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06367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1" y="291253"/>
            <a:ext cx="320886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13387" y="291254"/>
            <a:ext cx="545253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1" y="1530774"/>
            <a:ext cx="320886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F48BF-91B3-465A-BC72-E2B0D1D686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00993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177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11774" y="653627"/>
            <a:ext cx="5852160" cy="4389120"/>
          </a:xfrm>
        </p:spPr>
        <p:txBody>
          <a:bodyPr/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1177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12B1C2-775D-40BB-84F9-F5B366AAFD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119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D6E865-826E-4FAC-91AC-CD5EE0309D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31077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0" y="292947"/>
            <a:ext cx="877824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53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53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4694" y="1637454"/>
            <a:ext cx="4311227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4694" y="2319867"/>
            <a:ext cx="4311227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0F9820-C918-45EC-B5D8-DBB080F758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74215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67974" y="-1694"/>
            <a:ext cx="2197947" cy="628904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4134" y="-1694"/>
            <a:ext cx="6431280" cy="628904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BDFE0B-29F2-47C3-B2CF-0FBEA4A846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81292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1520" y="2272454"/>
            <a:ext cx="8290560" cy="15680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63040" y="4145280"/>
            <a:ext cx="6827520" cy="1869440"/>
          </a:xfrm>
        </p:spPr>
        <p:txBody>
          <a:bodyPr/>
          <a:lstStyle>
            <a:lvl1pPr marL="0" indent="0" algn="ctr">
              <a:buNone/>
              <a:defRPr/>
            </a:lvl1pPr>
            <a:lvl2pPr marL="487650" indent="0" algn="ctr">
              <a:buNone/>
              <a:defRPr/>
            </a:lvl2pPr>
            <a:lvl3pPr marL="975299" indent="0" algn="ctr">
              <a:buNone/>
              <a:defRPr/>
            </a:lvl3pPr>
            <a:lvl4pPr marL="1462949" indent="0" algn="ctr">
              <a:buNone/>
              <a:defRPr/>
            </a:lvl4pPr>
            <a:lvl5pPr marL="1950598" indent="0" algn="ctr">
              <a:buNone/>
              <a:defRPr/>
            </a:lvl5pPr>
            <a:lvl6pPr marL="2438248" indent="0" algn="ctr">
              <a:buNone/>
              <a:defRPr/>
            </a:lvl6pPr>
            <a:lvl7pPr marL="2925897" indent="0" algn="ctr">
              <a:buNone/>
              <a:defRPr/>
            </a:lvl7pPr>
            <a:lvl8pPr marL="3413547" indent="0" algn="ctr">
              <a:buNone/>
              <a:defRPr/>
            </a:lvl8pPr>
            <a:lvl9pPr marL="390119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337EBB-2999-4998-A401-711DACFDCE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94124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EAD29C-3B32-4E12-9D44-21BB800C55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78230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0467" y="4700694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7046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/>
            </a:lvl1pPr>
            <a:lvl2pPr marL="487650" indent="0">
              <a:buNone/>
              <a:defRPr sz="1900"/>
            </a:lvl2pPr>
            <a:lvl3pPr marL="975299" indent="0">
              <a:buNone/>
              <a:defRPr sz="1700"/>
            </a:lvl3pPr>
            <a:lvl4pPr marL="1462949" indent="0">
              <a:buNone/>
              <a:defRPr sz="1500"/>
            </a:lvl4pPr>
            <a:lvl5pPr marL="1950598" indent="0">
              <a:buNone/>
              <a:defRPr sz="1500"/>
            </a:lvl5pPr>
            <a:lvl6pPr marL="2438248" indent="0">
              <a:buNone/>
              <a:defRPr sz="1500"/>
            </a:lvl6pPr>
            <a:lvl7pPr marL="2925897" indent="0">
              <a:buNone/>
              <a:defRPr sz="1500"/>
            </a:lvl7pPr>
            <a:lvl8pPr marL="3413547" indent="0">
              <a:buNone/>
              <a:defRPr sz="1500"/>
            </a:lvl8pPr>
            <a:lvl9pPr marL="3901196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58170-3A02-4A8D-97CD-65150D9EE4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7547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87680" y="1459654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8080" y="1459654"/>
            <a:ext cx="4307840" cy="482769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CEAF9-7CA9-4D29-8B79-222F8DEE9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8496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0" y="292947"/>
            <a:ext cx="877824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53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53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54694" y="1637454"/>
            <a:ext cx="4311227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54694" y="2319867"/>
            <a:ext cx="4311227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CD2D16-25A3-44E9-9EC0-4EBA0D5832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10260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D38D6-0FE9-4B03-ABD2-265A3A4415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16564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9A321-86E7-48C4-A605-7A07248D78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1659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7681" y="291253"/>
            <a:ext cx="320886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13387" y="291254"/>
            <a:ext cx="545253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1" y="1530774"/>
            <a:ext cx="320886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FFB35-1E07-49D2-9A24-6B307E405F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6323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177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11774" y="653627"/>
            <a:ext cx="5852160" cy="4389120"/>
          </a:xfrm>
        </p:spPr>
        <p:txBody>
          <a:bodyPr/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1177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17140-B3AB-488B-AEC2-675C3E40DA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88653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65100" y="6769100"/>
            <a:ext cx="2274888" cy="388938"/>
          </a:xfrm>
        </p:spPr>
        <p:txBody>
          <a:bodyPr lIns="36000"/>
          <a:lstStyle>
            <a:lvl1pPr algn="l">
              <a:defRPr/>
            </a:lvl1pPr>
          </a:lstStyle>
          <a:p>
            <a:pPr>
              <a:defRPr/>
            </a:pPr>
            <a:fld id="{D3C4F38D-F99A-4486-BB99-2C229EC5EB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41364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A1BADC-EC32-4893-ADD2-D896E4A1D3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28237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67974" y="-1694"/>
            <a:ext cx="2197947" cy="628904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4134" y="-1694"/>
            <a:ext cx="6431280" cy="628904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B9C89E-BBD8-4BAE-B291-2B06458114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01551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FGC-Bkgr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2"/>
          <p:cNvGrpSpPr>
            <a:grpSpLocks/>
          </p:cNvGrpSpPr>
          <p:nvPr userDrawn="1"/>
        </p:nvGrpSpPr>
        <p:grpSpPr bwMode="auto">
          <a:xfrm>
            <a:off x="914400" y="5467350"/>
            <a:ext cx="7927975" cy="1304925"/>
            <a:chOff x="1805761" y="5524743"/>
            <a:chExt cx="7918450" cy="1303096"/>
          </a:xfrm>
        </p:grpSpPr>
        <p:sp>
          <p:nvSpPr>
            <p:cNvPr id="6" name="Rectangle 25"/>
            <p:cNvSpPr/>
            <p:nvPr userDrawn="1"/>
          </p:nvSpPr>
          <p:spPr bwMode="auto">
            <a:xfrm>
              <a:off x="1805761" y="5524743"/>
              <a:ext cx="1783792" cy="1303096"/>
            </a:xfrm>
            <a:prstGeom prst="rect">
              <a:avLst/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7" name="Rectangle 26"/>
            <p:cNvSpPr/>
            <p:nvPr userDrawn="1"/>
          </p:nvSpPr>
          <p:spPr bwMode="auto">
            <a:xfrm>
              <a:off x="3849591" y="5524743"/>
              <a:ext cx="1783791" cy="1301511"/>
            </a:xfrm>
            <a:prstGeom prst="rect">
              <a:avLst/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8" name="Rectangle 27"/>
            <p:cNvSpPr/>
            <p:nvPr userDrawn="1"/>
          </p:nvSpPr>
          <p:spPr bwMode="auto">
            <a:xfrm>
              <a:off x="5896590" y="5524743"/>
              <a:ext cx="1783792" cy="1301511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  <p:sp>
          <p:nvSpPr>
            <p:cNvPr id="9" name="Rectangle 28"/>
            <p:cNvSpPr/>
            <p:nvPr userDrawn="1"/>
          </p:nvSpPr>
          <p:spPr bwMode="auto">
            <a:xfrm>
              <a:off x="7940420" y="5524743"/>
              <a:ext cx="1783791" cy="1303096"/>
            </a:xfrm>
            <a:prstGeom prst="rect">
              <a:avLst/>
            </a:prstGeom>
            <a:blipFill dpi="0" rotWithShape="1">
              <a:blip r:embed="rId6" cstate="print"/>
              <a:srcRect/>
              <a:stretch>
                <a:fillRect/>
              </a:stretch>
            </a:blip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prstClr val="white"/>
                </a:solidFill>
              </a:endParaRPr>
            </a:p>
          </p:txBody>
        </p:sp>
      </p:grpSp>
      <p:pic>
        <p:nvPicPr>
          <p:cNvPr id="10" name="Picture 23" descr="FGC-logo-ON-BLUE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42" r="39293"/>
          <a:stretch>
            <a:fillRect/>
          </a:stretch>
        </p:blipFill>
        <p:spPr bwMode="auto">
          <a:xfrm>
            <a:off x="788988" y="1441450"/>
            <a:ext cx="1663700" cy="137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925" y="3296251"/>
            <a:ext cx="5188075" cy="590925"/>
          </a:xfrm>
          <a:noFill/>
          <a:ln w="9525">
            <a:noFill/>
            <a:miter lim="800000"/>
            <a:headEnd/>
            <a:tailEnd/>
          </a:ln>
        </p:spPr>
        <p:txBody>
          <a:bodyPr wrap="none" anchor="t">
            <a:spAutoFit/>
          </a:bodyPr>
          <a:lstStyle>
            <a:lvl1pPr algn="l" defTabSz="974725" rtl="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lang="en-US" sz="3100" b="1" kern="120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6925" y="3974011"/>
            <a:ext cx="4391511" cy="467814"/>
          </a:xfr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marL="0" indent="0" algn="l" defTabSz="974725" rtl="0" fontAlgn="base">
              <a:spcBef>
                <a:spcPct val="50000"/>
              </a:spcBef>
              <a:spcAft>
                <a:spcPct val="0"/>
              </a:spcAft>
              <a:buNone/>
              <a:defRPr lang="en-US" sz="2400" b="1" kern="120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487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2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5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3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62718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458913"/>
            <a:ext cx="8778240" cy="4827694"/>
          </a:xfrm>
        </p:spPr>
        <p:txBody>
          <a:bodyPr>
            <a:normAutofit/>
          </a:bodyPr>
          <a:lstStyle>
            <a:lvl1pPr marL="350838" indent="-350838">
              <a:buSzPct val="135000"/>
              <a:buFontTx/>
              <a:buBlip>
                <a:blip r:embed="rId2"/>
              </a:buBlip>
              <a:defRPr sz="2400">
                <a:solidFill>
                  <a:schemeClr val="tx2">
                    <a:lumMod val="50000"/>
                  </a:schemeClr>
                </a:solidFill>
                <a:latin typeface="+mj-lt"/>
              </a:defRPr>
            </a:lvl1pPr>
            <a:lvl2pPr marL="812800" indent="-274638">
              <a:defRPr sz="2000">
                <a:solidFill>
                  <a:schemeClr val="tx2">
                    <a:lumMod val="50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  <a:latin typeface="+mj-lt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+mj-lt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799" y="1914"/>
            <a:ext cx="8778240" cy="1219200"/>
          </a:xfrm>
        </p:spPr>
        <p:txBody>
          <a:bodyPr rtlCol="0">
            <a:normAutofit/>
          </a:bodyPr>
          <a:lstStyle>
            <a:lvl1pPr algn="l" defTabSz="975299" rtl="0" eaLnBrk="1" latinLnBrk="0" hangingPunct="1">
              <a:spcBef>
                <a:spcPct val="0"/>
              </a:spcBef>
              <a:buNone/>
              <a:defRPr lang="en-US" sz="3200" b="1" kern="120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5913438" y="6780213"/>
            <a:ext cx="2274887" cy="3889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5263" y="6791325"/>
            <a:ext cx="2274887" cy="388938"/>
          </a:xfrm>
        </p:spPr>
        <p:txBody>
          <a:bodyPr lIns="36000"/>
          <a:lstStyle>
            <a:lvl1pPr algn="l">
              <a:defRPr/>
            </a:lvl1pPr>
          </a:lstStyle>
          <a:p>
            <a:fld id="{CE027141-7502-4351-98CE-0AB7DFFC560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18925577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grpSp>
        <p:nvGrpSpPr>
          <p:cNvPr id="4" name="Group 17"/>
          <p:cNvGrpSpPr>
            <a:grpSpLocks/>
          </p:cNvGrpSpPr>
          <p:nvPr userDrawn="1"/>
        </p:nvGrpSpPr>
        <p:grpSpPr bwMode="auto">
          <a:xfrm>
            <a:off x="-3216275" y="0"/>
            <a:ext cx="12149138" cy="7321550"/>
            <a:chOff x="-2916238" y="180975"/>
            <a:chExt cx="11849101" cy="7140576"/>
          </a:xfrm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-688242" y="188717"/>
              <a:ext cx="9621105" cy="7132834"/>
            </a:xfrm>
            <a:custGeom>
              <a:avLst/>
              <a:gdLst>
                <a:gd name="T0" fmla="*/ 2147483647 w 1434"/>
                <a:gd name="T1" fmla="*/ 2147483647 h 1062"/>
                <a:gd name="T2" fmla="*/ 2147483647 w 1434"/>
                <a:gd name="T3" fmla="*/ 2147483647 h 1062"/>
                <a:gd name="T4" fmla="*/ 2147483647 w 1434"/>
                <a:gd name="T5" fmla="*/ 2147483647 h 1062"/>
                <a:gd name="T6" fmla="*/ 2147483647 w 1434"/>
                <a:gd name="T7" fmla="*/ 2147483647 h 1062"/>
                <a:gd name="T8" fmla="*/ 2147483647 w 1434"/>
                <a:gd name="T9" fmla="*/ 2147483647 h 1062"/>
                <a:gd name="T10" fmla="*/ 2147483647 w 1434"/>
                <a:gd name="T11" fmla="*/ 2147483647 h 1062"/>
                <a:gd name="T12" fmla="*/ 2147483647 w 1434"/>
                <a:gd name="T13" fmla="*/ 2147483647 h 1062"/>
                <a:gd name="T14" fmla="*/ 2147483647 w 1434"/>
                <a:gd name="T15" fmla="*/ 2147483647 h 1062"/>
                <a:gd name="T16" fmla="*/ 2147483647 w 1434"/>
                <a:gd name="T17" fmla="*/ 2147483647 h 1062"/>
                <a:gd name="T18" fmla="*/ 2147483647 w 1434"/>
                <a:gd name="T19" fmla="*/ 2147483647 h 1062"/>
                <a:gd name="T20" fmla="*/ 2147483647 w 1434"/>
                <a:gd name="T21" fmla="*/ 2147483647 h 1062"/>
                <a:gd name="T22" fmla="*/ 2147483647 w 1434"/>
                <a:gd name="T23" fmla="*/ 2147483647 h 1062"/>
                <a:gd name="T24" fmla="*/ 2147483647 w 1434"/>
                <a:gd name="T25" fmla="*/ 2147483647 h 1062"/>
                <a:gd name="T26" fmla="*/ 2147483647 w 1434"/>
                <a:gd name="T27" fmla="*/ 2147483647 h 1062"/>
                <a:gd name="T28" fmla="*/ 2147483647 w 1434"/>
                <a:gd name="T29" fmla="*/ 2147483647 h 1062"/>
                <a:gd name="T30" fmla="*/ 2147483647 w 1434"/>
                <a:gd name="T31" fmla="*/ 2147483647 h 1062"/>
                <a:gd name="T32" fmla="*/ 2147483647 w 1434"/>
                <a:gd name="T33" fmla="*/ 2147483647 h 1062"/>
                <a:gd name="T34" fmla="*/ 2147483647 w 1434"/>
                <a:gd name="T35" fmla="*/ 2147483647 h 1062"/>
                <a:gd name="T36" fmla="*/ 2147483647 w 1434"/>
                <a:gd name="T37" fmla="*/ 2147483647 h 1062"/>
                <a:gd name="T38" fmla="*/ 2147483647 w 1434"/>
                <a:gd name="T39" fmla="*/ 2147483647 h 1062"/>
                <a:gd name="T40" fmla="*/ 2147483647 w 1434"/>
                <a:gd name="T41" fmla="*/ 2147483647 h 1062"/>
                <a:gd name="T42" fmla="*/ 2147483647 w 1434"/>
                <a:gd name="T43" fmla="*/ 2147483647 h 1062"/>
                <a:gd name="T44" fmla="*/ 2147483647 w 1434"/>
                <a:gd name="T45" fmla="*/ 2147483647 h 1062"/>
                <a:gd name="T46" fmla="*/ 2147483647 w 1434"/>
                <a:gd name="T47" fmla="*/ 2147483647 h 1062"/>
                <a:gd name="T48" fmla="*/ 2147483647 w 1434"/>
                <a:gd name="T49" fmla="*/ 2147483647 h 1062"/>
                <a:gd name="T50" fmla="*/ 2147483647 w 1434"/>
                <a:gd name="T51" fmla="*/ 2147483647 h 1062"/>
                <a:gd name="T52" fmla="*/ 2147483647 w 1434"/>
                <a:gd name="T53" fmla="*/ 2147483647 h 1062"/>
                <a:gd name="T54" fmla="*/ 2147483647 w 1434"/>
                <a:gd name="T55" fmla="*/ 2147483647 h 1062"/>
                <a:gd name="T56" fmla="*/ 2147483647 w 1434"/>
                <a:gd name="T57" fmla="*/ 2147483647 h 1062"/>
                <a:gd name="T58" fmla="*/ 2147483647 w 1434"/>
                <a:gd name="T59" fmla="*/ 2147483647 h 1062"/>
                <a:gd name="T60" fmla="*/ 2147483647 w 1434"/>
                <a:gd name="T61" fmla="*/ 2147483647 h 1062"/>
                <a:gd name="T62" fmla="*/ 2147483647 w 1434"/>
                <a:gd name="T63" fmla="*/ 2147483647 h 1062"/>
                <a:gd name="T64" fmla="*/ 2147483647 w 1434"/>
                <a:gd name="T65" fmla="*/ 2147483647 h 1062"/>
                <a:gd name="T66" fmla="*/ 2147483647 w 1434"/>
                <a:gd name="T67" fmla="*/ 2147483647 h 1062"/>
                <a:gd name="T68" fmla="*/ 2147483647 w 1434"/>
                <a:gd name="T69" fmla="*/ 2147483647 h 1062"/>
                <a:gd name="T70" fmla="*/ 2147483647 w 1434"/>
                <a:gd name="T71" fmla="*/ 2147483647 h 1062"/>
                <a:gd name="T72" fmla="*/ 2147483647 w 1434"/>
                <a:gd name="T73" fmla="*/ 2147483647 h 1062"/>
                <a:gd name="T74" fmla="*/ 2147483647 w 1434"/>
                <a:gd name="T75" fmla="*/ 2147483647 h 1062"/>
                <a:gd name="T76" fmla="*/ 2147483647 w 1434"/>
                <a:gd name="T77" fmla="*/ 2147483647 h 1062"/>
                <a:gd name="T78" fmla="*/ 2147483647 w 1434"/>
                <a:gd name="T79" fmla="*/ 2147483647 h 1062"/>
                <a:gd name="T80" fmla="*/ 2147483647 w 1434"/>
                <a:gd name="T81" fmla="*/ 2147483647 h 1062"/>
                <a:gd name="T82" fmla="*/ 2147483647 w 1434"/>
                <a:gd name="T83" fmla="*/ 2147483647 h 1062"/>
                <a:gd name="T84" fmla="*/ 2147483647 w 1434"/>
                <a:gd name="T85" fmla="*/ 2147483647 h 1062"/>
                <a:gd name="T86" fmla="*/ 2147483647 w 1434"/>
                <a:gd name="T87" fmla="*/ 2147483647 h 1062"/>
                <a:gd name="T88" fmla="*/ 2147483647 w 1434"/>
                <a:gd name="T89" fmla="*/ 2147483647 h 1062"/>
                <a:gd name="T90" fmla="*/ 2147483647 w 1434"/>
                <a:gd name="T91" fmla="*/ 2147483647 h 1062"/>
                <a:gd name="T92" fmla="*/ 2147483647 w 1434"/>
                <a:gd name="T93" fmla="*/ 2147483647 h 1062"/>
                <a:gd name="T94" fmla="*/ 2147483647 w 1434"/>
                <a:gd name="T95" fmla="*/ 2147483647 h 1062"/>
                <a:gd name="T96" fmla="*/ 2147483647 w 1434"/>
                <a:gd name="T97" fmla="*/ 2147483647 h 1062"/>
                <a:gd name="T98" fmla="*/ 2147483647 w 1434"/>
                <a:gd name="T99" fmla="*/ 2147483647 h 1062"/>
                <a:gd name="T100" fmla="*/ 2147483647 w 1434"/>
                <a:gd name="T101" fmla="*/ 2147483647 h 1062"/>
                <a:gd name="T102" fmla="*/ 2147483647 w 1434"/>
                <a:gd name="T103" fmla="*/ 2147483647 h 1062"/>
                <a:gd name="T104" fmla="*/ 2147483647 w 1434"/>
                <a:gd name="T105" fmla="*/ 2147483647 h 1062"/>
                <a:gd name="T106" fmla="*/ 2147483647 w 1434"/>
                <a:gd name="T107" fmla="*/ 2147483647 h 1062"/>
                <a:gd name="T108" fmla="*/ 2147483647 w 1434"/>
                <a:gd name="T109" fmla="*/ 2147483647 h 1062"/>
                <a:gd name="T110" fmla="*/ 2147483647 w 1434"/>
                <a:gd name="T111" fmla="*/ 2147483647 h 1062"/>
                <a:gd name="T112" fmla="*/ 2147483647 w 1434"/>
                <a:gd name="T113" fmla="*/ 2147483647 h 1062"/>
                <a:gd name="T114" fmla="*/ 2147483647 w 1434"/>
                <a:gd name="T115" fmla="*/ 2147483647 h 1062"/>
                <a:gd name="T116" fmla="*/ 2147483647 w 1434"/>
                <a:gd name="T117" fmla="*/ 2147483647 h 1062"/>
                <a:gd name="T118" fmla="*/ 2147483647 w 1434"/>
                <a:gd name="T119" fmla="*/ 2147483647 h 1062"/>
                <a:gd name="T120" fmla="*/ 2147483647 w 1434"/>
                <a:gd name="T121" fmla="*/ 2147483647 h 1062"/>
                <a:gd name="T122" fmla="*/ 2147483647 w 1434"/>
                <a:gd name="T123" fmla="*/ 2147483647 h 10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34" h="1062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20" y="12"/>
                    <a:pt x="39" y="25"/>
                    <a:pt x="55" y="37"/>
                  </a:cubicBezTo>
                  <a:cubicBezTo>
                    <a:pt x="61" y="40"/>
                    <a:pt x="66" y="45"/>
                    <a:pt x="72" y="46"/>
                  </a:cubicBezTo>
                  <a:cubicBezTo>
                    <a:pt x="52" y="30"/>
                    <a:pt x="30" y="17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21" y="5"/>
                    <a:pt x="31" y="11"/>
                    <a:pt x="41" y="19"/>
                  </a:cubicBezTo>
                  <a:cubicBezTo>
                    <a:pt x="52" y="26"/>
                    <a:pt x="61" y="38"/>
                    <a:pt x="76" y="33"/>
                  </a:cubicBezTo>
                  <a:cubicBezTo>
                    <a:pt x="70" y="28"/>
                    <a:pt x="63" y="23"/>
                    <a:pt x="56" y="17"/>
                  </a:cubicBezTo>
                  <a:cubicBezTo>
                    <a:pt x="48" y="12"/>
                    <a:pt x="39" y="7"/>
                    <a:pt x="34" y="0"/>
                  </a:cubicBezTo>
                  <a:cubicBezTo>
                    <a:pt x="35" y="0"/>
                    <a:pt x="37" y="0"/>
                    <a:pt x="38" y="0"/>
                  </a:cubicBezTo>
                  <a:cubicBezTo>
                    <a:pt x="52" y="11"/>
                    <a:pt x="66" y="21"/>
                    <a:pt x="81" y="30"/>
                  </a:cubicBezTo>
                  <a:cubicBezTo>
                    <a:pt x="116" y="59"/>
                    <a:pt x="155" y="83"/>
                    <a:pt x="190" y="112"/>
                  </a:cubicBezTo>
                  <a:cubicBezTo>
                    <a:pt x="290" y="182"/>
                    <a:pt x="389" y="253"/>
                    <a:pt x="489" y="324"/>
                  </a:cubicBezTo>
                  <a:cubicBezTo>
                    <a:pt x="513" y="338"/>
                    <a:pt x="534" y="356"/>
                    <a:pt x="559" y="370"/>
                  </a:cubicBezTo>
                  <a:cubicBezTo>
                    <a:pt x="567" y="379"/>
                    <a:pt x="579" y="383"/>
                    <a:pt x="587" y="391"/>
                  </a:cubicBezTo>
                  <a:cubicBezTo>
                    <a:pt x="624" y="413"/>
                    <a:pt x="656" y="437"/>
                    <a:pt x="692" y="459"/>
                  </a:cubicBezTo>
                  <a:cubicBezTo>
                    <a:pt x="694" y="452"/>
                    <a:pt x="693" y="440"/>
                    <a:pt x="690" y="434"/>
                  </a:cubicBezTo>
                  <a:cubicBezTo>
                    <a:pt x="718" y="427"/>
                    <a:pt x="741" y="415"/>
                    <a:pt x="766" y="406"/>
                  </a:cubicBezTo>
                  <a:cubicBezTo>
                    <a:pt x="758" y="392"/>
                    <a:pt x="746" y="381"/>
                    <a:pt x="737" y="367"/>
                  </a:cubicBezTo>
                  <a:cubicBezTo>
                    <a:pt x="736" y="366"/>
                    <a:pt x="735" y="366"/>
                    <a:pt x="733" y="366"/>
                  </a:cubicBezTo>
                  <a:cubicBezTo>
                    <a:pt x="732" y="364"/>
                    <a:pt x="733" y="363"/>
                    <a:pt x="734" y="362"/>
                  </a:cubicBezTo>
                  <a:cubicBezTo>
                    <a:pt x="733" y="363"/>
                    <a:pt x="727" y="361"/>
                    <a:pt x="729" y="358"/>
                  </a:cubicBezTo>
                  <a:cubicBezTo>
                    <a:pt x="731" y="356"/>
                    <a:pt x="733" y="359"/>
                    <a:pt x="733" y="360"/>
                  </a:cubicBezTo>
                  <a:cubicBezTo>
                    <a:pt x="739" y="359"/>
                    <a:pt x="731" y="355"/>
                    <a:pt x="733" y="354"/>
                  </a:cubicBezTo>
                  <a:cubicBezTo>
                    <a:pt x="733" y="350"/>
                    <a:pt x="735" y="356"/>
                    <a:pt x="737" y="353"/>
                  </a:cubicBezTo>
                  <a:cubicBezTo>
                    <a:pt x="736" y="340"/>
                    <a:pt x="736" y="322"/>
                    <a:pt x="736" y="303"/>
                  </a:cubicBezTo>
                  <a:cubicBezTo>
                    <a:pt x="734" y="299"/>
                    <a:pt x="729" y="297"/>
                    <a:pt x="727" y="293"/>
                  </a:cubicBezTo>
                  <a:cubicBezTo>
                    <a:pt x="731" y="291"/>
                    <a:pt x="730" y="296"/>
                    <a:pt x="734" y="296"/>
                  </a:cubicBezTo>
                  <a:cubicBezTo>
                    <a:pt x="723" y="283"/>
                    <a:pt x="708" y="274"/>
                    <a:pt x="698" y="261"/>
                  </a:cubicBezTo>
                  <a:cubicBezTo>
                    <a:pt x="713" y="272"/>
                    <a:pt x="724" y="286"/>
                    <a:pt x="739" y="297"/>
                  </a:cubicBezTo>
                  <a:cubicBezTo>
                    <a:pt x="741" y="297"/>
                    <a:pt x="742" y="295"/>
                    <a:pt x="743" y="295"/>
                  </a:cubicBezTo>
                  <a:cubicBezTo>
                    <a:pt x="713" y="268"/>
                    <a:pt x="677" y="233"/>
                    <a:pt x="649" y="205"/>
                  </a:cubicBezTo>
                  <a:cubicBezTo>
                    <a:pt x="644" y="201"/>
                    <a:pt x="644" y="198"/>
                    <a:pt x="638" y="202"/>
                  </a:cubicBezTo>
                  <a:cubicBezTo>
                    <a:pt x="657" y="223"/>
                    <a:pt x="679" y="240"/>
                    <a:pt x="698" y="261"/>
                  </a:cubicBezTo>
                  <a:cubicBezTo>
                    <a:pt x="691" y="259"/>
                    <a:pt x="690" y="251"/>
                    <a:pt x="683" y="250"/>
                  </a:cubicBezTo>
                  <a:cubicBezTo>
                    <a:pt x="684" y="248"/>
                    <a:pt x="683" y="248"/>
                    <a:pt x="683" y="247"/>
                  </a:cubicBezTo>
                  <a:cubicBezTo>
                    <a:pt x="667" y="234"/>
                    <a:pt x="653" y="220"/>
                    <a:pt x="638" y="205"/>
                  </a:cubicBezTo>
                  <a:cubicBezTo>
                    <a:pt x="639" y="211"/>
                    <a:pt x="646" y="216"/>
                    <a:pt x="651" y="219"/>
                  </a:cubicBezTo>
                  <a:cubicBezTo>
                    <a:pt x="655" y="224"/>
                    <a:pt x="660" y="229"/>
                    <a:pt x="666" y="233"/>
                  </a:cubicBezTo>
                  <a:cubicBezTo>
                    <a:pt x="679" y="250"/>
                    <a:pt x="698" y="261"/>
                    <a:pt x="711" y="278"/>
                  </a:cubicBezTo>
                  <a:cubicBezTo>
                    <a:pt x="713" y="278"/>
                    <a:pt x="714" y="278"/>
                    <a:pt x="715" y="278"/>
                  </a:cubicBezTo>
                  <a:cubicBezTo>
                    <a:pt x="717" y="286"/>
                    <a:pt x="725" y="286"/>
                    <a:pt x="727" y="293"/>
                  </a:cubicBezTo>
                  <a:cubicBezTo>
                    <a:pt x="622" y="198"/>
                    <a:pt x="522" y="99"/>
                    <a:pt x="422" y="0"/>
                  </a:cubicBezTo>
                  <a:cubicBezTo>
                    <a:pt x="423" y="0"/>
                    <a:pt x="425" y="0"/>
                    <a:pt x="426" y="0"/>
                  </a:cubicBezTo>
                  <a:cubicBezTo>
                    <a:pt x="442" y="18"/>
                    <a:pt x="464" y="38"/>
                    <a:pt x="482" y="56"/>
                  </a:cubicBezTo>
                  <a:cubicBezTo>
                    <a:pt x="531" y="103"/>
                    <a:pt x="580" y="153"/>
                    <a:pt x="629" y="199"/>
                  </a:cubicBezTo>
                  <a:cubicBezTo>
                    <a:pt x="627" y="194"/>
                    <a:pt x="622" y="189"/>
                    <a:pt x="618" y="186"/>
                  </a:cubicBezTo>
                  <a:cubicBezTo>
                    <a:pt x="588" y="158"/>
                    <a:pt x="559" y="128"/>
                    <a:pt x="529" y="99"/>
                  </a:cubicBezTo>
                  <a:cubicBezTo>
                    <a:pt x="495" y="67"/>
                    <a:pt x="461" y="34"/>
                    <a:pt x="429" y="0"/>
                  </a:cubicBezTo>
                  <a:cubicBezTo>
                    <a:pt x="430" y="0"/>
                    <a:pt x="431" y="0"/>
                    <a:pt x="433" y="0"/>
                  </a:cubicBezTo>
                  <a:cubicBezTo>
                    <a:pt x="433" y="1"/>
                    <a:pt x="433" y="2"/>
                    <a:pt x="433" y="2"/>
                  </a:cubicBezTo>
                  <a:cubicBezTo>
                    <a:pt x="497" y="63"/>
                    <a:pt x="558" y="128"/>
                    <a:pt x="623" y="188"/>
                  </a:cubicBezTo>
                  <a:cubicBezTo>
                    <a:pt x="628" y="192"/>
                    <a:pt x="632" y="198"/>
                    <a:pt x="639" y="197"/>
                  </a:cubicBezTo>
                  <a:cubicBezTo>
                    <a:pt x="632" y="188"/>
                    <a:pt x="623" y="180"/>
                    <a:pt x="614" y="172"/>
                  </a:cubicBezTo>
                  <a:cubicBezTo>
                    <a:pt x="590" y="148"/>
                    <a:pt x="564" y="124"/>
                    <a:pt x="540" y="99"/>
                  </a:cubicBezTo>
                  <a:cubicBezTo>
                    <a:pt x="508" y="65"/>
                    <a:pt x="473" y="34"/>
                    <a:pt x="442" y="0"/>
                  </a:cubicBezTo>
                  <a:cubicBezTo>
                    <a:pt x="444" y="0"/>
                    <a:pt x="445" y="0"/>
                    <a:pt x="446" y="0"/>
                  </a:cubicBezTo>
                  <a:cubicBezTo>
                    <a:pt x="543" y="101"/>
                    <a:pt x="644" y="197"/>
                    <a:pt x="744" y="294"/>
                  </a:cubicBezTo>
                  <a:cubicBezTo>
                    <a:pt x="767" y="287"/>
                    <a:pt x="788" y="278"/>
                    <a:pt x="810" y="270"/>
                  </a:cubicBezTo>
                  <a:cubicBezTo>
                    <a:pt x="809" y="266"/>
                    <a:pt x="811" y="262"/>
                    <a:pt x="810" y="259"/>
                  </a:cubicBezTo>
                  <a:cubicBezTo>
                    <a:pt x="808" y="254"/>
                    <a:pt x="798" y="247"/>
                    <a:pt x="794" y="243"/>
                  </a:cubicBezTo>
                  <a:cubicBezTo>
                    <a:pt x="778" y="227"/>
                    <a:pt x="763" y="209"/>
                    <a:pt x="747" y="193"/>
                  </a:cubicBezTo>
                  <a:cubicBezTo>
                    <a:pt x="730" y="175"/>
                    <a:pt x="714" y="156"/>
                    <a:pt x="696" y="138"/>
                  </a:cubicBezTo>
                  <a:cubicBezTo>
                    <a:pt x="654" y="94"/>
                    <a:pt x="612" y="46"/>
                    <a:pt x="572" y="0"/>
                  </a:cubicBezTo>
                  <a:cubicBezTo>
                    <a:pt x="574" y="0"/>
                    <a:pt x="575" y="0"/>
                    <a:pt x="577" y="0"/>
                  </a:cubicBezTo>
                  <a:cubicBezTo>
                    <a:pt x="613" y="43"/>
                    <a:pt x="653" y="85"/>
                    <a:pt x="692" y="127"/>
                  </a:cubicBezTo>
                  <a:cubicBezTo>
                    <a:pt x="710" y="147"/>
                    <a:pt x="727" y="167"/>
                    <a:pt x="745" y="186"/>
                  </a:cubicBezTo>
                  <a:cubicBezTo>
                    <a:pt x="760" y="202"/>
                    <a:pt x="775" y="216"/>
                    <a:pt x="789" y="232"/>
                  </a:cubicBezTo>
                  <a:cubicBezTo>
                    <a:pt x="793" y="236"/>
                    <a:pt x="797" y="240"/>
                    <a:pt x="802" y="244"/>
                  </a:cubicBezTo>
                  <a:cubicBezTo>
                    <a:pt x="803" y="243"/>
                    <a:pt x="802" y="241"/>
                    <a:pt x="803" y="240"/>
                  </a:cubicBezTo>
                  <a:cubicBezTo>
                    <a:pt x="799" y="237"/>
                    <a:pt x="796" y="232"/>
                    <a:pt x="792" y="229"/>
                  </a:cubicBezTo>
                  <a:cubicBezTo>
                    <a:pt x="798" y="229"/>
                    <a:pt x="801" y="239"/>
                    <a:pt x="807" y="241"/>
                  </a:cubicBezTo>
                  <a:cubicBezTo>
                    <a:pt x="808" y="244"/>
                    <a:pt x="804" y="243"/>
                    <a:pt x="804" y="246"/>
                  </a:cubicBezTo>
                  <a:cubicBezTo>
                    <a:pt x="805" y="250"/>
                    <a:pt x="808" y="252"/>
                    <a:pt x="810" y="254"/>
                  </a:cubicBezTo>
                  <a:cubicBezTo>
                    <a:pt x="812" y="247"/>
                    <a:pt x="813" y="237"/>
                    <a:pt x="816" y="229"/>
                  </a:cubicBezTo>
                  <a:cubicBezTo>
                    <a:pt x="820" y="229"/>
                    <a:pt x="824" y="229"/>
                    <a:pt x="828" y="229"/>
                  </a:cubicBezTo>
                  <a:cubicBezTo>
                    <a:pt x="831" y="241"/>
                    <a:pt x="833" y="256"/>
                    <a:pt x="835" y="270"/>
                  </a:cubicBezTo>
                  <a:cubicBezTo>
                    <a:pt x="862" y="274"/>
                    <a:pt x="888" y="282"/>
                    <a:pt x="913" y="285"/>
                  </a:cubicBezTo>
                  <a:cubicBezTo>
                    <a:pt x="913" y="288"/>
                    <a:pt x="912" y="290"/>
                    <a:pt x="910" y="289"/>
                  </a:cubicBezTo>
                  <a:cubicBezTo>
                    <a:pt x="913" y="305"/>
                    <a:pt x="908" y="327"/>
                    <a:pt x="914" y="341"/>
                  </a:cubicBezTo>
                  <a:cubicBezTo>
                    <a:pt x="915" y="343"/>
                    <a:pt x="911" y="341"/>
                    <a:pt x="911" y="343"/>
                  </a:cubicBezTo>
                  <a:cubicBezTo>
                    <a:pt x="912" y="345"/>
                    <a:pt x="915" y="347"/>
                    <a:pt x="914" y="352"/>
                  </a:cubicBezTo>
                  <a:cubicBezTo>
                    <a:pt x="912" y="350"/>
                    <a:pt x="909" y="348"/>
                    <a:pt x="907" y="349"/>
                  </a:cubicBezTo>
                  <a:cubicBezTo>
                    <a:pt x="907" y="352"/>
                    <a:pt x="910" y="352"/>
                    <a:pt x="911" y="354"/>
                  </a:cubicBezTo>
                  <a:cubicBezTo>
                    <a:pt x="914" y="363"/>
                    <a:pt x="918" y="371"/>
                    <a:pt x="923" y="378"/>
                  </a:cubicBezTo>
                  <a:cubicBezTo>
                    <a:pt x="927" y="390"/>
                    <a:pt x="937" y="401"/>
                    <a:pt x="940" y="412"/>
                  </a:cubicBezTo>
                  <a:cubicBezTo>
                    <a:pt x="928" y="395"/>
                    <a:pt x="919" y="375"/>
                    <a:pt x="908" y="357"/>
                  </a:cubicBezTo>
                  <a:cubicBezTo>
                    <a:pt x="907" y="356"/>
                    <a:pt x="906" y="354"/>
                    <a:pt x="904" y="354"/>
                  </a:cubicBezTo>
                  <a:cubicBezTo>
                    <a:pt x="904" y="353"/>
                    <a:pt x="904" y="352"/>
                    <a:pt x="904" y="351"/>
                  </a:cubicBezTo>
                  <a:cubicBezTo>
                    <a:pt x="885" y="333"/>
                    <a:pt x="866" y="315"/>
                    <a:pt x="847" y="296"/>
                  </a:cubicBezTo>
                  <a:cubicBezTo>
                    <a:pt x="844" y="296"/>
                    <a:pt x="841" y="296"/>
                    <a:pt x="839" y="297"/>
                  </a:cubicBezTo>
                  <a:cubicBezTo>
                    <a:pt x="841" y="328"/>
                    <a:pt x="843" y="366"/>
                    <a:pt x="845" y="391"/>
                  </a:cubicBezTo>
                  <a:cubicBezTo>
                    <a:pt x="885" y="402"/>
                    <a:pt x="924" y="410"/>
                    <a:pt x="962" y="419"/>
                  </a:cubicBezTo>
                  <a:cubicBezTo>
                    <a:pt x="962" y="421"/>
                    <a:pt x="960" y="421"/>
                    <a:pt x="959" y="423"/>
                  </a:cubicBezTo>
                  <a:cubicBezTo>
                    <a:pt x="956" y="450"/>
                    <a:pt x="970" y="461"/>
                    <a:pt x="979" y="479"/>
                  </a:cubicBezTo>
                  <a:cubicBezTo>
                    <a:pt x="981" y="481"/>
                    <a:pt x="981" y="476"/>
                    <a:pt x="984" y="479"/>
                  </a:cubicBezTo>
                  <a:cubicBezTo>
                    <a:pt x="985" y="483"/>
                    <a:pt x="981" y="482"/>
                    <a:pt x="981" y="485"/>
                  </a:cubicBezTo>
                  <a:cubicBezTo>
                    <a:pt x="991" y="503"/>
                    <a:pt x="1002" y="520"/>
                    <a:pt x="1011" y="538"/>
                  </a:cubicBezTo>
                  <a:cubicBezTo>
                    <a:pt x="992" y="511"/>
                    <a:pt x="978" y="479"/>
                    <a:pt x="959" y="451"/>
                  </a:cubicBezTo>
                  <a:cubicBezTo>
                    <a:pt x="960" y="457"/>
                    <a:pt x="958" y="471"/>
                    <a:pt x="963" y="474"/>
                  </a:cubicBezTo>
                  <a:cubicBezTo>
                    <a:pt x="963" y="476"/>
                    <a:pt x="960" y="475"/>
                    <a:pt x="960" y="477"/>
                  </a:cubicBezTo>
                  <a:cubicBezTo>
                    <a:pt x="961" y="480"/>
                    <a:pt x="961" y="478"/>
                    <a:pt x="964" y="478"/>
                  </a:cubicBezTo>
                  <a:cubicBezTo>
                    <a:pt x="962" y="480"/>
                    <a:pt x="964" y="482"/>
                    <a:pt x="962" y="485"/>
                  </a:cubicBezTo>
                  <a:cubicBezTo>
                    <a:pt x="960" y="487"/>
                    <a:pt x="959" y="483"/>
                    <a:pt x="956" y="483"/>
                  </a:cubicBezTo>
                  <a:cubicBezTo>
                    <a:pt x="958" y="489"/>
                    <a:pt x="964" y="495"/>
                    <a:pt x="966" y="503"/>
                  </a:cubicBezTo>
                  <a:cubicBezTo>
                    <a:pt x="959" y="500"/>
                    <a:pt x="957" y="492"/>
                    <a:pt x="953" y="486"/>
                  </a:cubicBezTo>
                  <a:cubicBezTo>
                    <a:pt x="948" y="484"/>
                    <a:pt x="945" y="478"/>
                    <a:pt x="939" y="475"/>
                  </a:cubicBezTo>
                  <a:cubicBezTo>
                    <a:pt x="943" y="471"/>
                    <a:pt x="948" y="484"/>
                    <a:pt x="954" y="481"/>
                  </a:cubicBezTo>
                  <a:cubicBezTo>
                    <a:pt x="954" y="477"/>
                    <a:pt x="951" y="476"/>
                    <a:pt x="952" y="470"/>
                  </a:cubicBezTo>
                  <a:cubicBezTo>
                    <a:pt x="953" y="470"/>
                    <a:pt x="953" y="470"/>
                    <a:pt x="955" y="470"/>
                  </a:cubicBezTo>
                  <a:cubicBezTo>
                    <a:pt x="958" y="450"/>
                    <a:pt x="953" y="433"/>
                    <a:pt x="944" y="423"/>
                  </a:cubicBezTo>
                  <a:cubicBezTo>
                    <a:pt x="927" y="424"/>
                    <a:pt x="913" y="427"/>
                    <a:pt x="897" y="427"/>
                  </a:cubicBezTo>
                  <a:cubicBezTo>
                    <a:pt x="894" y="427"/>
                    <a:pt x="895" y="429"/>
                    <a:pt x="894" y="429"/>
                  </a:cubicBezTo>
                  <a:cubicBezTo>
                    <a:pt x="892" y="430"/>
                    <a:pt x="891" y="428"/>
                    <a:pt x="890" y="428"/>
                  </a:cubicBezTo>
                  <a:cubicBezTo>
                    <a:pt x="877" y="431"/>
                    <a:pt x="859" y="429"/>
                    <a:pt x="848" y="434"/>
                  </a:cubicBezTo>
                  <a:cubicBezTo>
                    <a:pt x="852" y="460"/>
                    <a:pt x="852" y="487"/>
                    <a:pt x="856" y="513"/>
                  </a:cubicBezTo>
                  <a:cubicBezTo>
                    <a:pt x="882" y="521"/>
                    <a:pt x="910" y="529"/>
                    <a:pt x="939" y="535"/>
                  </a:cubicBezTo>
                  <a:cubicBezTo>
                    <a:pt x="940" y="539"/>
                    <a:pt x="937" y="538"/>
                    <a:pt x="936" y="540"/>
                  </a:cubicBezTo>
                  <a:cubicBezTo>
                    <a:pt x="939" y="554"/>
                    <a:pt x="934" y="577"/>
                    <a:pt x="940" y="590"/>
                  </a:cubicBezTo>
                  <a:cubicBezTo>
                    <a:pt x="937" y="594"/>
                    <a:pt x="941" y="597"/>
                    <a:pt x="940" y="603"/>
                  </a:cubicBezTo>
                  <a:cubicBezTo>
                    <a:pt x="938" y="604"/>
                    <a:pt x="938" y="601"/>
                    <a:pt x="936" y="602"/>
                  </a:cubicBezTo>
                  <a:cubicBezTo>
                    <a:pt x="940" y="616"/>
                    <a:pt x="953" y="627"/>
                    <a:pt x="961" y="639"/>
                  </a:cubicBezTo>
                  <a:cubicBezTo>
                    <a:pt x="968" y="649"/>
                    <a:pt x="973" y="660"/>
                    <a:pt x="983" y="667"/>
                  </a:cubicBezTo>
                  <a:cubicBezTo>
                    <a:pt x="985" y="678"/>
                    <a:pt x="995" y="687"/>
                    <a:pt x="1002" y="696"/>
                  </a:cubicBezTo>
                  <a:cubicBezTo>
                    <a:pt x="1006" y="692"/>
                    <a:pt x="1001" y="691"/>
                    <a:pt x="1000" y="689"/>
                  </a:cubicBezTo>
                  <a:cubicBezTo>
                    <a:pt x="995" y="683"/>
                    <a:pt x="990" y="675"/>
                    <a:pt x="984" y="670"/>
                  </a:cubicBezTo>
                  <a:cubicBezTo>
                    <a:pt x="984" y="660"/>
                    <a:pt x="973" y="657"/>
                    <a:pt x="972" y="649"/>
                  </a:cubicBezTo>
                  <a:cubicBezTo>
                    <a:pt x="983" y="661"/>
                    <a:pt x="992" y="676"/>
                    <a:pt x="1002" y="688"/>
                  </a:cubicBezTo>
                  <a:cubicBezTo>
                    <a:pt x="1006" y="689"/>
                    <a:pt x="1007" y="688"/>
                    <a:pt x="1009" y="689"/>
                  </a:cubicBezTo>
                  <a:cubicBezTo>
                    <a:pt x="1009" y="692"/>
                    <a:pt x="1007" y="697"/>
                    <a:pt x="1004" y="698"/>
                  </a:cubicBezTo>
                  <a:cubicBezTo>
                    <a:pt x="1010" y="710"/>
                    <a:pt x="1020" y="718"/>
                    <a:pt x="1026" y="730"/>
                  </a:cubicBezTo>
                  <a:cubicBezTo>
                    <a:pt x="1016" y="722"/>
                    <a:pt x="1011" y="709"/>
                    <a:pt x="1001" y="701"/>
                  </a:cubicBezTo>
                  <a:cubicBezTo>
                    <a:pt x="987" y="679"/>
                    <a:pt x="971" y="659"/>
                    <a:pt x="955" y="639"/>
                  </a:cubicBezTo>
                  <a:cubicBezTo>
                    <a:pt x="956" y="638"/>
                    <a:pt x="955" y="637"/>
                    <a:pt x="955" y="636"/>
                  </a:cubicBezTo>
                  <a:cubicBezTo>
                    <a:pt x="949" y="628"/>
                    <a:pt x="944" y="620"/>
                    <a:pt x="937" y="613"/>
                  </a:cubicBezTo>
                  <a:cubicBezTo>
                    <a:pt x="937" y="610"/>
                    <a:pt x="934" y="607"/>
                    <a:pt x="931" y="608"/>
                  </a:cubicBezTo>
                  <a:cubicBezTo>
                    <a:pt x="934" y="617"/>
                    <a:pt x="941" y="620"/>
                    <a:pt x="944" y="628"/>
                  </a:cubicBezTo>
                  <a:cubicBezTo>
                    <a:pt x="935" y="618"/>
                    <a:pt x="927" y="606"/>
                    <a:pt x="916" y="598"/>
                  </a:cubicBezTo>
                  <a:cubicBezTo>
                    <a:pt x="917" y="594"/>
                    <a:pt x="911" y="592"/>
                    <a:pt x="908" y="590"/>
                  </a:cubicBezTo>
                  <a:cubicBezTo>
                    <a:pt x="911" y="586"/>
                    <a:pt x="904" y="586"/>
                    <a:pt x="904" y="583"/>
                  </a:cubicBezTo>
                  <a:cubicBezTo>
                    <a:pt x="908" y="582"/>
                    <a:pt x="912" y="587"/>
                    <a:pt x="914" y="590"/>
                  </a:cubicBezTo>
                  <a:cubicBezTo>
                    <a:pt x="922" y="587"/>
                    <a:pt x="924" y="597"/>
                    <a:pt x="930" y="599"/>
                  </a:cubicBezTo>
                  <a:cubicBezTo>
                    <a:pt x="932" y="595"/>
                    <a:pt x="931" y="593"/>
                    <a:pt x="933" y="589"/>
                  </a:cubicBezTo>
                  <a:cubicBezTo>
                    <a:pt x="933" y="588"/>
                    <a:pt x="931" y="589"/>
                    <a:pt x="931" y="591"/>
                  </a:cubicBezTo>
                  <a:cubicBezTo>
                    <a:pt x="929" y="588"/>
                    <a:pt x="933" y="587"/>
                    <a:pt x="933" y="585"/>
                  </a:cubicBezTo>
                  <a:cubicBezTo>
                    <a:pt x="934" y="571"/>
                    <a:pt x="931" y="554"/>
                    <a:pt x="933" y="541"/>
                  </a:cubicBezTo>
                  <a:cubicBezTo>
                    <a:pt x="916" y="539"/>
                    <a:pt x="896" y="543"/>
                    <a:pt x="877" y="544"/>
                  </a:cubicBezTo>
                  <a:cubicBezTo>
                    <a:pt x="885" y="558"/>
                    <a:pt x="897" y="568"/>
                    <a:pt x="905" y="581"/>
                  </a:cubicBezTo>
                  <a:cubicBezTo>
                    <a:pt x="893" y="570"/>
                    <a:pt x="885" y="556"/>
                    <a:pt x="874" y="545"/>
                  </a:cubicBezTo>
                  <a:cubicBezTo>
                    <a:pt x="869" y="546"/>
                    <a:pt x="862" y="545"/>
                    <a:pt x="858" y="548"/>
                  </a:cubicBezTo>
                  <a:cubicBezTo>
                    <a:pt x="860" y="552"/>
                    <a:pt x="858" y="560"/>
                    <a:pt x="863" y="562"/>
                  </a:cubicBezTo>
                  <a:cubicBezTo>
                    <a:pt x="863" y="563"/>
                    <a:pt x="861" y="562"/>
                    <a:pt x="861" y="563"/>
                  </a:cubicBezTo>
                  <a:cubicBezTo>
                    <a:pt x="879" y="707"/>
                    <a:pt x="908" y="843"/>
                    <a:pt x="933" y="980"/>
                  </a:cubicBezTo>
                  <a:cubicBezTo>
                    <a:pt x="935" y="981"/>
                    <a:pt x="935" y="976"/>
                    <a:pt x="938" y="978"/>
                  </a:cubicBezTo>
                  <a:cubicBezTo>
                    <a:pt x="939" y="983"/>
                    <a:pt x="940" y="988"/>
                    <a:pt x="938" y="992"/>
                  </a:cubicBezTo>
                  <a:cubicBezTo>
                    <a:pt x="938" y="995"/>
                    <a:pt x="941" y="993"/>
                    <a:pt x="942" y="994"/>
                  </a:cubicBezTo>
                  <a:cubicBezTo>
                    <a:pt x="941" y="1000"/>
                    <a:pt x="931" y="999"/>
                    <a:pt x="930" y="995"/>
                  </a:cubicBezTo>
                  <a:cubicBezTo>
                    <a:pt x="928" y="995"/>
                    <a:pt x="929" y="998"/>
                    <a:pt x="928" y="999"/>
                  </a:cubicBezTo>
                  <a:cubicBezTo>
                    <a:pt x="930" y="999"/>
                    <a:pt x="930" y="1000"/>
                    <a:pt x="933" y="999"/>
                  </a:cubicBezTo>
                  <a:cubicBezTo>
                    <a:pt x="931" y="1002"/>
                    <a:pt x="935" y="1004"/>
                    <a:pt x="936" y="1005"/>
                  </a:cubicBezTo>
                  <a:cubicBezTo>
                    <a:pt x="939" y="1003"/>
                    <a:pt x="940" y="1004"/>
                    <a:pt x="944" y="1005"/>
                  </a:cubicBezTo>
                  <a:cubicBezTo>
                    <a:pt x="950" y="1003"/>
                    <a:pt x="960" y="1004"/>
                    <a:pt x="964" y="1007"/>
                  </a:cubicBezTo>
                  <a:cubicBezTo>
                    <a:pt x="971" y="1005"/>
                    <a:pt x="975" y="1004"/>
                    <a:pt x="982" y="1004"/>
                  </a:cubicBezTo>
                  <a:cubicBezTo>
                    <a:pt x="982" y="1001"/>
                    <a:pt x="980" y="1000"/>
                    <a:pt x="982" y="998"/>
                  </a:cubicBezTo>
                  <a:cubicBezTo>
                    <a:pt x="987" y="1001"/>
                    <a:pt x="989" y="1005"/>
                    <a:pt x="996" y="1005"/>
                  </a:cubicBezTo>
                  <a:cubicBezTo>
                    <a:pt x="998" y="1005"/>
                    <a:pt x="995" y="1003"/>
                    <a:pt x="996" y="1001"/>
                  </a:cubicBezTo>
                  <a:cubicBezTo>
                    <a:pt x="999" y="1007"/>
                    <a:pt x="1008" y="1001"/>
                    <a:pt x="1012" y="1004"/>
                  </a:cubicBezTo>
                  <a:cubicBezTo>
                    <a:pt x="1012" y="1010"/>
                    <a:pt x="1005" y="1004"/>
                    <a:pt x="1003" y="1008"/>
                  </a:cubicBezTo>
                  <a:cubicBezTo>
                    <a:pt x="1007" y="1010"/>
                    <a:pt x="1010" y="1008"/>
                    <a:pt x="1013" y="1007"/>
                  </a:cubicBezTo>
                  <a:cubicBezTo>
                    <a:pt x="1014" y="1006"/>
                    <a:pt x="1014" y="1004"/>
                    <a:pt x="1014" y="1002"/>
                  </a:cubicBezTo>
                  <a:cubicBezTo>
                    <a:pt x="1018" y="1002"/>
                    <a:pt x="1019" y="1004"/>
                    <a:pt x="1021" y="1005"/>
                  </a:cubicBezTo>
                  <a:cubicBezTo>
                    <a:pt x="1023" y="1002"/>
                    <a:pt x="1031" y="998"/>
                    <a:pt x="1035" y="1003"/>
                  </a:cubicBezTo>
                  <a:cubicBezTo>
                    <a:pt x="1037" y="1003"/>
                    <a:pt x="1038" y="1002"/>
                    <a:pt x="1039" y="1001"/>
                  </a:cubicBezTo>
                  <a:cubicBezTo>
                    <a:pt x="1038" y="999"/>
                    <a:pt x="1037" y="996"/>
                    <a:pt x="1034" y="997"/>
                  </a:cubicBezTo>
                  <a:cubicBezTo>
                    <a:pt x="1035" y="994"/>
                    <a:pt x="1041" y="996"/>
                    <a:pt x="1043" y="995"/>
                  </a:cubicBezTo>
                  <a:cubicBezTo>
                    <a:pt x="1044" y="998"/>
                    <a:pt x="1044" y="1001"/>
                    <a:pt x="1046" y="1004"/>
                  </a:cubicBezTo>
                  <a:cubicBezTo>
                    <a:pt x="1049" y="1004"/>
                    <a:pt x="1049" y="1002"/>
                    <a:pt x="1052" y="1002"/>
                  </a:cubicBezTo>
                  <a:cubicBezTo>
                    <a:pt x="1052" y="999"/>
                    <a:pt x="1046" y="999"/>
                    <a:pt x="1049" y="996"/>
                  </a:cubicBezTo>
                  <a:cubicBezTo>
                    <a:pt x="1052" y="996"/>
                    <a:pt x="1050" y="998"/>
                    <a:pt x="1052" y="1000"/>
                  </a:cubicBezTo>
                  <a:cubicBezTo>
                    <a:pt x="1053" y="1000"/>
                    <a:pt x="1052" y="998"/>
                    <a:pt x="1054" y="999"/>
                  </a:cubicBezTo>
                  <a:cubicBezTo>
                    <a:pt x="1052" y="1003"/>
                    <a:pt x="1056" y="1004"/>
                    <a:pt x="1059" y="1005"/>
                  </a:cubicBezTo>
                  <a:cubicBezTo>
                    <a:pt x="1061" y="1005"/>
                    <a:pt x="1059" y="1002"/>
                    <a:pt x="1061" y="1001"/>
                  </a:cubicBezTo>
                  <a:cubicBezTo>
                    <a:pt x="1067" y="1003"/>
                    <a:pt x="1073" y="1004"/>
                    <a:pt x="1079" y="1006"/>
                  </a:cubicBezTo>
                  <a:cubicBezTo>
                    <a:pt x="1077" y="1004"/>
                    <a:pt x="1077" y="1000"/>
                    <a:pt x="1074" y="999"/>
                  </a:cubicBezTo>
                  <a:cubicBezTo>
                    <a:pt x="1071" y="1000"/>
                    <a:pt x="1071" y="1002"/>
                    <a:pt x="1068" y="1001"/>
                  </a:cubicBezTo>
                  <a:cubicBezTo>
                    <a:pt x="1067" y="999"/>
                    <a:pt x="1063" y="999"/>
                    <a:pt x="1062" y="998"/>
                  </a:cubicBezTo>
                  <a:cubicBezTo>
                    <a:pt x="1067" y="995"/>
                    <a:pt x="1076" y="998"/>
                    <a:pt x="1082" y="996"/>
                  </a:cubicBezTo>
                  <a:cubicBezTo>
                    <a:pt x="1082" y="998"/>
                    <a:pt x="1085" y="998"/>
                    <a:pt x="1086" y="999"/>
                  </a:cubicBezTo>
                  <a:cubicBezTo>
                    <a:pt x="1086" y="1001"/>
                    <a:pt x="1083" y="999"/>
                    <a:pt x="1082" y="1001"/>
                  </a:cubicBezTo>
                  <a:cubicBezTo>
                    <a:pt x="1083" y="1007"/>
                    <a:pt x="1088" y="998"/>
                    <a:pt x="1091" y="1003"/>
                  </a:cubicBezTo>
                  <a:cubicBezTo>
                    <a:pt x="1091" y="998"/>
                    <a:pt x="1084" y="997"/>
                    <a:pt x="1087" y="992"/>
                  </a:cubicBezTo>
                  <a:cubicBezTo>
                    <a:pt x="1089" y="993"/>
                    <a:pt x="1096" y="996"/>
                    <a:pt x="1096" y="999"/>
                  </a:cubicBezTo>
                  <a:cubicBezTo>
                    <a:pt x="1097" y="999"/>
                    <a:pt x="1098" y="999"/>
                    <a:pt x="1099" y="999"/>
                  </a:cubicBezTo>
                  <a:cubicBezTo>
                    <a:pt x="1101" y="999"/>
                    <a:pt x="1098" y="997"/>
                    <a:pt x="1099" y="995"/>
                  </a:cubicBezTo>
                  <a:cubicBezTo>
                    <a:pt x="1104" y="996"/>
                    <a:pt x="1111" y="999"/>
                    <a:pt x="1114" y="995"/>
                  </a:cubicBezTo>
                  <a:cubicBezTo>
                    <a:pt x="1120" y="999"/>
                    <a:pt x="1128" y="991"/>
                    <a:pt x="1132" y="996"/>
                  </a:cubicBezTo>
                  <a:cubicBezTo>
                    <a:pt x="1132" y="994"/>
                    <a:pt x="1132" y="991"/>
                    <a:pt x="1134" y="990"/>
                  </a:cubicBezTo>
                  <a:cubicBezTo>
                    <a:pt x="1137" y="989"/>
                    <a:pt x="1137" y="991"/>
                    <a:pt x="1138" y="992"/>
                  </a:cubicBezTo>
                  <a:cubicBezTo>
                    <a:pt x="1141" y="993"/>
                    <a:pt x="1140" y="989"/>
                    <a:pt x="1142" y="989"/>
                  </a:cubicBezTo>
                  <a:cubicBezTo>
                    <a:pt x="1144" y="993"/>
                    <a:pt x="1149" y="994"/>
                    <a:pt x="1152" y="996"/>
                  </a:cubicBezTo>
                  <a:cubicBezTo>
                    <a:pt x="1160" y="994"/>
                    <a:pt x="1158" y="988"/>
                    <a:pt x="1160" y="978"/>
                  </a:cubicBezTo>
                  <a:cubicBezTo>
                    <a:pt x="1161" y="969"/>
                    <a:pt x="1164" y="958"/>
                    <a:pt x="1166" y="946"/>
                  </a:cubicBezTo>
                  <a:cubicBezTo>
                    <a:pt x="1167" y="939"/>
                    <a:pt x="1166" y="930"/>
                    <a:pt x="1168" y="923"/>
                  </a:cubicBezTo>
                  <a:cubicBezTo>
                    <a:pt x="1175" y="899"/>
                    <a:pt x="1174" y="868"/>
                    <a:pt x="1177" y="842"/>
                  </a:cubicBezTo>
                  <a:cubicBezTo>
                    <a:pt x="1169" y="840"/>
                    <a:pt x="1154" y="843"/>
                    <a:pt x="1148" y="841"/>
                  </a:cubicBezTo>
                  <a:cubicBezTo>
                    <a:pt x="1150" y="837"/>
                    <a:pt x="1158" y="838"/>
                    <a:pt x="1163" y="836"/>
                  </a:cubicBezTo>
                  <a:cubicBezTo>
                    <a:pt x="1169" y="834"/>
                    <a:pt x="1174" y="832"/>
                    <a:pt x="1179" y="830"/>
                  </a:cubicBezTo>
                  <a:cubicBezTo>
                    <a:pt x="1179" y="820"/>
                    <a:pt x="1179" y="810"/>
                    <a:pt x="1180" y="801"/>
                  </a:cubicBezTo>
                  <a:cubicBezTo>
                    <a:pt x="1170" y="801"/>
                    <a:pt x="1155" y="800"/>
                    <a:pt x="1142" y="801"/>
                  </a:cubicBezTo>
                  <a:cubicBezTo>
                    <a:pt x="1140" y="810"/>
                    <a:pt x="1143" y="818"/>
                    <a:pt x="1142" y="826"/>
                  </a:cubicBezTo>
                  <a:cubicBezTo>
                    <a:pt x="1136" y="822"/>
                    <a:pt x="1142" y="808"/>
                    <a:pt x="1139" y="798"/>
                  </a:cubicBezTo>
                  <a:cubicBezTo>
                    <a:pt x="1154" y="795"/>
                    <a:pt x="1166" y="790"/>
                    <a:pt x="1180" y="786"/>
                  </a:cubicBezTo>
                  <a:cubicBezTo>
                    <a:pt x="1182" y="777"/>
                    <a:pt x="1180" y="761"/>
                    <a:pt x="1182" y="752"/>
                  </a:cubicBezTo>
                  <a:cubicBezTo>
                    <a:pt x="1176" y="749"/>
                    <a:pt x="1166" y="753"/>
                    <a:pt x="1158" y="751"/>
                  </a:cubicBezTo>
                  <a:cubicBezTo>
                    <a:pt x="1156" y="753"/>
                    <a:pt x="1158" y="755"/>
                    <a:pt x="1157" y="757"/>
                  </a:cubicBezTo>
                  <a:cubicBezTo>
                    <a:pt x="1157" y="759"/>
                    <a:pt x="1157" y="764"/>
                    <a:pt x="1156" y="762"/>
                  </a:cubicBezTo>
                  <a:cubicBezTo>
                    <a:pt x="1157" y="759"/>
                    <a:pt x="1155" y="757"/>
                    <a:pt x="1156" y="755"/>
                  </a:cubicBezTo>
                  <a:cubicBezTo>
                    <a:pt x="1156" y="753"/>
                    <a:pt x="1155" y="752"/>
                    <a:pt x="1155" y="749"/>
                  </a:cubicBezTo>
                  <a:cubicBezTo>
                    <a:pt x="1163" y="746"/>
                    <a:pt x="1174" y="745"/>
                    <a:pt x="1183" y="740"/>
                  </a:cubicBezTo>
                  <a:cubicBezTo>
                    <a:pt x="1185" y="734"/>
                    <a:pt x="1181" y="726"/>
                    <a:pt x="1189" y="725"/>
                  </a:cubicBezTo>
                  <a:cubicBezTo>
                    <a:pt x="1190" y="730"/>
                    <a:pt x="1192" y="733"/>
                    <a:pt x="1192" y="739"/>
                  </a:cubicBezTo>
                  <a:cubicBezTo>
                    <a:pt x="1195" y="741"/>
                    <a:pt x="1200" y="742"/>
                    <a:pt x="1204" y="744"/>
                  </a:cubicBezTo>
                  <a:cubicBezTo>
                    <a:pt x="1201" y="749"/>
                    <a:pt x="1196" y="743"/>
                    <a:pt x="1192" y="744"/>
                  </a:cubicBezTo>
                  <a:cubicBezTo>
                    <a:pt x="1193" y="750"/>
                    <a:pt x="1200" y="745"/>
                    <a:pt x="1205" y="747"/>
                  </a:cubicBezTo>
                  <a:cubicBezTo>
                    <a:pt x="1207" y="746"/>
                    <a:pt x="1204" y="745"/>
                    <a:pt x="1205" y="744"/>
                  </a:cubicBezTo>
                  <a:cubicBezTo>
                    <a:pt x="1211" y="745"/>
                    <a:pt x="1216" y="747"/>
                    <a:pt x="1221" y="748"/>
                  </a:cubicBezTo>
                  <a:cubicBezTo>
                    <a:pt x="1219" y="755"/>
                    <a:pt x="1222" y="766"/>
                    <a:pt x="1221" y="775"/>
                  </a:cubicBezTo>
                  <a:cubicBezTo>
                    <a:pt x="1214" y="773"/>
                    <a:pt x="1221" y="757"/>
                    <a:pt x="1219" y="750"/>
                  </a:cubicBezTo>
                  <a:cubicBezTo>
                    <a:pt x="1212" y="749"/>
                    <a:pt x="1203" y="750"/>
                    <a:pt x="1194" y="751"/>
                  </a:cubicBezTo>
                  <a:cubicBezTo>
                    <a:pt x="1195" y="759"/>
                    <a:pt x="1196" y="774"/>
                    <a:pt x="1197" y="785"/>
                  </a:cubicBezTo>
                  <a:cubicBezTo>
                    <a:pt x="1206" y="788"/>
                    <a:pt x="1217" y="792"/>
                    <a:pt x="1226" y="792"/>
                  </a:cubicBezTo>
                  <a:cubicBezTo>
                    <a:pt x="1229" y="796"/>
                    <a:pt x="1237" y="794"/>
                    <a:pt x="1239" y="798"/>
                  </a:cubicBezTo>
                  <a:cubicBezTo>
                    <a:pt x="1227" y="799"/>
                    <a:pt x="1210" y="798"/>
                    <a:pt x="1197" y="800"/>
                  </a:cubicBezTo>
                  <a:cubicBezTo>
                    <a:pt x="1198" y="810"/>
                    <a:pt x="1201" y="820"/>
                    <a:pt x="1199" y="829"/>
                  </a:cubicBezTo>
                  <a:cubicBezTo>
                    <a:pt x="1202" y="834"/>
                    <a:pt x="1217" y="831"/>
                    <a:pt x="1217" y="837"/>
                  </a:cubicBezTo>
                  <a:cubicBezTo>
                    <a:pt x="1222" y="835"/>
                    <a:pt x="1226" y="838"/>
                    <a:pt x="1231" y="838"/>
                  </a:cubicBezTo>
                  <a:cubicBezTo>
                    <a:pt x="1228" y="847"/>
                    <a:pt x="1234" y="859"/>
                    <a:pt x="1229" y="866"/>
                  </a:cubicBezTo>
                  <a:cubicBezTo>
                    <a:pt x="1227" y="861"/>
                    <a:pt x="1230" y="849"/>
                    <a:pt x="1229" y="841"/>
                  </a:cubicBezTo>
                  <a:cubicBezTo>
                    <a:pt x="1221" y="838"/>
                    <a:pt x="1210" y="842"/>
                    <a:pt x="1203" y="840"/>
                  </a:cubicBezTo>
                  <a:cubicBezTo>
                    <a:pt x="1201" y="849"/>
                    <a:pt x="1204" y="866"/>
                    <a:pt x="1207" y="874"/>
                  </a:cubicBezTo>
                  <a:cubicBezTo>
                    <a:pt x="1206" y="884"/>
                    <a:pt x="1212" y="917"/>
                    <a:pt x="1216" y="929"/>
                  </a:cubicBezTo>
                  <a:cubicBezTo>
                    <a:pt x="1218" y="952"/>
                    <a:pt x="1223" y="973"/>
                    <a:pt x="1227" y="995"/>
                  </a:cubicBezTo>
                  <a:cubicBezTo>
                    <a:pt x="1231" y="991"/>
                    <a:pt x="1235" y="997"/>
                    <a:pt x="1235" y="992"/>
                  </a:cubicBezTo>
                  <a:cubicBezTo>
                    <a:pt x="1240" y="996"/>
                    <a:pt x="1249" y="994"/>
                    <a:pt x="1253" y="996"/>
                  </a:cubicBezTo>
                  <a:cubicBezTo>
                    <a:pt x="1261" y="982"/>
                    <a:pt x="1259" y="959"/>
                    <a:pt x="1261" y="942"/>
                  </a:cubicBezTo>
                  <a:cubicBezTo>
                    <a:pt x="1258" y="938"/>
                    <a:pt x="1249" y="943"/>
                    <a:pt x="1244" y="941"/>
                  </a:cubicBezTo>
                  <a:cubicBezTo>
                    <a:pt x="1247" y="936"/>
                    <a:pt x="1256" y="939"/>
                    <a:pt x="1259" y="934"/>
                  </a:cubicBezTo>
                  <a:cubicBezTo>
                    <a:pt x="1260" y="933"/>
                    <a:pt x="1261" y="934"/>
                    <a:pt x="1261" y="936"/>
                  </a:cubicBezTo>
                  <a:cubicBezTo>
                    <a:pt x="1264" y="930"/>
                    <a:pt x="1262" y="923"/>
                    <a:pt x="1264" y="917"/>
                  </a:cubicBezTo>
                  <a:cubicBezTo>
                    <a:pt x="1257" y="913"/>
                    <a:pt x="1247" y="917"/>
                    <a:pt x="1239" y="915"/>
                  </a:cubicBezTo>
                  <a:cubicBezTo>
                    <a:pt x="1241" y="912"/>
                    <a:pt x="1246" y="913"/>
                    <a:pt x="1250" y="911"/>
                  </a:cubicBezTo>
                  <a:cubicBezTo>
                    <a:pt x="1253" y="912"/>
                    <a:pt x="1262" y="915"/>
                    <a:pt x="1264" y="910"/>
                  </a:cubicBezTo>
                  <a:cubicBezTo>
                    <a:pt x="1262" y="906"/>
                    <a:pt x="1258" y="914"/>
                    <a:pt x="1254" y="910"/>
                  </a:cubicBezTo>
                  <a:cubicBezTo>
                    <a:pt x="1257" y="908"/>
                    <a:pt x="1262" y="908"/>
                    <a:pt x="1264" y="906"/>
                  </a:cubicBezTo>
                  <a:cubicBezTo>
                    <a:pt x="1263" y="897"/>
                    <a:pt x="1264" y="893"/>
                    <a:pt x="1265" y="886"/>
                  </a:cubicBezTo>
                  <a:cubicBezTo>
                    <a:pt x="1261" y="886"/>
                    <a:pt x="1253" y="884"/>
                    <a:pt x="1248" y="887"/>
                  </a:cubicBezTo>
                  <a:cubicBezTo>
                    <a:pt x="1252" y="880"/>
                    <a:pt x="1264" y="879"/>
                    <a:pt x="1270" y="878"/>
                  </a:cubicBezTo>
                  <a:cubicBezTo>
                    <a:pt x="1270" y="877"/>
                    <a:pt x="1269" y="877"/>
                    <a:pt x="1268" y="877"/>
                  </a:cubicBezTo>
                  <a:cubicBezTo>
                    <a:pt x="1270" y="875"/>
                    <a:pt x="1272" y="879"/>
                    <a:pt x="1273" y="880"/>
                  </a:cubicBezTo>
                  <a:cubicBezTo>
                    <a:pt x="1277" y="882"/>
                    <a:pt x="1286" y="880"/>
                    <a:pt x="1288" y="885"/>
                  </a:cubicBezTo>
                  <a:cubicBezTo>
                    <a:pt x="1286" y="887"/>
                    <a:pt x="1277" y="884"/>
                    <a:pt x="1272" y="886"/>
                  </a:cubicBezTo>
                  <a:cubicBezTo>
                    <a:pt x="1274" y="894"/>
                    <a:pt x="1273" y="900"/>
                    <a:pt x="1273" y="906"/>
                  </a:cubicBezTo>
                  <a:cubicBezTo>
                    <a:pt x="1275" y="908"/>
                    <a:pt x="1280" y="907"/>
                    <a:pt x="1281" y="910"/>
                  </a:cubicBezTo>
                  <a:cubicBezTo>
                    <a:pt x="1279" y="914"/>
                    <a:pt x="1276" y="906"/>
                    <a:pt x="1274" y="910"/>
                  </a:cubicBezTo>
                  <a:cubicBezTo>
                    <a:pt x="1276" y="915"/>
                    <a:pt x="1291" y="914"/>
                    <a:pt x="1290" y="907"/>
                  </a:cubicBezTo>
                  <a:cubicBezTo>
                    <a:pt x="1293" y="910"/>
                    <a:pt x="1294" y="913"/>
                    <a:pt x="1298" y="914"/>
                  </a:cubicBezTo>
                  <a:cubicBezTo>
                    <a:pt x="1292" y="918"/>
                    <a:pt x="1279" y="912"/>
                    <a:pt x="1274" y="916"/>
                  </a:cubicBezTo>
                  <a:cubicBezTo>
                    <a:pt x="1276" y="920"/>
                    <a:pt x="1275" y="929"/>
                    <a:pt x="1277" y="936"/>
                  </a:cubicBezTo>
                  <a:cubicBezTo>
                    <a:pt x="1278" y="938"/>
                    <a:pt x="1279" y="934"/>
                    <a:pt x="1281" y="935"/>
                  </a:cubicBezTo>
                  <a:cubicBezTo>
                    <a:pt x="1285" y="938"/>
                    <a:pt x="1295" y="936"/>
                    <a:pt x="1298" y="938"/>
                  </a:cubicBezTo>
                  <a:cubicBezTo>
                    <a:pt x="1300" y="936"/>
                    <a:pt x="1300" y="932"/>
                    <a:pt x="1297" y="930"/>
                  </a:cubicBezTo>
                  <a:cubicBezTo>
                    <a:pt x="1298" y="928"/>
                    <a:pt x="1297" y="925"/>
                    <a:pt x="1299" y="924"/>
                  </a:cubicBezTo>
                  <a:cubicBezTo>
                    <a:pt x="1298" y="922"/>
                    <a:pt x="1295" y="922"/>
                    <a:pt x="1295" y="919"/>
                  </a:cubicBezTo>
                  <a:cubicBezTo>
                    <a:pt x="1293" y="920"/>
                    <a:pt x="1294" y="923"/>
                    <a:pt x="1290" y="922"/>
                  </a:cubicBezTo>
                  <a:cubicBezTo>
                    <a:pt x="1290" y="918"/>
                    <a:pt x="1294" y="918"/>
                    <a:pt x="1297" y="917"/>
                  </a:cubicBezTo>
                  <a:cubicBezTo>
                    <a:pt x="1301" y="914"/>
                    <a:pt x="1305" y="905"/>
                    <a:pt x="1300" y="900"/>
                  </a:cubicBezTo>
                  <a:cubicBezTo>
                    <a:pt x="1301" y="899"/>
                    <a:pt x="1302" y="897"/>
                    <a:pt x="1302" y="895"/>
                  </a:cubicBezTo>
                  <a:cubicBezTo>
                    <a:pt x="1305" y="895"/>
                    <a:pt x="1305" y="899"/>
                    <a:pt x="1309" y="899"/>
                  </a:cubicBezTo>
                  <a:cubicBezTo>
                    <a:pt x="1308" y="900"/>
                    <a:pt x="1306" y="900"/>
                    <a:pt x="1307" y="902"/>
                  </a:cubicBezTo>
                  <a:cubicBezTo>
                    <a:pt x="1308" y="917"/>
                    <a:pt x="1309" y="923"/>
                    <a:pt x="1310" y="935"/>
                  </a:cubicBezTo>
                  <a:cubicBezTo>
                    <a:pt x="1313" y="939"/>
                    <a:pt x="1317" y="937"/>
                    <a:pt x="1321" y="936"/>
                  </a:cubicBezTo>
                  <a:cubicBezTo>
                    <a:pt x="1322" y="933"/>
                    <a:pt x="1318" y="935"/>
                    <a:pt x="1319" y="932"/>
                  </a:cubicBezTo>
                  <a:cubicBezTo>
                    <a:pt x="1320" y="933"/>
                    <a:pt x="1320" y="934"/>
                    <a:pt x="1322" y="933"/>
                  </a:cubicBezTo>
                  <a:cubicBezTo>
                    <a:pt x="1323" y="930"/>
                    <a:pt x="1318" y="930"/>
                    <a:pt x="1320" y="929"/>
                  </a:cubicBezTo>
                  <a:cubicBezTo>
                    <a:pt x="1326" y="923"/>
                    <a:pt x="1322" y="940"/>
                    <a:pt x="1326" y="941"/>
                  </a:cubicBezTo>
                  <a:cubicBezTo>
                    <a:pt x="1325" y="942"/>
                    <a:pt x="1324" y="943"/>
                    <a:pt x="1324" y="945"/>
                  </a:cubicBezTo>
                  <a:cubicBezTo>
                    <a:pt x="1326" y="948"/>
                    <a:pt x="1325" y="954"/>
                    <a:pt x="1329" y="956"/>
                  </a:cubicBezTo>
                  <a:cubicBezTo>
                    <a:pt x="1328" y="956"/>
                    <a:pt x="1327" y="956"/>
                    <a:pt x="1326" y="956"/>
                  </a:cubicBezTo>
                  <a:cubicBezTo>
                    <a:pt x="1329" y="962"/>
                    <a:pt x="1328" y="966"/>
                    <a:pt x="1328" y="973"/>
                  </a:cubicBezTo>
                  <a:cubicBezTo>
                    <a:pt x="1332" y="970"/>
                    <a:pt x="1331" y="962"/>
                    <a:pt x="1334" y="958"/>
                  </a:cubicBezTo>
                  <a:cubicBezTo>
                    <a:pt x="1333" y="958"/>
                    <a:pt x="1332" y="956"/>
                    <a:pt x="1330" y="956"/>
                  </a:cubicBezTo>
                  <a:cubicBezTo>
                    <a:pt x="1331" y="954"/>
                    <a:pt x="1333" y="954"/>
                    <a:pt x="1333" y="953"/>
                  </a:cubicBezTo>
                  <a:cubicBezTo>
                    <a:pt x="1333" y="949"/>
                    <a:pt x="1329" y="950"/>
                    <a:pt x="1328" y="947"/>
                  </a:cubicBezTo>
                  <a:cubicBezTo>
                    <a:pt x="1333" y="947"/>
                    <a:pt x="1336" y="946"/>
                    <a:pt x="1340" y="947"/>
                  </a:cubicBezTo>
                  <a:cubicBezTo>
                    <a:pt x="1340" y="951"/>
                    <a:pt x="1337" y="949"/>
                    <a:pt x="1335" y="950"/>
                  </a:cubicBezTo>
                  <a:cubicBezTo>
                    <a:pt x="1338" y="954"/>
                    <a:pt x="1335" y="958"/>
                    <a:pt x="1338" y="963"/>
                  </a:cubicBezTo>
                  <a:cubicBezTo>
                    <a:pt x="1342" y="961"/>
                    <a:pt x="1340" y="954"/>
                    <a:pt x="1343" y="952"/>
                  </a:cubicBezTo>
                  <a:cubicBezTo>
                    <a:pt x="1346" y="954"/>
                    <a:pt x="1344" y="957"/>
                    <a:pt x="1343" y="959"/>
                  </a:cubicBezTo>
                  <a:cubicBezTo>
                    <a:pt x="1346" y="962"/>
                    <a:pt x="1353" y="962"/>
                    <a:pt x="1355" y="966"/>
                  </a:cubicBezTo>
                  <a:cubicBezTo>
                    <a:pt x="1355" y="969"/>
                    <a:pt x="1353" y="965"/>
                    <a:pt x="1351" y="966"/>
                  </a:cubicBezTo>
                  <a:cubicBezTo>
                    <a:pt x="1349" y="971"/>
                    <a:pt x="1352" y="977"/>
                    <a:pt x="1354" y="981"/>
                  </a:cubicBezTo>
                  <a:cubicBezTo>
                    <a:pt x="1354" y="982"/>
                    <a:pt x="1351" y="982"/>
                    <a:pt x="1351" y="983"/>
                  </a:cubicBezTo>
                  <a:cubicBezTo>
                    <a:pt x="1352" y="985"/>
                    <a:pt x="1353" y="989"/>
                    <a:pt x="1354" y="992"/>
                  </a:cubicBezTo>
                  <a:cubicBezTo>
                    <a:pt x="1358" y="995"/>
                    <a:pt x="1363" y="994"/>
                    <a:pt x="1364" y="990"/>
                  </a:cubicBezTo>
                  <a:cubicBezTo>
                    <a:pt x="1366" y="990"/>
                    <a:pt x="1365" y="994"/>
                    <a:pt x="1366" y="995"/>
                  </a:cubicBezTo>
                  <a:cubicBezTo>
                    <a:pt x="1375" y="995"/>
                    <a:pt x="1378" y="989"/>
                    <a:pt x="1382" y="984"/>
                  </a:cubicBezTo>
                  <a:cubicBezTo>
                    <a:pt x="1386" y="984"/>
                    <a:pt x="1384" y="989"/>
                    <a:pt x="1383" y="991"/>
                  </a:cubicBezTo>
                  <a:cubicBezTo>
                    <a:pt x="1385" y="995"/>
                    <a:pt x="1390" y="994"/>
                    <a:pt x="1394" y="993"/>
                  </a:cubicBezTo>
                  <a:cubicBezTo>
                    <a:pt x="1394" y="991"/>
                    <a:pt x="1391" y="989"/>
                    <a:pt x="1393" y="987"/>
                  </a:cubicBezTo>
                  <a:cubicBezTo>
                    <a:pt x="1398" y="986"/>
                    <a:pt x="1396" y="991"/>
                    <a:pt x="1398" y="993"/>
                  </a:cubicBezTo>
                  <a:cubicBezTo>
                    <a:pt x="1401" y="993"/>
                    <a:pt x="1399" y="988"/>
                    <a:pt x="1401" y="987"/>
                  </a:cubicBezTo>
                  <a:cubicBezTo>
                    <a:pt x="1404" y="987"/>
                    <a:pt x="1403" y="991"/>
                    <a:pt x="1404" y="993"/>
                  </a:cubicBezTo>
                  <a:cubicBezTo>
                    <a:pt x="1408" y="993"/>
                    <a:pt x="1411" y="992"/>
                    <a:pt x="1415" y="991"/>
                  </a:cubicBezTo>
                  <a:cubicBezTo>
                    <a:pt x="1414" y="986"/>
                    <a:pt x="1414" y="979"/>
                    <a:pt x="1412" y="975"/>
                  </a:cubicBezTo>
                  <a:cubicBezTo>
                    <a:pt x="1416" y="966"/>
                    <a:pt x="1411" y="947"/>
                    <a:pt x="1417" y="937"/>
                  </a:cubicBezTo>
                  <a:cubicBezTo>
                    <a:pt x="1418" y="942"/>
                    <a:pt x="1422" y="948"/>
                    <a:pt x="1419" y="952"/>
                  </a:cubicBezTo>
                  <a:cubicBezTo>
                    <a:pt x="1421" y="955"/>
                    <a:pt x="1422" y="957"/>
                    <a:pt x="1424" y="959"/>
                  </a:cubicBezTo>
                  <a:cubicBezTo>
                    <a:pt x="1424" y="961"/>
                    <a:pt x="1423" y="961"/>
                    <a:pt x="1422" y="962"/>
                  </a:cubicBezTo>
                  <a:cubicBezTo>
                    <a:pt x="1426" y="966"/>
                    <a:pt x="1430" y="962"/>
                    <a:pt x="1431" y="958"/>
                  </a:cubicBezTo>
                  <a:cubicBezTo>
                    <a:pt x="1433" y="967"/>
                    <a:pt x="1429" y="981"/>
                    <a:pt x="1434" y="988"/>
                  </a:cubicBezTo>
                  <a:cubicBezTo>
                    <a:pt x="1434" y="1012"/>
                    <a:pt x="1434" y="1036"/>
                    <a:pt x="1434" y="1059"/>
                  </a:cubicBezTo>
                  <a:cubicBezTo>
                    <a:pt x="1349" y="1059"/>
                    <a:pt x="1253" y="1059"/>
                    <a:pt x="1165" y="1059"/>
                  </a:cubicBezTo>
                  <a:cubicBezTo>
                    <a:pt x="1155" y="1059"/>
                    <a:pt x="1131" y="1062"/>
                    <a:pt x="1127" y="1059"/>
                  </a:cubicBezTo>
                  <a:cubicBezTo>
                    <a:pt x="1124" y="1057"/>
                    <a:pt x="1130" y="1054"/>
                    <a:pt x="1127" y="1052"/>
                  </a:cubicBezTo>
                  <a:cubicBezTo>
                    <a:pt x="1128" y="1052"/>
                    <a:pt x="1129" y="1055"/>
                    <a:pt x="1129" y="1053"/>
                  </a:cubicBezTo>
                  <a:cubicBezTo>
                    <a:pt x="1130" y="1051"/>
                    <a:pt x="1129" y="1046"/>
                    <a:pt x="1125" y="1046"/>
                  </a:cubicBezTo>
                  <a:cubicBezTo>
                    <a:pt x="1127" y="1048"/>
                    <a:pt x="1123" y="1056"/>
                    <a:pt x="1122" y="1051"/>
                  </a:cubicBezTo>
                  <a:cubicBezTo>
                    <a:pt x="1120" y="1056"/>
                    <a:pt x="1126" y="1054"/>
                    <a:pt x="1125" y="1058"/>
                  </a:cubicBezTo>
                  <a:cubicBezTo>
                    <a:pt x="1125" y="1058"/>
                    <a:pt x="1125" y="1059"/>
                    <a:pt x="1125" y="1059"/>
                  </a:cubicBezTo>
                  <a:cubicBezTo>
                    <a:pt x="1115" y="1059"/>
                    <a:pt x="1102" y="1060"/>
                    <a:pt x="1093" y="1059"/>
                  </a:cubicBezTo>
                  <a:cubicBezTo>
                    <a:pt x="1093" y="1048"/>
                    <a:pt x="1108" y="1052"/>
                    <a:pt x="1112" y="1046"/>
                  </a:cubicBezTo>
                  <a:cubicBezTo>
                    <a:pt x="1112" y="1049"/>
                    <a:pt x="1118" y="1046"/>
                    <a:pt x="1118" y="1049"/>
                  </a:cubicBezTo>
                  <a:cubicBezTo>
                    <a:pt x="1120" y="1047"/>
                    <a:pt x="1122" y="1046"/>
                    <a:pt x="1123" y="1043"/>
                  </a:cubicBezTo>
                  <a:cubicBezTo>
                    <a:pt x="1126" y="1043"/>
                    <a:pt x="1131" y="1045"/>
                    <a:pt x="1134" y="1041"/>
                  </a:cubicBezTo>
                  <a:cubicBezTo>
                    <a:pt x="1135" y="1041"/>
                    <a:pt x="1135" y="1042"/>
                    <a:pt x="1135" y="1044"/>
                  </a:cubicBezTo>
                  <a:cubicBezTo>
                    <a:pt x="1137" y="1043"/>
                    <a:pt x="1139" y="1039"/>
                    <a:pt x="1138" y="1044"/>
                  </a:cubicBezTo>
                  <a:cubicBezTo>
                    <a:pt x="1141" y="1044"/>
                    <a:pt x="1139" y="1039"/>
                    <a:pt x="1141" y="1038"/>
                  </a:cubicBezTo>
                  <a:cubicBezTo>
                    <a:pt x="1143" y="1039"/>
                    <a:pt x="1142" y="1041"/>
                    <a:pt x="1143" y="1042"/>
                  </a:cubicBezTo>
                  <a:cubicBezTo>
                    <a:pt x="1145" y="1041"/>
                    <a:pt x="1145" y="1039"/>
                    <a:pt x="1147" y="1038"/>
                  </a:cubicBezTo>
                  <a:cubicBezTo>
                    <a:pt x="1148" y="1040"/>
                    <a:pt x="1148" y="1042"/>
                    <a:pt x="1149" y="1042"/>
                  </a:cubicBezTo>
                  <a:cubicBezTo>
                    <a:pt x="1151" y="1041"/>
                    <a:pt x="1147" y="1038"/>
                    <a:pt x="1150" y="1038"/>
                  </a:cubicBezTo>
                  <a:cubicBezTo>
                    <a:pt x="1153" y="1038"/>
                    <a:pt x="1150" y="1042"/>
                    <a:pt x="1153" y="1041"/>
                  </a:cubicBezTo>
                  <a:cubicBezTo>
                    <a:pt x="1154" y="1038"/>
                    <a:pt x="1154" y="1037"/>
                    <a:pt x="1157" y="1035"/>
                  </a:cubicBezTo>
                  <a:cubicBezTo>
                    <a:pt x="1154" y="1036"/>
                    <a:pt x="1148" y="1033"/>
                    <a:pt x="1146" y="1038"/>
                  </a:cubicBezTo>
                  <a:cubicBezTo>
                    <a:pt x="1145" y="1037"/>
                    <a:pt x="1145" y="1035"/>
                    <a:pt x="1143" y="1036"/>
                  </a:cubicBezTo>
                  <a:cubicBezTo>
                    <a:pt x="1126" y="1038"/>
                    <a:pt x="1111" y="1039"/>
                    <a:pt x="1090" y="1039"/>
                  </a:cubicBezTo>
                  <a:cubicBezTo>
                    <a:pt x="1090" y="1043"/>
                    <a:pt x="1088" y="1044"/>
                    <a:pt x="1089" y="1048"/>
                  </a:cubicBezTo>
                  <a:cubicBezTo>
                    <a:pt x="1082" y="1050"/>
                    <a:pt x="1074" y="1049"/>
                    <a:pt x="1069" y="1044"/>
                  </a:cubicBezTo>
                  <a:cubicBezTo>
                    <a:pt x="1074" y="1044"/>
                    <a:pt x="1076" y="1042"/>
                    <a:pt x="1078" y="1040"/>
                  </a:cubicBezTo>
                  <a:cubicBezTo>
                    <a:pt x="1065" y="1041"/>
                    <a:pt x="1059" y="1039"/>
                    <a:pt x="1048" y="1043"/>
                  </a:cubicBezTo>
                  <a:cubicBezTo>
                    <a:pt x="1043" y="1039"/>
                    <a:pt x="1028" y="1046"/>
                    <a:pt x="1022" y="1040"/>
                  </a:cubicBezTo>
                  <a:cubicBezTo>
                    <a:pt x="1016" y="1043"/>
                    <a:pt x="1008" y="1037"/>
                    <a:pt x="1000" y="1041"/>
                  </a:cubicBezTo>
                  <a:cubicBezTo>
                    <a:pt x="998" y="1036"/>
                    <a:pt x="992" y="1039"/>
                    <a:pt x="990" y="1036"/>
                  </a:cubicBezTo>
                  <a:cubicBezTo>
                    <a:pt x="984" y="1041"/>
                    <a:pt x="974" y="1037"/>
                    <a:pt x="965" y="1038"/>
                  </a:cubicBezTo>
                  <a:cubicBezTo>
                    <a:pt x="960" y="1038"/>
                    <a:pt x="956" y="1040"/>
                    <a:pt x="951" y="1038"/>
                  </a:cubicBezTo>
                  <a:cubicBezTo>
                    <a:pt x="950" y="1039"/>
                    <a:pt x="950" y="1040"/>
                    <a:pt x="948" y="1040"/>
                  </a:cubicBezTo>
                  <a:cubicBezTo>
                    <a:pt x="935" y="1038"/>
                    <a:pt x="925" y="1043"/>
                    <a:pt x="913" y="1040"/>
                  </a:cubicBezTo>
                  <a:cubicBezTo>
                    <a:pt x="903" y="1041"/>
                    <a:pt x="888" y="1045"/>
                    <a:pt x="877" y="1038"/>
                  </a:cubicBezTo>
                  <a:cubicBezTo>
                    <a:pt x="872" y="1039"/>
                    <a:pt x="866" y="1038"/>
                    <a:pt x="863" y="1036"/>
                  </a:cubicBezTo>
                  <a:cubicBezTo>
                    <a:pt x="861" y="1039"/>
                    <a:pt x="854" y="1036"/>
                    <a:pt x="851" y="1034"/>
                  </a:cubicBezTo>
                  <a:cubicBezTo>
                    <a:pt x="845" y="1036"/>
                    <a:pt x="839" y="1032"/>
                    <a:pt x="834" y="1034"/>
                  </a:cubicBezTo>
                  <a:cubicBezTo>
                    <a:pt x="830" y="1032"/>
                    <a:pt x="826" y="1030"/>
                    <a:pt x="821" y="1031"/>
                  </a:cubicBezTo>
                  <a:cubicBezTo>
                    <a:pt x="820" y="1029"/>
                    <a:pt x="819" y="1028"/>
                    <a:pt x="818" y="1027"/>
                  </a:cubicBezTo>
                  <a:cubicBezTo>
                    <a:pt x="821" y="1025"/>
                    <a:pt x="824" y="1024"/>
                    <a:pt x="826" y="1021"/>
                  </a:cubicBezTo>
                  <a:cubicBezTo>
                    <a:pt x="821" y="1020"/>
                    <a:pt x="815" y="1022"/>
                    <a:pt x="809" y="1021"/>
                  </a:cubicBezTo>
                  <a:cubicBezTo>
                    <a:pt x="808" y="1018"/>
                    <a:pt x="805" y="1013"/>
                    <a:pt x="802" y="1014"/>
                  </a:cubicBezTo>
                  <a:cubicBezTo>
                    <a:pt x="800" y="1016"/>
                    <a:pt x="803" y="1017"/>
                    <a:pt x="803" y="1020"/>
                  </a:cubicBezTo>
                  <a:cubicBezTo>
                    <a:pt x="800" y="1024"/>
                    <a:pt x="798" y="1019"/>
                    <a:pt x="797" y="1021"/>
                  </a:cubicBezTo>
                  <a:cubicBezTo>
                    <a:pt x="799" y="1022"/>
                    <a:pt x="801" y="1025"/>
                    <a:pt x="800" y="1027"/>
                  </a:cubicBezTo>
                  <a:cubicBezTo>
                    <a:pt x="792" y="1023"/>
                    <a:pt x="779" y="1029"/>
                    <a:pt x="772" y="1027"/>
                  </a:cubicBezTo>
                  <a:cubicBezTo>
                    <a:pt x="770" y="1029"/>
                    <a:pt x="773" y="1031"/>
                    <a:pt x="771" y="1031"/>
                  </a:cubicBezTo>
                  <a:cubicBezTo>
                    <a:pt x="753" y="1027"/>
                    <a:pt x="739" y="1032"/>
                    <a:pt x="722" y="1035"/>
                  </a:cubicBezTo>
                  <a:cubicBezTo>
                    <a:pt x="721" y="1038"/>
                    <a:pt x="717" y="1042"/>
                    <a:pt x="718" y="1044"/>
                  </a:cubicBezTo>
                  <a:cubicBezTo>
                    <a:pt x="721" y="1045"/>
                    <a:pt x="718" y="1041"/>
                    <a:pt x="721" y="1042"/>
                  </a:cubicBezTo>
                  <a:cubicBezTo>
                    <a:pt x="726" y="1047"/>
                    <a:pt x="713" y="1048"/>
                    <a:pt x="711" y="1044"/>
                  </a:cubicBezTo>
                  <a:cubicBezTo>
                    <a:pt x="712" y="1042"/>
                    <a:pt x="713" y="1043"/>
                    <a:pt x="714" y="1040"/>
                  </a:cubicBezTo>
                  <a:cubicBezTo>
                    <a:pt x="712" y="1040"/>
                    <a:pt x="712" y="1042"/>
                    <a:pt x="709" y="1042"/>
                  </a:cubicBezTo>
                  <a:cubicBezTo>
                    <a:pt x="708" y="1041"/>
                    <a:pt x="709" y="1038"/>
                    <a:pt x="707" y="1038"/>
                  </a:cubicBezTo>
                  <a:cubicBezTo>
                    <a:pt x="698" y="1041"/>
                    <a:pt x="691" y="1037"/>
                    <a:pt x="686" y="1036"/>
                  </a:cubicBezTo>
                  <a:cubicBezTo>
                    <a:pt x="688" y="1037"/>
                    <a:pt x="685" y="1037"/>
                    <a:pt x="684" y="1038"/>
                  </a:cubicBezTo>
                  <a:cubicBezTo>
                    <a:pt x="672" y="1034"/>
                    <a:pt x="663" y="1034"/>
                    <a:pt x="649" y="1031"/>
                  </a:cubicBezTo>
                  <a:cubicBezTo>
                    <a:pt x="638" y="1023"/>
                    <a:pt x="618" y="1032"/>
                    <a:pt x="608" y="1025"/>
                  </a:cubicBezTo>
                  <a:cubicBezTo>
                    <a:pt x="609" y="1022"/>
                    <a:pt x="612" y="1021"/>
                    <a:pt x="612" y="1018"/>
                  </a:cubicBezTo>
                  <a:cubicBezTo>
                    <a:pt x="610" y="1017"/>
                    <a:pt x="608" y="1020"/>
                    <a:pt x="609" y="1016"/>
                  </a:cubicBezTo>
                  <a:cubicBezTo>
                    <a:pt x="611" y="1014"/>
                    <a:pt x="612" y="1018"/>
                    <a:pt x="614" y="1016"/>
                  </a:cubicBezTo>
                  <a:cubicBezTo>
                    <a:pt x="613" y="1015"/>
                    <a:pt x="613" y="1012"/>
                    <a:pt x="616" y="1010"/>
                  </a:cubicBezTo>
                  <a:cubicBezTo>
                    <a:pt x="614" y="1009"/>
                    <a:pt x="611" y="1010"/>
                    <a:pt x="610" y="1008"/>
                  </a:cubicBezTo>
                  <a:cubicBezTo>
                    <a:pt x="613" y="1003"/>
                    <a:pt x="606" y="1003"/>
                    <a:pt x="606" y="999"/>
                  </a:cubicBezTo>
                  <a:cubicBezTo>
                    <a:pt x="607" y="998"/>
                    <a:pt x="608" y="998"/>
                    <a:pt x="610" y="997"/>
                  </a:cubicBezTo>
                  <a:cubicBezTo>
                    <a:pt x="612" y="999"/>
                    <a:pt x="613" y="1003"/>
                    <a:pt x="614" y="1005"/>
                  </a:cubicBezTo>
                  <a:cubicBezTo>
                    <a:pt x="618" y="1005"/>
                    <a:pt x="623" y="1006"/>
                    <a:pt x="623" y="1010"/>
                  </a:cubicBezTo>
                  <a:cubicBezTo>
                    <a:pt x="621" y="1012"/>
                    <a:pt x="619" y="1007"/>
                    <a:pt x="617" y="1010"/>
                  </a:cubicBezTo>
                  <a:cubicBezTo>
                    <a:pt x="619" y="1016"/>
                    <a:pt x="622" y="1017"/>
                    <a:pt x="621" y="1025"/>
                  </a:cubicBezTo>
                  <a:cubicBezTo>
                    <a:pt x="627" y="1019"/>
                    <a:pt x="636" y="1026"/>
                    <a:pt x="642" y="1023"/>
                  </a:cubicBezTo>
                  <a:cubicBezTo>
                    <a:pt x="643" y="1021"/>
                    <a:pt x="640" y="1023"/>
                    <a:pt x="640" y="1021"/>
                  </a:cubicBezTo>
                  <a:cubicBezTo>
                    <a:pt x="642" y="1021"/>
                    <a:pt x="647" y="1018"/>
                    <a:pt x="647" y="1022"/>
                  </a:cubicBezTo>
                  <a:cubicBezTo>
                    <a:pt x="650" y="1022"/>
                    <a:pt x="648" y="1019"/>
                    <a:pt x="651" y="1019"/>
                  </a:cubicBezTo>
                  <a:cubicBezTo>
                    <a:pt x="653" y="1022"/>
                    <a:pt x="655" y="1025"/>
                    <a:pt x="657" y="1028"/>
                  </a:cubicBezTo>
                  <a:cubicBezTo>
                    <a:pt x="657" y="1024"/>
                    <a:pt x="658" y="1022"/>
                    <a:pt x="659" y="1021"/>
                  </a:cubicBezTo>
                  <a:cubicBezTo>
                    <a:pt x="663" y="1019"/>
                    <a:pt x="665" y="1024"/>
                    <a:pt x="666" y="1021"/>
                  </a:cubicBezTo>
                  <a:cubicBezTo>
                    <a:pt x="665" y="1019"/>
                    <a:pt x="662" y="1020"/>
                    <a:pt x="662" y="1018"/>
                  </a:cubicBezTo>
                  <a:cubicBezTo>
                    <a:pt x="661" y="1014"/>
                    <a:pt x="661" y="1011"/>
                    <a:pt x="665" y="1012"/>
                  </a:cubicBezTo>
                  <a:cubicBezTo>
                    <a:pt x="667" y="1012"/>
                    <a:pt x="668" y="1016"/>
                    <a:pt x="666" y="1017"/>
                  </a:cubicBezTo>
                  <a:cubicBezTo>
                    <a:pt x="668" y="1017"/>
                    <a:pt x="668" y="1014"/>
                    <a:pt x="670" y="1016"/>
                  </a:cubicBezTo>
                  <a:cubicBezTo>
                    <a:pt x="670" y="1012"/>
                    <a:pt x="666" y="1010"/>
                    <a:pt x="663" y="1009"/>
                  </a:cubicBezTo>
                  <a:cubicBezTo>
                    <a:pt x="660" y="1010"/>
                    <a:pt x="657" y="1015"/>
                    <a:pt x="653" y="1012"/>
                  </a:cubicBezTo>
                  <a:cubicBezTo>
                    <a:pt x="652" y="1011"/>
                    <a:pt x="653" y="1008"/>
                    <a:pt x="652" y="1008"/>
                  </a:cubicBezTo>
                  <a:cubicBezTo>
                    <a:pt x="652" y="1009"/>
                    <a:pt x="652" y="1010"/>
                    <a:pt x="651" y="1010"/>
                  </a:cubicBezTo>
                  <a:cubicBezTo>
                    <a:pt x="651" y="1009"/>
                    <a:pt x="649" y="1008"/>
                    <a:pt x="648" y="1007"/>
                  </a:cubicBezTo>
                  <a:cubicBezTo>
                    <a:pt x="653" y="1006"/>
                    <a:pt x="656" y="1008"/>
                    <a:pt x="660" y="1005"/>
                  </a:cubicBezTo>
                  <a:cubicBezTo>
                    <a:pt x="662" y="1006"/>
                    <a:pt x="664" y="1007"/>
                    <a:pt x="667" y="1008"/>
                  </a:cubicBezTo>
                  <a:cubicBezTo>
                    <a:pt x="666" y="1005"/>
                    <a:pt x="669" y="1006"/>
                    <a:pt x="671" y="1005"/>
                  </a:cubicBezTo>
                  <a:cubicBezTo>
                    <a:pt x="670" y="1001"/>
                    <a:pt x="664" y="1002"/>
                    <a:pt x="662" y="999"/>
                  </a:cubicBezTo>
                  <a:cubicBezTo>
                    <a:pt x="665" y="999"/>
                    <a:pt x="675" y="996"/>
                    <a:pt x="676" y="1001"/>
                  </a:cubicBezTo>
                  <a:cubicBezTo>
                    <a:pt x="676" y="1004"/>
                    <a:pt x="673" y="1002"/>
                    <a:pt x="673" y="1005"/>
                  </a:cubicBezTo>
                  <a:cubicBezTo>
                    <a:pt x="681" y="1012"/>
                    <a:pt x="692" y="1004"/>
                    <a:pt x="700" y="1012"/>
                  </a:cubicBezTo>
                  <a:cubicBezTo>
                    <a:pt x="694" y="1013"/>
                    <a:pt x="691" y="1011"/>
                    <a:pt x="687" y="1010"/>
                  </a:cubicBezTo>
                  <a:cubicBezTo>
                    <a:pt x="686" y="1011"/>
                    <a:pt x="686" y="1013"/>
                    <a:pt x="685" y="1014"/>
                  </a:cubicBezTo>
                  <a:cubicBezTo>
                    <a:pt x="679" y="1015"/>
                    <a:pt x="679" y="1006"/>
                    <a:pt x="673" y="1009"/>
                  </a:cubicBezTo>
                  <a:cubicBezTo>
                    <a:pt x="679" y="1010"/>
                    <a:pt x="676" y="1019"/>
                    <a:pt x="683" y="1020"/>
                  </a:cubicBezTo>
                  <a:cubicBezTo>
                    <a:pt x="685" y="1019"/>
                    <a:pt x="684" y="1015"/>
                    <a:pt x="687" y="1014"/>
                  </a:cubicBezTo>
                  <a:cubicBezTo>
                    <a:pt x="689" y="1014"/>
                    <a:pt x="689" y="1016"/>
                    <a:pt x="690" y="1017"/>
                  </a:cubicBezTo>
                  <a:cubicBezTo>
                    <a:pt x="689" y="1018"/>
                    <a:pt x="687" y="1018"/>
                    <a:pt x="688" y="1020"/>
                  </a:cubicBezTo>
                  <a:cubicBezTo>
                    <a:pt x="692" y="1016"/>
                    <a:pt x="696" y="1025"/>
                    <a:pt x="698" y="1020"/>
                  </a:cubicBezTo>
                  <a:cubicBezTo>
                    <a:pt x="695" y="1019"/>
                    <a:pt x="692" y="1019"/>
                    <a:pt x="691" y="1016"/>
                  </a:cubicBezTo>
                  <a:cubicBezTo>
                    <a:pt x="693" y="1015"/>
                    <a:pt x="696" y="1016"/>
                    <a:pt x="698" y="1014"/>
                  </a:cubicBezTo>
                  <a:cubicBezTo>
                    <a:pt x="700" y="1016"/>
                    <a:pt x="703" y="1017"/>
                    <a:pt x="705" y="1020"/>
                  </a:cubicBezTo>
                  <a:cubicBezTo>
                    <a:pt x="706" y="1017"/>
                    <a:pt x="702" y="1017"/>
                    <a:pt x="704" y="1015"/>
                  </a:cubicBezTo>
                  <a:cubicBezTo>
                    <a:pt x="710" y="1014"/>
                    <a:pt x="711" y="1019"/>
                    <a:pt x="717" y="1021"/>
                  </a:cubicBezTo>
                  <a:cubicBezTo>
                    <a:pt x="717" y="1014"/>
                    <a:pt x="707" y="1015"/>
                    <a:pt x="704" y="1011"/>
                  </a:cubicBezTo>
                  <a:cubicBezTo>
                    <a:pt x="705" y="1010"/>
                    <a:pt x="709" y="1011"/>
                    <a:pt x="709" y="1009"/>
                  </a:cubicBezTo>
                  <a:cubicBezTo>
                    <a:pt x="707" y="1007"/>
                    <a:pt x="701" y="1009"/>
                    <a:pt x="700" y="1007"/>
                  </a:cubicBezTo>
                  <a:cubicBezTo>
                    <a:pt x="703" y="1005"/>
                    <a:pt x="710" y="1005"/>
                    <a:pt x="712" y="1008"/>
                  </a:cubicBezTo>
                  <a:cubicBezTo>
                    <a:pt x="711" y="1009"/>
                    <a:pt x="711" y="1010"/>
                    <a:pt x="712" y="1012"/>
                  </a:cubicBezTo>
                  <a:cubicBezTo>
                    <a:pt x="714" y="1014"/>
                    <a:pt x="715" y="1011"/>
                    <a:pt x="718" y="1012"/>
                  </a:cubicBezTo>
                  <a:cubicBezTo>
                    <a:pt x="720" y="1015"/>
                    <a:pt x="724" y="1015"/>
                    <a:pt x="724" y="1019"/>
                  </a:cubicBezTo>
                  <a:cubicBezTo>
                    <a:pt x="728" y="1019"/>
                    <a:pt x="732" y="1016"/>
                    <a:pt x="735" y="1014"/>
                  </a:cubicBezTo>
                  <a:cubicBezTo>
                    <a:pt x="732" y="1013"/>
                    <a:pt x="731" y="1010"/>
                    <a:pt x="729" y="1009"/>
                  </a:cubicBezTo>
                  <a:cubicBezTo>
                    <a:pt x="730" y="1011"/>
                    <a:pt x="727" y="1010"/>
                    <a:pt x="726" y="1010"/>
                  </a:cubicBezTo>
                  <a:cubicBezTo>
                    <a:pt x="725" y="1012"/>
                    <a:pt x="727" y="1015"/>
                    <a:pt x="725" y="1015"/>
                  </a:cubicBezTo>
                  <a:cubicBezTo>
                    <a:pt x="722" y="1012"/>
                    <a:pt x="717" y="1011"/>
                    <a:pt x="713" y="1009"/>
                  </a:cubicBezTo>
                  <a:cubicBezTo>
                    <a:pt x="720" y="1003"/>
                    <a:pt x="731" y="1006"/>
                    <a:pt x="739" y="1007"/>
                  </a:cubicBezTo>
                  <a:cubicBezTo>
                    <a:pt x="740" y="1002"/>
                    <a:pt x="734" y="1003"/>
                    <a:pt x="733" y="1000"/>
                  </a:cubicBezTo>
                  <a:cubicBezTo>
                    <a:pt x="735" y="1000"/>
                    <a:pt x="734" y="997"/>
                    <a:pt x="735" y="997"/>
                  </a:cubicBezTo>
                  <a:cubicBezTo>
                    <a:pt x="739" y="996"/>
                    <a:pt x="739" y="1000"/>
                    <a:pt x="741" y="999"/>
                  </a:cubicBezTo>
                  <a:cubicBezTo>
                    <a:pt x="741" y="1000"/>
                    <a:pt x="740" y="1004"/>
                    <a:pt x="741" y="1005"/>
                  </a:cubicBezTo>
                  <a:cubicBezTo>
                    <a:pt x="745" y="1005"/>
                    <a:pt x="751" y="1007"/>
                    <a:pt x="750" y="1012"/>
                  </a:cubicBezTo>
                  <a:cubicBezTo>
                    <a:pt x="753" y="1008"/>
                    <a:pt x="762" y="1007"/>
                    <a:pt x="764" y="1012"/>
                  </a:cubicBezTo>
                  <a:cubicBezTo>
                    <a:pt x="761" y="1015"/>
                    <a:pt x="756" y="1009"/>
                    <a:pt x="755" y="1012"/>
                  </a:cubicBezTo>
                  <a:cubicBezTo>
                    <a:pt x="758" y="1014"/>
                    <a:pt x="757" y="1016"/>
                    <a:pt x="759" y="1017"/>
                  </a:cubicBezTo>
                  <a:cubicBezTo>
                    <a:pt x="764" y="1016"/>
                    <a:pt x="764" y="1015"/>
                    <a:pt x="769" y="1015"/>
                  </a:cubicBezTo>
                  <a:cubicBezTo>
                    <a:pt x="771" y="1017"/>
                    <a:pt x="771" y="1019"/>
                    <a:pt x="770" y="1021"/>
                  </a:cubicBezTo>
                  <a:cubicBezTo>
                    <a:pt x="772" y="1021"/>
                    <a:pt x="771" y="1018"/>
                    <a:pt x="773" y="1019"/>
                  </a:cubicBezTo>
                  <a:cubicBezTo>
                    <a:pt x="776" y="1023"/>
                    <a:pt x="780" y="1021"/>
                    <a:pt x="785" y="1023"/>
                  </a:cubicBezTo>
                  <a:cubicBezTo>
                    <a:pt x="783" y="1019"/>
                    <a:pt x="780" y="1016"/>
                    <a:pt x="774" y="1016"/>
                  </a:cubicBezTo>
                  <a:cubicBezTo>
                    <a:pt x="772" y="1014"/>
                    <a:pt x="769" y="1012"/>
                    <a:pt x="767" y="1012"/>
                  </a:cubicBezTo>
                  <a:cubicBezTo>
                    <a:pt x="769" y="1009"/>
                    <a:pt x="764" y="1009"/>
                    <a:pt x="765" y="1008"/>
                  </a:cubicBezTo>
                  <a:cubicBezTo>
                    <a:pt x="769" y="1007"/>
                    <a:pt x="770" y="1010"/>
                    <a:pt x="772" y="1012"/>
                  </a:cubicBezTo>
                  <a:cubicBezTo>
                    <a:pt x="778" y="1012"/>
                    <a:pt x="787" y="1016"/>
                    <a:pt x="792" y="1020"/>
                  </a:cubicBezTo>
                  <a:cubicBezTo>
                    <a:pt x="792" y="1018"/>
                    <a:pt x="794" y="1014"/>
                    <a:pt x="793" y="1013"/>
                  </a:cubicBezTo>
                  <a:cubicBezTo>
                    <a:pt x="788" y="1016"/>
                    <a:pt x="784" y="1013"/>
                    <a:pt x="783" y="1008"/>
                  </a:cubicBezTo>
                  <a:cubicBezTo>
                    <a:pt x="786" y="1006"/>
                    <a:pt x="792" y="1008"/>
                    <a:pt x="789" y="1012"/>
                  </a:cubicBezTo>
                  <a:cubicBezTo>
                    <a:pt x="792" y="1008"/>
                    <a:pt x="797" y="1013"/>
                    <a:pt x="798" y="1008"/>
                  </a:cubicBezTo>
                  <a:cubicBezTo>
                    <a:pt x="796" y="1007"/>
                    <a:pt x="791" y="1008"/>
                    <a:pt x="792" y="1004"/>
                  </a:cubicBezTo>
                  <a:cubicBezTo>
                    <a:pt x="796" y="1004"/>
                    <a:pt x="802" y="1003"/>
                    <a:pt x="803" y="1007"/>
                  </a:cubicBezTo>
                  <a:cubicBezTo>
                    <a:pt x="803" y="1008"/>
                    <a:pt x="801" y="1008"/>
                    <a:pt x="802" y="1010"/>
                  </a:cubicBezTo>
                  <a:cubicBezTo>
                    <a:pt x="808" y="1009"/>
                    <a:pt x="811" y="1017"/>
                    <a:pt x="818" y="1018"/>
                  </a:cubicBezTo>
                  <a:cubicBezTo>
                    <a:pt x="818" y="1014"/>
                    <a:pt x="824" y="1017"/>
                    <a:pt x="825" y="1013"/>
                  </a:cubicBezTo>
                  <a:cubicBezTo>
                    <a:pt x="823" y="1013"/>
                    <a:pt x="821" y="1015"/>
                    <a:pt x="819" y="1013"/>
                  </a:cubicBezTo>
                  <a:cubicBezTo>
                    <a:pt x="820" y="1010"/>
                    <a:pt x="824" y="1010"/>
                    <a:pt x="825" y="1008"/>
                  </a:cubicBezTo>
                  <a:cubicBezTo>
                    <a:pt x="821" y="1008"/>
                    <a:pt x="815" y="1009"/>
                    <a:pt x="809" y="1011"/>
                  </a:cubicBezTo>
                  <a:cubicBezTo>
                    <a:pt x="810" y="1009"/>
                    <a:pt x="808" y="1008"/>
                    <a:pt x="808" y="1007"/>
                  </a:cubicBezTo>
                  <a:cubicBezTo>
                    <a:pt x="815" y="1005"/>
                    <a:pt x="824" y="1003"/>
                    <a:pt x="829" y="1008"/>
                  </a:cubicBezTo>
                  <a:cubicBezTo>
                    <a:pt x="829" y="1012"/>
                    <a:pt x="834" y="1012"/>
                    <a:pt x="834" y="1016"/>
                  </a:cubicBezTo>
                  <a:cubicBezTo>
                    <a:pt x="833" y="1017"/>
                    <a:pt x="828" y="1016"/>
                    <a:pt x="830" y="1018"/>
                  </a:cubicBezTo>
                  <a:cubicBezTo>
                    <a:pt x="834" y="1021"/>
                    <a:pt x="834" y="1014"/>
                    <a:pt x="837" y="1018"/>
                  </a:cubicBezTo>
                  <a:cubicBezTo>
                    <a:pt x="838" y="1015"/>
                    <a:pt x="841" y="1015"/>
                    <a:pt x="839" y="1012"/>
                  </a:cubicBezTo>
                  <a:cubicBezTo>
                    <a:pt x="837" y="1012"/>
                    <a:pt x="837" y="1016"/>
                    <a:pt x="835" y="1014"/>
                  </a:cubicBezTo>
                  <a:cubicBezTo>
                    <a:pt x="838" y="1011"/>
                    <a:pt x="836" y="1010"/>
                    <a:pt x="835" y="1006"/>
                  </a:cubicBezTo>
                  <a:cubicBezTo>
                    <a:pt x="840" y="1010"/>
                    <a:pt x="844" y="1005"/>
                    <a:pt x="850" y="1005"/>
                  </a:cubicBezTo>
                  <a:cubicBezTo>
                    <a:pt x="852" y="1008"/>
                    <a:pt x="856" y="1013"/>
                    <a:pt x="862" y="1010"/>
                  </a:cubicBezTo>
                  <a:cubicBezTo>
                    <a:pt x="860" y="1008"/>
                    <a:pt x="855" y="1009"/>
                    <a:pt x="855" y="1005"/>
                  </a:cubicBezTo>
                  <a:cubicBezTo>
                    <a:pt x="862" y="1009"/>
                    <a:pt x="869" y="1007"/>
                    <a:pt x="877" y="1005"/>
                  </a:cubicBezTo>
                  <a:cubicBezTo>
                    <a:pt x="878" y="1006"/>
                    <a:pt x="877" y="1008"/>
                    <a:pt x="879" y="1008"/>
                  </a:cubicBezTo>
                  <a:cubicBezTo>
                    <a:pt x="880" y="1007"/>
                    <a:pt x="882" y="1005"/>
                    <a:pt x="884" y="1004"/>
                  </a:cubicBezTo>
                  <a:cubicBezTo>
                    <a:pt x="891" y="1007"/>
                    <a:pt x="897" y="1004"/>
                    <a:pt x="905" y="1007"/>
                  </a:cubicBezTo>
                  <a:cubicBezTo>
                    <a:pt x="906" y="1003"/>
                    <a:pt x="906" y="1000"/>
                    <a:pt x="910" y="999"/>
                  </a:cubicBezTo>
                  <a:cubicBezTo>
                    <a:pt x="911" y="999"/>
                    <a:pt x="912" y="999"/>
                    <a:pt x="912" y="1000"/>
                  </a:cubicBezTo>
                  <a:cubicBezTo>
                    <a:pt x="911" y="1003"/>
                    <a:pt x="910" y="1004"/>
                    <a:pt x="912" y="1006"/>
                  </a:cubicBezTo>
                  <a:cubicBezTo>
                    <a:pt x="917" y="1004"/>
                    <a:pt x="927" y="1008"/>
                    <a:pt x="929" y="1001"/>
                  </a:cubicBezTo>
                  <a:cubicBezTo>
                    <a:pt x="926" y="999"/>
                    <a:pt x="926" y="994"/>
                    <a:pt x="918" y="995"/>
                  </a:cubicBezTo>
                  <a:cubicBezTo>
                    <a:pt x="916" y="995"/>
                    <a:pt x="917" y="998"/>
                    <a:pt x="915" y="997"/>
                  </a:cubicBezTo>
                  <a:cubicBezTo>
                    <a:pt x="912" y="998"/>
                    <a:pt x="913" y="994"/>
                    <a:pt x="910" y="995"/>
                  </a:cubicBezTo>
                  <a:cubicBezTo>
                    <a:pt x="907" y="998"/>
                    <a:pt x="902" y="998"/>
                    <a:pt x="899" y="995"/>
                  </a:cubicBezTo>
                  <a:cubicBezTo>
                    <a:pt x="898" y="998"/>
                    <a:pt x="896" y="996"/>
                    <a:pt x="892" y="997"/>
                  </a:cubicBezTo>
                  <a:cubicBezTo>
                    <a:pt x="890" y="999"/>
                    <a:pt x="895" y="999"/>
                    <a:pt x="893" y="1000"/>
                  </a:cubicBezTo>
                  <a:cubicBezTo>
                    <a:pt x="892" y="1000"/>
                    <a:pt x="890" y="1000"/>
                    <a:pt x="889" y="1000"/>
                  </a:cubicBezTo>
                  <a:cubicBezTo>
                    <a:pt x="889" y="998"/>
                    <a:pt x="889" y="997"/>
                    <a:pt x="888" y="997"/>
                  </a:cubicBezTo>
                  <a:cubicBezTo>
                    <a:pt x="876" y="994"/>
                    <a:pt x="861" y="994"/>
                    <a:pt x="845" y="996"/>
                  </a:cubicBezTo>
                  <a:cubicBezTo>
                    <a:pt x="843" y="987"/>
                    <a:pt x="837" y="982"/>
                    <a:pt x="830" y="977"/>
                  </a:cubicBezTo>
                  <a:cubicBezTo>
                    <a:pt x="826" y="983"/>
                    <a:pt x="820" y="988"/>
                    <a:pt x="817" y="996"/>
                  </a:cubicBezTo>
                  <a:cubicBezTo>
                    <a:pt x="820" y="996"/>
                    <a:pt x="822" y="998"/>
                    <a:pt x="824" y="999"/>
                  </a:cubicBezTo>
                  <a:cubicBezTo>
                    <a:pt x="821" y="1002"/>
                    <a:pt x="815" y="998"/>
                    <a:pt x="813" y="1003"/>
                  </a:cubicBezTo>
                  <a:cubicBezTo>
                    <a:pt x="814" y="1001"/>
                    <a:pt x="811" y="1001"/>
                    <a:pt x="811" y="1000"/>
                  </a:cubicBezTo>
                  <a:cubicBezTo>
                    <a:pt x="813" y="999"/>
                    <a:pt x="815" y="999"/>
                    <a:pt x="816" y="997"/>
                  </a:cubicBezTo>
                  <a:cubicBezTo>
                    <a:pt x="811" y="995"/>
                    <a:pt x="797" y="995"/>
                    <a:pt x="793" y="998"/>
                  </a:cubicBezTo>
                  <a:cubicBezTo>
                    <a:pt x="793" y="999"/>
                    <a:pt x="797" y="998"/>
                    <a:pt x="797" y="999"/>
                  </a:cubicBezTo>
                  <a:cubicBezTo>
                    <a:pt x="795" y="1004"/>
                    <a:pt x="788" y="998"/>
                    <a:pt x="789" y="995"/>
                  </a:cubicBezTo>
                  <a:cubicBezTo>
                    <a:pt x="777" y="998"/>
                    <a:pt x="759" y="993"/>
                    <a:pt x="748" y="996"/>
                  </a:cubicBezTo>
                  <a:cubicBezTo>
                    <a:pt x="751" y="997"/>
                    <a:pt x="753" y="998"/>
                    <a:pt x="757" y="999"/>
                  </a:cubicBezTo>
                  <a:cubicBezTo>
                    <a:pt x="753" y="1000"/>
                    <a:pt x="750" y="1001"/>
                    <a:pt x="748" y="1003"/>
                  </a:cubicBezTo>
                  <a:cubicBezTo>
                    <a:pt x="748" y="1002"/>
                    <a:pt x="746" y="1002"/>
                    <a:pt x="746" y="1001"/>
                  </a:cubicBezTo>
                  <a:cubicBezTo>
                    <a:pt x="744" y="999"/>
                    <a:pt x="747" y="1000"/>
                    <a:pt x="747" y="998"/>
                  </a:cubicBezTo>
                  <a:cubicBezTo>
                    <a:pt x="744" y="995"/>
                    <a:pt x="737" y="995"/>
                    <a:pt x="730" y="996"/>
                  </a:cubicBezTo>
                  <a:cubicBezTo>
                    <a:pt x="729" y="999"/>
                    <a:pt x="733" y="997"/>
                    <a:pt x="733" y="1000"/>
                  </a:cubicBezTo>
                  <a:cubicBezTo>
                    <a:pt x="729" y="1000"/>
                    <a:pt x="730" y="1003"/>
                    <a:pt x="726" y="1001"/>
                  </a:cubicBezTo>
                  <a:cubicBezTo>
                    <a:pt x="726" y="1000"/>
                    <a:pt x="726" y="997"/>
                    <a:pt x="725" y="996"/>
                  </a:cubicBezTo>
                  <a:cubicBezTo>
                    <a:pt x="722" y="995"/>
                    <a:pt x="718" y="996"/>
                    <a:pt x="718" y="991"/>
                  </a:cubicBezTo>
                  <a:cubicBezTo>
                    <a:pt x="719" y="989"/>
                    <a:pt x="722" y="993"/>
                    <a:pt x="722" y="990"/>
                  </a:cubicBezTo>
                  <a:cubicBezTo>
                    <a:pt x="725" y="962"/>
                    <a:pt x="731" y="936"/>
                    <a:pt x="736" y="908"/>
                  </a:cubicBezTo>
                  <a:cubicBezTo>
                    <a:pt x="746" y="853"/>
                    <a:pt x="755" y="797"/>
                    <a:pt x="764" y="742"/>
                  </a:cubicBezTo>
                  <a:cubicBezTo>
                    <a:pt x="768" y="719"/>
                    <a:pt x="774" y="695"/>
                    <a:pt x="775" y="673"/>
                  </a:cubicBezTo>
                  <a:cubicBezTo>
                    <a:pt x="775" y="666"/>
                    <a:pt x="777" y="662"/>
                    <a:pt x="778" y="656"/>
                  </a:cubicBezTo>
                  <a:cubicBezTo>
                    <a:pt x="781" y="636"/>
                    <a:pt x="782" y="617"/>
                    <a:pt x="785" y="598"/>
                  </a:cubicBezTo>
                  <a:cubicBezTo>
                    <a:pt x="770" y="583"/>
                    <a:pt x="754" y="568"/>
                    <a:pt x="740" y="552"/>
                  </a:cubicBezTo>
                  <a:cubicBezTo>
                    <a:pt x="744" y="552"/>
                    <a:pt x="746" y="555"/>
                    <a:pt x="747" y="559"/>
                  </a:cubicBezTo>
                  <a:cubicBezTo>
                    <a:pt x="761" y="569"/>
                    <a:pt x="771" y="584"/>
                    <a:pt x="785" y="596"/>
                  </a:cubicBezTo>
                  <a:cubicBezTo>
                    <a:pt x="788" y="581"/>
                    <a:pt x="788" y="564"/>
                    <a:pt x="791" y="550"/>
                  </a:cubicBezTo>
                  <a:cubicBezTo>
                    <a:pt x="775" y="549"/>
                    <a:pt x="753" y="548"/>
                    <a:pt x="738" y="550"/>
                  </a:cubicBezTo>
                  <a:cubicBezTo>
                    <a:pt x="732" y="548"/>
                    <a:pt x="724" y="549"/>
                    <a:pt x="719" y="551"/>
                  </a:cubicBezTo>
                  <a:cubicBezTo>
                    <a:pt x="724" y="564"/>
                    <a:pt x="717" y="586"/>
                    <a:pt x="722" y="600"/>
                  </a:cubicBezTo>
                  <a:cubicBezTo>
                    <a:pt x="721" y="601"/>
                    <a:pt x="721" y="603"/>
                    <a:pt x="720" y="604"/>
                  </a:cubicBezTo>
                  <a:cubicBezTo>
                    <a:pt x="722" y="606"/>
                    <a:pt x="724" y="607"/>
                    <a:pt x="723" y="611"/>
                  </a:cubicBezTo>
                  <a:cubicBezTo>
                    <a:pt x="721" y="613"/>
                    <a:pt x="719" y="607"/>
                    <a:pt x="719" y="611"/>
                  </a:cubicBezTo>
                  <a:cubicBezTo>
                    <a:pt x="721" y="616"/>
                    <a:pt x="728" y="621"/>
                    <a:pt x="732" y="627"/>
                  </a:cubicBezTo>
                  <a:cubicBezTo>
                    <a:pt x="730" y="627"/>
                    <a:pt x="729" y="626"/>
                    <a:pt x="727" y="626"/>
                  </a:cubicBezTo>
                  <a:cubicBezTo>
                    <a:pt x="724" y="623"/>
                    <a:pt x="721" y="619"/>
                    <a:pt x="717" y="616"/>
                  </a:cubicBezTo>
                  <a:cubicBezTo>
                    <a:pt x="714" y="617"/>
                    <a:pt x="713" y="618"/>
                    <a:pt x="712" y="614"/>
                  </a:cubicBezTo>
                  <a:cubicBezTo>
                    <a:pt x="714" y="613"/>
                    <a:pt x="717" y="617"/>
                    <a:pt x="717" y="613"/>
                  </a:cubicBezTo>
                  <a:cubicBezTo>
                    <a:pt x="717" y="611"/>
                    <a:pt x="713" y="612"/>
                    <a:pt x="714" y="608"/>
                  </a:cubicBezTo>
                  <a:cubicBezTo>
                    <a:pt x="720" y="591"/>
                    <a:pt x="715" y="570"/>
                    <a:pt x="717" y="551"/>
                  </a:cubicBezTo>
                  <a:cubicBezTo>
                    <a:pt x="717" y="549"/>
                    <a:pt x="714" y="550"/>
                    <a:pt x="714" y="548"/>
                  </a:cubicBezTo>
                  <a:cubicBezTo>
                    <a:pt x="719" y="544"/>
                    <a:pt x="727" y="545"/>
                    <a:pt x="730" y="539"/>
                  </a:cubicBezTo>
                  <a:cubicBezTo>
                    <a:pt x="746" y="536"/>
                    <a:pt x="758" y="528"/>
                    <a:pt x="773" y="523"/>
                  </a:cubicBezTo>
                  <a:cubicBezTo>
                    <a:pt x="773" y="520"/>
                    <a:pt x="767" y="520"/>
                    <a:pt x="768" y="518"/>
                  </a:cubicBezTo>
                  <a:cubicBezTo>
                    <a:pt x="773" y="518"/>
                    <a:pt x="773" y="523"/>
                    <a:pt x="778" y="521"/>
                  </a:cubicBezTo>
                  <a:cubicBezTo>
                    <a:pt x="778" y="519"/>
                    <a:pt x="775" y="520"/>
                    <a:pt x="776" y="518"/>
                  </a:cubicBezTo>
                  <a:cubicBezTo>
                    <a:pt x="778" y="518"/>
                    <a:pt x="780" y="521"/>
                    <a:pt x="782" y="519"/>
                  </a:cubicBezTo>
                  <a:cubicBezTo>
                    <a:pt x="785" y="518"/>
                    <a:pt x="780" y="516"/>
                    <a:pt x="782" y="516"/>
                  </a:cubicBezTo>
                  <a:cubicBezTo>
                    <a:pt x="787" y="519"/>
                    <a:pt x="789" y="516"/>
                    <a:pt x="793" y="515"/>
                  </a:cubicBezTo>
                  <a:cubicBezTo>
                    <a:pt x="796" y="503"/>
                    <a:pt x="796" y="488"/>
                    <a:pt x="797" y="475"/>
                  </a:cubicBezTo>
                  <a:cubicBezTo>
                    <a:pt x="797" y="468"/>
                    <a:pt x="800" y="453"/>
                    <a:pt x="799" y="449"/>
                  </a:cubicBezTo>
                  <a:cubicBezTo>
                    <a:pt x="798" y="443"/>
                    <a:pt x="790" y="440"/>
                    <a:pt x="788" y="435"/>
                  </a:cubicBezTo>
                  <a:cubicBezTo>
                    <a:pt x="755" y="435"/>
                    <a:pt x="724" y="437"/>
                    <a:pt x="696" y="438"/>
                  </a:cubicBezTo>
                  <a:cubicBezTo>
                    <a:pt x="699" y="447"/>
                    <a:pt x="694" y="458"/>
                    <a:pt x="698" y="464"/>
                  </a:cubicBezTo>
                  <a:cubicBezTo>
                    <a:pt x="705" y="467"/>
                    <a:pt x="712" y="471"/>
                    <a:pt x="717" y="476"/>
                  </a:cubicBezTo>
                  <a:cubicBezTo>
                    <a:pt x="736" y="487"/>
                    <a:pt x="755" y="499"/>
                    <a:pt x="774" y="511"/>
                  </a:cubicBezTo>
                  <a:cubicBezTo>
                    <a:pt x="777" y="511"/>
                    <a:pt x="780" y="514"/>
                    <a:pt x="779" y="515"/>
                  </a:cubicBezTo>
                  <a:cubicBezTo>
                    <a:pt x="772" y="512"/>
                    <a:pt x="766" y="507"/>
                    <a:pt x="759" y="504"/>
                  </a:cubicBezTo>
                  <a:cubicBezTo>
                    <a:pt x="756" y="499"/>
                    <a:pt x="748" y="499"/>
                    <a:pt x="746" y="494"/>
                  </a:cubicBezTo>
                  <a:cubicBezTo>
                    <a:pt x="733" y="489"/>
                    <a:pt x="726" y="480"/>
                    <a:pt x="713" y="476"/>
                  </a:cubicBezTo>
                  <a:cubicBezTo>
                    <a:pt x="709" y="472"/>
                    <a:pt x="703" y="466"/>
                    <a:pt x="697" y="466"/>
                  </a:cubicBezTo>
                  <a:cubicBezTo>
                    <a:pt x="694" y="472"/>
                    <a:pt x="706" y="472"/>
                    <a:pt x="705" y="476"/>
                  </a:cubicBezTo>
                  <a:cubicBezTo>
                    <a:pt x="702" y="476"/>
                    <a:pt x="701" y="473"/>
                    <a:pt x="698" y="472"/>
                  </a:cubicBezTo>
                  <a:cubicBezTo>
                    <a:pt x="697" y="475"/>
                    <a:pt x="697" y="480"/>
                    <a:pt x="697" y="486"/>
                  </a:cubicBezTo>
                  <a:cubicBezTo>
                    <a:pt x="699" y="487"/>
                    <a:pt x="701" y="488"/>
                    <a:pt x="702" y="490"/>
                  </a:cubicBezTo>
                  <a:cubicBezTo>
                    <a:pt x="700" y="493"/>
                    <a:pt x="698" y="497"/>
                    <a:pt x="700" y="501"/>
                  </a:cubicBezTo>
                  <a:cubicBezTo>
                    <a:pt x="699" y="500"/>
                    <a:pt x="697" y="497"/>
                    <a:pt x="694" y="498"/>
                  </a:cubicBezTo>
                  <a:cubicBezTo>
                    <a:pt x="703" y="512"/>
                    <a:pt x="719" y="525"/>
                    <a:pt x="729" y="539"/>
                  </a:cubicBezTo>
                  <a:cubicBezTo>
                    <a:pt x="718" y="531"/>
                    <a:pt x="710" y="519"/>
                    <a:pt x="699" y="511"/>
                  </a:cubicBezTo>
                  <a:cubicBezTo>
                    <a:pt x="699" y="510"/>
                    <a:pt x="698" y="508"/>
                    <a:pt x="698" y="507"/>
                  </a:cubicBezTo>
                  <a:cubicBezTo>
                    <a:pt x="695" y="503"/>
                    <a:pt x="690" y="505"/>
                    <a:pt x="689" y="501"/>
                  </a:cubicBezTo>
                  <a:cubicBezTo>
                    <a:pt x="691" y="500"/>
                    <a:pt x="693" y="505"/>
                    <a:pt x="693" y="501"/>
                  </a:cubicBezTo>
                  <a:cubicBezTo>
                    <a:pt x="689" y="497"/>
                    <a:pt x="690" y="494"/>
                    <a:pt x="693" y="490"/>
                  </a:cubicBezTo>
                  <a:cubicBezTo>
                    <a:pt x="691" y="481"/>
                    <a:pt x="695" y="471"/>
                    <a:pt x="690" y="467"/>
                  </a:cubicBezTo>
                  <a:cubicBezTo>
                    <a:pt x="692" y="466"/>
                    <a:pt x="694" y="466"/>
                    <a:pt x="693" y="464"/>
                  </a:cubicBezTo>
                  <a:cubicBezTo>
                    <a:pt x="685" y="454"/>
                    <a:pt x="671" y="450"/>
                    <a:pt x="662" y="441"/>
                  </a:cubicBezTo>
                  <a:cubicBezTo>
                    <a:pt x="641" y="431"/>
                    <a:pt x="625" y="416"/>
                    <a:pt x="605" y="406"/>
                  </a:cubicBezTo>
                  <a:cubicBezTo>
                    <a:pt x="604" y="407"/>
                    <a:pt x="604" y="407"/>
                    <a:pt x="603" y="408"/>
                  </a:cubicBezTo>
                  <a:cubicBezTo>
                    <a:pt x="626" y="427"/>
                    <a:pt x="653" y="439"/>
                    <a:pt x="677" y="458"/>
                  </a:cubicBezTo>
                  <a:cubicBezTo>
                    <a:pt x="652" y="445"/>
                    <a:pt x="627" y="426"/>
                    <a:pt x="601" y="411"/>
                  </a:cubicBezTo>
                  <a:cubicBezTo>
                    <a:pt x="610" y="422"/>
                    <a:pt x="626" y="427"/>
                    <a:pt x="636" y="437"/>
                  </a:cubicBezTo>
                  <a:cubicBezTo>
                    <a:pt x="637" y="437"/>
                    <a:pt x="639" y="437"/>
                    <a:pt x="640" y="437"/>
                  </a:cubicBezTo>
                  <a:cubicBezTo>
                    <a:pt x="644" y="444"/>
                    <a:pt x="656" y="446"/>
                    <a:pt x="659" y="452"/>
                  </a:cubicBezTo>
                  <a:cubicBezTo>
                    <a:pt x="637" y="439"/>
                    <a:pt x="614" y="425"/>
                    <a:pt x="593" y="410"/>
                  </a:cubicBezTo>
                  <a:cubicBezTo>
                    <a:pt x="595" y="408"/>
                    <a:pt x="593" y="408"/>
                    <a:pt x="593" y="406"/>
                  </a:cubicBezTo>
                  <a:cubicBezTo>
                    <a:pt x="564" y="385"/>
                    <a:pt x="533" y="367"/>
                    <a:pt x="504" y="345"/>
                  </a:cubicBezTo>
                  <a:cubicBezTo>
                    <a:pt x="476" y="329"/>
                    <a:pt x="451" y="309"/>
                    <a:pt x="423" y="292"/>
                  </a:cubicBezTo>
                  <a:cubicBezTo>
                    <a:pt x="415" y="286"/>
                    <a:pt x="407" y="279"/>
                    <a:pt x="397" y="274"/>
                  </a:cubicBezTo>
                  <a:cubicBezTo>
                    <a:pt x="395" y="271"/>
                    <a:pt x="392" y="269"/>
                    <a:pt x="388" y="268"/>
                  </a:cubicBezTo>
                  <a:cubicBezTo>
                    <a:pt x="314" y="216"/>
                    <a:pt x="240" y="164"/>
                    <a:pt x="165" y="112"/>
                  </a:cubicBezTo>
                  <a:cubicBezTo>
                    <a:pt x="143" y="96"/>
                    <a:pt x="121" y="79"/>
                    <a:pt x="99" y="64"/>
                  </a:cubicBezTo>
                  <a:cubicBezTo>
                    <a:pt x="91" y="59"/>
                    <a:pt x="84" y="52"/>
                    <a:pt x="75" y="49"/>
                  </a:cubicBezTo>
                  <a:cubicBezTo>
                    <a:pt x="128" y="89"/>
                    <a:pt x="184" y="128"/>
                    <a:pt x="239" y="166"/>
                  </a:cubicBezTo>
                  <a:cubicBezTo>
                    <a:pt x="308" y="217"/>
                    <a:pt x="381" y="264"/>
                    <a:pt x="451" y="314"/>
                  </a:cubicBezTo>
                  <a:cubicBezTo>
                    <a:pt x="471" y="325"/>
                    <a:pt x="487" y="339"/>
                    <a:pt x="506" y="350"/>
                  </a:cubicBezTo>
                  <a:cubicBezTo>
                    <a:pt x="513" y="355"/>
                    <a:pt x="520" y="360"/>
                    <a:pt x="528" y="364"/>
                  </a:cubicBezTo>
                  <a:cubicBezTo>
                    <a:pt x="528" y="366"/>
                    <a:pt x="530" y="366"/>
                    <a:pt x="530" y="367"/>
                  </a:cubicBezTo>
                  <a:cubicBezTo>
                    <a:pt x="540" y="372"/>
                    <a:pt x="549" y="378"/>
                    <a:pt x="557" y="385"/>
                  </a:cubicBezTo>
                  <a:cubicBezTo>
                    <a:pt x="568" y="391"/>
                    <a:pt x="578" y="398"/>
                    <a:pt x="588" y="406"/>
                  </a:cubicBezTo>
                  <a:cubicBezTo>
                    <a:pt x="590" y="405"/>
                    <a:pt x="593" y="408"/>
                    <a:pt x="592" y="409"/>
                  </a:cubicBezTo>
                  <a:cubicBezTo>
                    <a:pt x="489" y="344"/>
                    <a:pt x="392" y="274"/>
                    <a:pt x="291" y="207"/>
                  </a:cubicBezTo>
                  <a:cubicBezTo>
                    <a:pt x="220" y="155"/>
                    <a:pt x="146" y="106"/>
                    <a:pt x="75" y="54"/>
                  </a:cubicBezTo>
                  <a:cubicBezTo>
                    <a:pt x="73" y="53"/>
                    <a:pt x="71" y="53"/>
                    <a:pt x="69" y="52"/>
                  </a:cubicBezTo>
                  <a:cubicBezTo>
                    <a:pt x="69" y="51"/>
                    <a:pt x="68" y="51"/>
                    <a:pt x="68" y="49"/>
                  </a:cubicBezTo>
                  <a:cubicBezTo>
                    <a:pt x="60" y="44"/>
                    <a:pt x="52" y="39"/>
                    <a:pt x="45" y="34"/>
                  </a:cubicBezTo>
                  <a:cubicBezTo>
                    <a:pt x="38" y="30"/>
                    <a:pt x="32" y="23"/>
                    <a:pt x="25" y="18"/>
                  </a:cubicBezTo>
                  <a:cubicBezTo>
                    <a:pt x="17" y="13"/>
                    <a:pt x="5" y="6"/>
                    <a:pt x="0" y="0"/>
                  </a:cubicBezTo>
                  <a:close/>
                  <a:moveTo>
                    <a:pt x="918" y="593"/>
                  </a:moveTo>
                  <a:cubicBezTo>
                    <a:pt x="917" y="595"/>
                    <a:pt x="919" y="595"/>
                    <a:pt x="920" y="596"/>
                  </a:cubicBezTo>
                  <a:cubicBezTo>
                    <a:pt x="921" y="595"/>
                    <a:pt x="921" y="594"/>
                    <a:pt x="921" y="593"/>
                  </a:cubicBezTo>
                  <a:cubicBezTo>
                    <a:pt x="920" y="593"/>
                    <a:pt x="919" y="593"/>
                    <a:pt x="918" y="593"/>
                  </a:cubicBezTo>
                  <a:close/>
                  <a:moveTo>
                    <a:pt x="721" y="1021"/>
                  </a:moveTo>
                  <a:cubicBezTo>
                    <a:pt x="723" y="1021"/>
                    <a:pt x="724" y="1022"/>
                    <a:pt x="726" y="1021"/>
                  </a:cubicBezTo>
                  <a:cubicBezTo>
                    <a:pt x="725" y="1019"/>
                    <a:pt x="722" y="1019"/>
                    <a:pt x="721" y="1021"/>
                  </a:cubicBezTo>
                  <a:close/>
                  <a:moveTo>
                    <a:pt x="586" y="393"/>
                  </a:moveTo>
                  <a:cubicBezTo>
                    <a:pt x="548" y="366"/>
                    <a:pt x="509" y="340"/>
                    <a:pt x="471" y="313"/>
                  </a:cubicBezTo>
                  <a:cubicBezTo>
                    <a:pt x="361" y="238"/>
                    <a:pt x="252" y="160"/>
                    <a:pt x="145" y="82"/>
                  </a:cubicBezTo>
                  <a:cubicBezTo>
                    <a:pt x="123" y="67"/>
                    <a:pt x="102" y="50"/>
                    <a:pt x="80" y="36"/>
                  </a:cubicBezTo>
                  <a:cubicBezTo>
                    <a:pt x="80" y="36"/>
                    <a:pt x="79" y="36"/>
                    <a:pt x="79" y="36"/>
                  </a:cubicBezTo>
                  <a:cubicBezTo>
                    <a:pt x="79" y="40"/>
                    <a:pt x="78" y="42"/>
                    <a:pt x="77" y="45"/>
                  </a:cubicBezTo>
                  <a:cubicBezTo>
                    <a:pt x="229" y="153"/>
                    <a:pt x="379" y="261"/>
                    <a:pt x="535" y="364"/>
                  </a:cubicBezTo>
                  <a:cubicBezTo>
                    <a:pt x="553" y="376"/>
                    <a:pt x="573" y="391"/>
                    <a:pt x="593" y="402"/>
                  </a:cubicBezTo>
                  <a:cubicBezTo>
                    <a:pt x="594" y="403"/>
                    <a:pt x="599" y="408"/>
                    <a:pt x="601" y="404"/>
                  </a:cubicBezTo>
                  <a:cubicBezTo>
                    <a:pt x="598" y="398"/>
                    <a:pt x="591" y="396"/>
                    <a:pt x="586" y="393"/>
                  </a:cubicBezTo>
                  <a:close/>
                  <a:moveTo>
                    <a:pt x="75" y="42"/>
                  </a:moveTo>
                  <a:cubicBezTo>
                    <a:pt x="75" y="39"/>
                    <a:pt x="73" y="38"/>
                    <a:pt x="70" y="38"/>
                  </a:cubicBezTo>
                  <a:cubicBezTo>
                    <a:pt x="70" y="41"/>
                    <a:pt x="72" y="42"/>
                    <a:pt x="75" y="42"/>
                  </a:cubicBezTo>
                  <a:close/>
                  <a:moveTo>
                    <a:pt x="825" y="236"/>
                  </a:moveTo>
                  <a:cubicBezTo>
                    <a:pt x="824" y="235"/>
                    <a:pt x="826" y="232"/>
                    <a:pt x="824" y="231"/>
                  </a:cubicBezTo>
                  <a:cubicBezTo>
                    <a:pt x="822" y="232"/>
                    <a:pt x="822" y="236"/>
                    <a:pt x="825" y="236"/>
                  </a:cubicBezTo>
                  <a:close/>
                  <a:moveTo>
                    <a:pt x="819" y="257"/>
                  </a:moveTo>
                  <a:cubicBezTo>
                    <a:pt x="825" y="255"/>
                    <a:pt x="822" y="262"/>
                    <a:pt x="827" y="261"/>
                  </a:cubicBezTo>
                  <a:cubicBezTo>
                    <a:pt x="828" y="253"/>
                    <a:pt x="826" y="247"/>
                    <a:pt x="820" y="242"/>
                  </a:cubicBezTo>
                  <a:cubicBezTo>
                    <a:pt x="820" y="239"/>
                    <a:pt x="821" y="235"/>
                    <a:pt x="819" y="234"/>
                  </a:cubicBezTo>
                  <a:cubicBezTo>
                    <a:pt x="818" y="242"/>
                    <a:pt x="819" y="249"/>
                    <a:pt x="819" y="257"/>
                  </a:cubicBezTo>
                  <a:close/>
                  <a:moveTo>
                    <a:pt x="817" y="270"/>
                  </a:moveTo>
                  <a:cubicBezTo>
                    <a:pt x="818" y="270"/>
                    <a:pt x="818" y="270"/>
                    <a:pt x="819" y="270"/>
                  </a:cubicBezTo>
                  <a:cubicBezTo>
                    <a:pt x="820" y="268"/>
                    <a:pt x="819" y="267"/>
                    <a:pt x="819" y="266"/>
                  </a:cubicBezTo>
                  <a:cubicBezTo>
                    <a:pt x="818" y="266"/>
                    <a:pt x="817" y="266"/>
                    <a:pt x="817" y="266"/>
                  </a:cubicBezTo>
                  <a:cubicBezTo>
                    <a:pt x="817" y="268"/>
                    <a:pt x="817" y="269"/>
                    <a:pt x="817" y="270"/>
                  </a:cubicBezTo>
                  <a:close/>
                  <a:moveTo>
                    <a:pt x="826" y="270"/>
                  </a:moveTo>
                  <a:cubicBezTo>
                    <a:pt x="827" y="267"/>
                    <a:pt x="826" y="267"/>
                    <a:pt x="823" y="267"/>
                  </a:cubicBezTo>
                  <a:cubicBezTo>
                    <a:pt x="823" y="269"/>
                    <a:pt x="825" y="269"/>
                    <a:pt x="826" y="270"/>
                  </a:cubicBezTo>
                  <a:close/>
                  <a:moveTo>
                    <a:pt x="789" y="282"/>
                  </a:moveTo>
                  <a:cubicBezTo>
                    <a:pt x="797" y="280"/>
                    <a:pt x="805" y="280"/>
                    <a:pt x="809" y="275"/>
                  </a:cubicBezTo>
                  <a:cubicBezTo>
                    <a:pt x="801" y="275"/>
                    <a:pt x="795" y="279"/>
                    <a:pt x="789" y="282"/>
                  </a:cubicBezTo>
                  <a:close/>
                  <a:moveTo>
                    <a:pt x="830" y="281"/>
                  </a:moveTo>
                  <a:cubicBezTo>
                    <a:pt x="830" y="280"/>
                    <a:pt x="830" y="278"/>
                    <a:pt x="828" y="278"/>
                  </a:cubicBezTo>
                  <a:cubicBezTo>
                    <a:pt x="827" y="279"/>
                    <a:pt x="828" y="281"/>
                    <a:pt x="830" y="281"/>
                  </a:cubicBezTo>
                  <a:close/>
                  <a:moveTo>
                    <a:pt x="817" y="287"/>
                  </a:moveTo>
                  <a:cubicBezTo>
                    <a:pt x="818" y="284"/>
                    <a:pt x="820" y="282"/>
                    <a:pt x="821" y="278"/>
                  </a:cubicBezTo>
                  <a:cubicBezTo>
                    <a:pt x="816" y="277"/>
                    <a:pt x="813" y="285"/>
                    <a:pt x="817" y="287"/>
                  </a:cubicBezTo>
                  <a:close/>
                  <a:moveTo>
                    <a:pt x="836" y="279"/>
                  </a:moveTo>
                  <a:cubicBezTo>
                    <a:pt x="836" y="282"/>
                    <a:pt x="838" y="283"/>
                    <a:pt x="841" y="284"/>
                  </a:cubicBezTo>
                  <a:cubicBezTo>
                    <a:pt x="842" y="281"/>
                    <a:pt x="845" y="281"/>
                    <a:pt x="847" y="279"/>
                  </a:cubicBezTo>
                  <a:cubicBezTo>
                    <a:pt x="843" y="280"/>
                    <a:pt x="838" y="278"/>
                    <a:pt x="836" y="279"/>
                  </a:cubicBezTo>
                  <a:close/>
                  <a:moveTo>
                    <a:pt x="820" y="287"/>
                  </a:moveTo>
                  <a:cubicBezTo>
                    <a:pt x="822" y="288"/>
                    <a:pt x="825" y="287"/>
                    <a:pt x="828" y="287"/>
                  </a:cubicBezTo>
                  <a:cubicBezTo>
                    <a:pt x="828" y="283"/>
                    <a:pt x="826" y="282"/>
                    <a:pt x="824" y="280"/>
                  </a:cubicBezTo>
                  <a:cubicBezTo>
                    <a:pt x="822" y="282"/>
                    <a:pt x="821" y="285"/>
                    <a:pt x="820" y="287"/>
                  </a:cubicBezTo>
                  <a:close/>
                  <a:moveTo>
                    <a:pt x="842" y="285"/>
                  </a:moveTo>
                  <a:cubicBezTo>
                    <a:pt x="846" y="286"/>
                    <a:pt x="853" y="285"/>
                    <a:pt x="855" y="281"/>
                  </a:cubicBezTo>
                  <a:cubicBezTo>
                    <a:pt x="849" y="280"/>
                    <a:pt x="846" y="284"/>
                    <a:pt x="842" y="285"/>
                  </a:cubicBezTo>
                  <a:close/>
                  <a:moveTo>
                    <a:pt x="794" y="287"/>
                  </a:moveTo>
                  <a:cubicBezTo>
                    <a:pt x="798" y="287"/>
                    <a:pt x="801" y="288"/>
                    <a:pt x="807" y="288"/>
                  </a:cubicBezTo>
                  <a:cubicBezTo>
                    <a:pt x="807" y="285"/>
                    <a:pt x="807" y="283"/>
                    <a:pt x="808" y="281"/>
                  </a:cubicBezTo>
                  <a:cubicBezTo>
                    <a:pt x="802" y="283"/>
                    <a:pt x="797" y="282"/>
                    <a:pt x="794" y="287"/>
                  </a:cubicBezTo>
                  <a:close/>
                  <a:moveTo>
                    <a:pt x="861" y="285"/>
                  </a:moveTo>
                  <a:cubicBezTo>
                    <a:pt x="866" y="285"/>
                    <a:pt x="871" y="286"/>
                    <a:pt x="873" y="283"/>
                  </a:cubicBezTo>
                  <a:cubicBezTo>
                    <a:pt x="870" y="282"/>
                    <a:pt x="865" y="283"/>
                    <a:pt x="862" y="282"/>
                  </a:cubicBezTo>
                  <a:cubicBezTo>
                    <a:pt x="861" y="283"/>
                    <a:pt x="861" y="284"/>
                    <a:pt x="861" y="285"/>
                  </a:cubicBezTo>
                  <a:close/>
                  <a:moveTo>
                    <a:pt x="854" y="285"/>
                  </a:moveTo>
                  <a:cubicBezTo>
                    <a:pt x="855" y="287"/>
                    <a:pt x="860" y="284"/>
                    <a:pt x="856" y="283"/>
                  </a:cubicBezTo>
                  <a:cubicBezTo>
                    <a:pt x="856" y="285"/>
                    <a:pt x="854" y="284"/>
                    <a:pt x="854" y="285"/>
                  </a:cubicBezTo>
                  <a:close/>
                  <a:moveTo>
                    <a:pt x="787" y="288"/>
                  </a:moveTo>
                  <a:cubicBezTo>
                    <a:pt x="787" y="289"/>
                    <a:pt x="788" y="290"/>
                    <a:pt x="788" y="290"/>
                  </a:cubicBezTo>
                  <a:cubicBezTo>
                    <a:pt x="791" y="290"/>
                    <a:pt x="795" y="290"/>
                    <a:pt x="795" y="288"/>
                  </a:cubicBezTo>
                  <a:cubicBezTo>
                    <a:pt x="792" y="288"/>
                    <a:pt x="790" y="286"/>
                    <a:pt x="787" y="288"/>
                  </a:cubicBezTo>
                  <a:close/>
                  <a:moveTo>
                    <a:pt x="772" y="291"/>
                  </a:moveTo>
                  <a:cubicBezTo>
                    <a:pt x="775" y="293"/>
                    <a:pt x="783" y="293"/>
                    <a:pt x="783" y="289"/>
                  </a:cubicBezTo>
                  <a:cubicBezTo>
                    <a:pt x="779" y="289"/>
                    <a:pt x="775" y="290"/>
                    <a:pt x="772" y="291"/>
                  </a:cubicBezTo>
                  <a:close/>
                  <a:moveTo>
                    <a:pt x="854" y="290"/>
                  </a:moveTo>
                  <a:cubicBezTo>
                    <a:pt x="856" y="291"/>
                    <a:pt x="857" y="291"/>
                    <a:pt x="858" y="289"/>
                  </a:cubicBezTo>
                  <a:cubicBezTo>
                    <a:pt x="857" y="288"/>
                    <a:pt x="854" y="288"/>
                    <a:pt x="854" y="290"/>
                  </a:cubicBezTo>
                  <a:close/>
                  <a:moveTo>
                    <a:pt x="847" y="291"/>
                  </a:moveTo>
                  <a:cubicBezTo>
                    <a:pt x="847" y="292"/>
                    <a:pt x="850" y="291"/>
                    <a:pt x="851" y="291"/>
                  </a:cubicBezTo>
                  <a:cubicBezTo>
                    <a:pt x="853" y="289"/>
                    <a:pt x="847" y="288"/>
                    <a:pt x="847" y="291"/>
                  </a:cubicBezTo>
                  <a:close/>
                  <a:moveTo>
                    <a:pt x="902" y="291"/>
                  </a:moveTo>
                  <a:cubicBezTo>
                    <a:pt x="885" y="288"/>
                    <a:pt x="870" y="295"/>
                    <a:pt x="852" y="295"/>
                  </a:cubicBezTo>
                  <a:cubicBezTo>
                    <a:pt x="851" y="298"/>
                    <a:pt x="856" y="299"/>
                    <a:pt x="858" y="301"/>
                  </a:cubicBezTo>
                  <a:cubicBezTo>
                    <a:pt x="865" y="308"/>
                    <a:pt x="872" y="317"/>
                    <a:pt x="880" y="325"/>
                  </a:cubicBezTo>
                  <a:cubicBezTo>
                    <a:pt x="888" y="333"/>
                    <a:pt x="896" y="341"/>
                    <a:pt x="905" y="347"/>
                  </a:cubicBezTo>
                  <a:cubicBezTo>
                    <a:pt x="906" y="342"/>
                    <a:pt x="902" y="343"/>
                    <a:pt x="902" y="339"/>
                  </a:cubicBezTo>
                  <a:cubicBezTo>
                    <a:pt x="911" y="331"/>
                    <a:pt x="905" y="306"/>
                    <a:pt x="905" y="289"/>
                  </a:cubicBezTo>
                  <a:cubicBezTo>
                    <a:pt x="903" y="289"/>
                    <a:pt x="903" y="290"/>
                    <a:pt x="902" y="291"/>
                  </a:cubicBezTo>
                  <a:close/>
                  <a:moveTo>
                    <a:pt x="817" y="294"/>
                  </a:moveTo>
                  <a:cubicBezTo>
                    <a:pt x="820" y="294"/>
                    <a:pt x="826" y="296"/>
                    <a:pt x="826" y="292"/>
                  </a:cubicBezTo>
                  <a:cubicBezTo>
                    <a:pt x="823" y="292"/>
                    <a:pt x="817" y="290"/>
                    <a:pt x="817" y="294"/>
                  </a:cubicBezTo>
                  <a:close/>
                  <a:moveTo>
                    <a:pt x="823" y="300"/>
                  </a:moveTo>
                  <a:cubicBezTo>
                    <a:pt x="824" y="302"/>
                    <a:pt x="825" y="303"/>
                    <a:pt x="827" y="303"/>
                  </a:cubicBezTo>
                  <a:cubicBezTo>
                    <a:pt x="828" y="301"/>
                    <a:pt x="831" y="301"/>
                    <a:pt x="831" y="297"/>
                  </a:cubicBezTo>
                  <a:cubicBezTo>
                    <a:pt x="827" y="297"/>
                    <a:pt x="823" y="297"/>
                    <a:pt x="823" y="300"/>
                  </a:cubicBezTo>
                  <a:close/>
                  <a:moveTo>
                    <a:pt x="741" y="303"/>
                  </a:moveTo>
                  <a:cubicBezTo>
                    <a:pt x="741" y="315"/>
                    <a:pt x="741" y="334"/>
                    <a:pt x="741" y="350"/>
                  </a:cubicBezTo>
                  <a:cubicBezTo>
                    <a:pt x="742" y="351"/>
                    <a:pt x="746" y="353"/>
                    <a:pt x="744" y="356"/>
                  </a:cubicBezTo>
                  <a:cubicBezTo>
                    <a:pt x="742" y="355"/>
                    <a:pt x="744" y="352"/>
                    <a:pt x="741" y="352"/>
                  </a:cubicBezTo>
                  <a:cubicBezTo>
                    <a:pt x="739" y="356"/>
                    <a:pt x="745" y="358"/>
                    <a:pt x="742" y="363"/>
                  </a:cubicBezTo>
                  <a:cubicBezTo>
                    <a:pt x="740" y="362"/>
                    <a:pt x="739" y="360"/>
                    <a:pt x="737" y="362"/>
                  </a:cubicBezTo>
                  <a:cubicBezTo>
                    <a:pt x="748" y="376"/>
                    <a:pt x="757" y="392"/>
                    <a:pt x="769" y="405"/>
                  </a:cubicBezTo>
                  <a:cubicBezTo>
                    <a:pt x="781" y="401"/>
                    <a:pt x="791" y="397"/>
                    <a:pt x="802" y="393"/>
                  </a:cubicBezTo>
                  <a:cubicBezTo>
                    <a:pt x="801" y="382"/>
                    <a:pt x="805" y="368"/>
                    <a:pt x="801" y="360"/>
                  </a:cubicBezTo>
                  <a:cubicBezTo>
                    <a:pt x="805" y="353"/>
                    <a:pt x="803" y="341"/>
                    <a:pt x="804" y="332"/>
                  </a:cubicBezTo>
                  <a:cubicBezTo>
                    <a:pt x="804" y="321"/>
                    <a:pt x="807" y="310"/>
                    <a:pt x="806" y="299"/>
                  </a:cubicBezTo>
                  <a:cubicBezTo>
                    <a:pt x="786" y="299"/>
                    <a:pt x="770" y="299"/>
                    <a:pt x="752" y="302"/>
                  </a:cubicBezTo>
                  <a:cubicBezTo>
                    <a:pt x="764" y="311"/>
                    <a:pt x="773" y="323"/>
                    <a:pt x="786" y="332"/>
                  </a:cubicBezTo>
                  <a:cubicBezTo>
                    <a:pt x="789" y="339"/>
                    <a:pt x="800" y="342"/>
                    <a:pt x="801" y="349"/>
                  </a:cubicBezTo>
                  <a:cubicBezTo>
                    <a:pt x="800" y="346"/>
                    <a:pt x="796" y="346"/>
                    <a:pt x="796" y="343"/>
                  </a:cubicBezTo>
                  <a:cubicBezTo>
                    <a:pt x="779" y="332"/>
                    <a:pt x="767" y="315"/>
                    <a:pt x="751" y="304"/>
                  </a:cubicBezTo>
                  <a:cubicBezTo>
                    <a:pt x="751" y="303"/>
                    <a:pt x="751" y="302"/>
                    <a:pt x="751" y="301"/>
                  </a:cubicBezTo>
                  <a:cubicBezTo>
                    <a:pt x="749" y="302"/>
                    <a:pt x="744" y="300"/>
                    <a:pt x="744" y="302"/>
                  </a:cubicBezTo>
                  <a:cubicBezTo>
                    <a:pt x="750" y="307"/>
                    <a:pt x="755" y="313"/>
                    <a:pt x="760" y="317"/>
                  </a:cubicBezTo>
                  <a:cubicBezTo>
                    <a:pt x="756" y="318"/>
                    <a:pt x="756" y="315"/>
                    <a:pt x="753" y="314"/>
                  </a:cubicBezTo>
                  <a:cubicBezTo>
                    <a:pt x="753" y="315"/>
                    <a:pt x="753" y="317"/>
                    <a:pt x="752" y="317"/>
                  </a:cubicBezTo>
                  <a:cubicBezTo>
                    <a:pt x="750" y="313"/>
                    <a:pt x="744" y="312"/>
                    <a:pt x="743" y="307"/>
                  </a:cubicBezTo>
                  <a:cubicBezTo>
                    <a:pt x="747" y="308"/>
                    <a:pt x="749" y="314"/>
                    <a:pt x="752" y="313"/>
                  </a:cubicBezTo>
                  <a:cubicBezTo>
                    <a:pt x="748" y="310"/>
                    <a:pt x="746" y="305"/>
                    <a:pt x="741" y="303"/>
                  </a:cubicBezTo>
                  <a:close/>
                  <a:moveTo>
                    <a:pt x="823" y="306"/>
                  </a:moveTo>
                  <a:cubicBezTo>
                    <a:pt x="822" y="301"/>
                    <a:pt x="811" y="305"/>
                    <a:pt x="815" y="315"/>
                  </a:cubicBezTo>
                  <a:cubicBezTo>
                    <a:pt x="816" y="312"/>
                    <a:pt x="823" y="309"/>
                    <a:pt x="823" y="306"/>
                  </a:cubicBezTo>
                  <a:close/>
                  <a:moveTo>
                    <a:pt x="831" y="306"/>
                  </a:moveTo>
                  <a:cubicBezTo>
                    <a:pt x="831" y="306"/>
                    <a:pt x="831" y="305"/>
                    <a:pt x="831" y="304"/>
                  </a:cubicBezTo>
                  <a:cubicBezTo>
                    <a:pt x="828" y="303"/>
                    <a:pt x="828" y="307"/>
                    <a:pt x="831" y="306"/>
                  </a:cubicBezTo>
                  <a:close/>
                  <a:moveTo>
                    <a:pt x="817" y="319"/>
                  </a:moveTo>
                  <a:cubicBezTo>
                    <a:pt x="823" y="321"/>
                    <a:pt x="825" y="314"/>
                    <a:pt x="829" y="313"/>
                  </a:cubicBezTo>
                  <a:cubicBezTo>
                    <a:pt x="829" y="310"/>
                    <a:pt x="827" y="310"/>
                    <a:pt x="826" y="309"/>
                  </a:cubicBezTo>
                  <a:cubicBezTo>
                    <a:pt x="823" y="312"/>
                    <a:pt x="818" y="313"/>
                    <a:pt x="817" y="319"/>
                  </a:cubicBezTo>
                  <a:close/>
                  <a:moveTo>
                    <a:pt x="823" y="322"/>
                  </a:moveTo>
                  <a:cubicBezTo>
                    <a:pt x="825" y="323"/>
                    <a:pt x="826" y="325"/>
                    <a:pt x="829" y="324"/>
                  </a:cubicBezTo>
                  <a:cubicBezTo>
                    <a:pt x="832" y="322"/>
                    <a:pt x="831" y="318"/>
                    <a:pt x="832" y="315"/>
                  </a:cubicBezTo>
                  <a:cubicBezTo>
                    <a:pt x="828" y="316"/>
                    <a:pt x="825" y="319"/>
                    <a:pt x="823" y="322"/>
                  </a:cubicBezTo>
                  <a:close/>
                  <a:moveTo>
                    <a:pt x="814" y="337"/>
                  </a:moveTo>
                  <a:cubicBezTo>
                    <a:pt x="818" y="335"/>
                    <a:pt x="819" y="331"/>
                    <a:pt x="823" y="330"/>
                  </a:cubicBezTo>
                  <a:cubicBezTo>
                    <a:pt x="822" y="327"/>
                    <a:pt x="820" y="326"/>
                    <a:pt x="818" y="325"/>
                  </a:cubicBezTo>
                  <a:cubicBezTo>
                    <a:pt x="814" y="328"/>
                    <a:pt x="813" y="330"/>
                    <a:pt x="814" y="337"/>
                  </a:cubicBezTo>
                  <a:close/>
                  <a:moveTo>
                    <a:pt x="830" y="326"/>
                  </a:moveTo>
                  <a:cubicBezTo>
                    <a:pt x="830" y="327"/>
                    <a:pt x="830" y="328"/>
                    <a:pt x="830" y="328"/>
                  </a:cubicBezTo>
                  <a:cubicBezTo>
                    <a:pt x="832" y="329"/>
                    <a:pt x="833" y="327"/>
                    <a:pt x="832" y="326"/>
                  </a:cubicBezTo>
                  <a:cubicBezTo>
                    <a:pt x="831" y="326"/>
                    <a:pt x="830" y="326"/>
                    <a:pt x="830" y="326"/>
                  </a:cubicBezTo>
                  <a:close/>
                  <a:moveTo>
                    <a:pt x="838" y="332"/>
                  </a:moveTo>
                  <a:cubicBezTo>
                    <a:pt x="838" y="330"/>
                    <a:pt x="838" y="328"/>
                    <a:pt x="836" y="328"/>
                  </a:cubicBezTo>
                  <a:cubicBezTo>
                    <a:pt x="835" y="329"/>
                    <a:pt x="835" y="332"/>
                    <a:pt x="838" y="332"/>
                  </a:cubicBezTo>
                  <a:close/>
                  <a:moveTo>
                    <a:pt x="817" y="339"/>
                  </a:moveTo>
                  <a:cubicBezTo>
                    <a:pt x="818" y="339"/>
                    <a:pt x="818" y="342"/>
                    <a:pt x="820" y="341"/>
                  </a:cubicBezTo>
                  <a:cubicBezTo>
                    <a:pt x="823" y="338"/>
                    <a:pt x="828" y="336"/>
                    <a:pt x="830" y="332"/>
                  </a:cubicBezTo>
                  <a:cubicBezTo>
                    <a:pt x="824" y="329"/>
                    <a:pt x="820" y="335"/>
                    <a:pt x="817" y="339"/>
                  </a:cubicBezTo>
                  <a:close/>
                  <a:moveTo>
                    <a:pt x="823" y="343"/>
                  </a:moveTo>
                  <a:cubicBezTo>
                    <a:pt x="825" y="344"/>
                    <a:pt x="826" y="346"/>
                    <a:pt x="829" y="346"/>
                  </a:cubicBezTo>
                  <a:cubicBezTo>
                    <a:pt x="832" y="345"/>
                    <a:pt x="835" y="340"/>
                    <a:pt x="832" y="336"/>
                  </a:cubicBezTo>
                  <a:cubicBezTo>
                    <a:pt x="828" y="337"/>
                    <a:pt x="825" y="340"/>
                    <a:pt x="823" y="343"/>
                  </a:cubicBezTo>
                  <a:close/>
                  <a:moveTo>
                    <a:pt x="809" y="341"/>
                  </a:moveTo>
                  <a:cubicBezTo>
                    <a:pt x="810" y="340"/>
                    <a:pt x="810" y="337"/>
                    <a:pt x="808" y="337"/>
                  </a:cubicBezTo>
                  <a:cubicBezTo>
                    <a:pt x="808" y="339"/>
                    <a:pt x="807" y="340"/>
                    <a:pt x="809" y="341"/>
                  </a:cubicBezTo>
                  <a:close/>
                  <a:moveTo>
                    <a:pt x="814" y="357"/>
                  </a:moveTo>
                  <a:cubicBezTo>
                    <a:pt x="817" y="357"/>
                    <a:pt x="821" y="352"/>
                    <a:pt x="823" y="350"/>
                  </a:cubicBezTo>
                  <a:cubicBezTo>
                    <a:pt x="822" y="349"/>
                    <a:pt x="820" y="347"/>
                    <a:pt x="818" y="346"/>
                  </a:cubicBezTo>
                  <a:cubicBezTo>
                    <a:pt x="814" y="347"/>
                    <a:pt x="813" y="353"/>
                    <a:pt x="814" y="357"/>
                  </a:cubicBezTo>
                  <a:close/>
                  <a:moveTo>
                    <a:pt x="831" y="350"/>
                  </a:moveTo>
                  <a:cubicBezTo>
                    <a:pt x="834" y="351"/>
                    <a:pt x="835" y="346"/>
                    <a:pt x="832" y="346"/>
                  </a:cubicBezTo>
                  <a:cubicBezTo>
                    <a:pt x="832" y="348"/>
                    <a:pt x="830" y="348"/>
                    <a:pt x="831" y="350"/>
                  </a:cubicBezTo>
                  <a:close/>
                  <a:moveTo>
                    <a:pt x="839" y="354"/>
                  </a:moveTo>
                  <a:cubicBezTo>
                    <a:pt x="840" y="353"/>
                    <a:pt x="839" y="350"/>
                    <a:pt x="838" y="350"/>
                  </a:cubicBezTo>
                  <a:cubicBezTo>
                    <a:pt x="838" y="351"/>
                    <a:pt x="837" y="354"/>
                    <a:pt x="839" y="354"/>
                  </a:cubicBezTo>
                  <a:close/>
                  <a:moveTo>
                    <a:pt x="817" y="361"/>
                  </a:moveTo>
                  <a:cubicBezTo>
                    <a:pt x="819" y="361"/>
                    <a:pt x="819" y="362"/>
                    <a:pt x="821" y="362"/>
                  </a:cubicBezTo>
                  <a:cubicBezTo>
                    <a:pt x="823" y="359"/>
                    <a:pt x="828" y="358"/>
                    <a:pt x="830" y="354"/>
                  </a:cubicBezTo>
                  <a:cubicBezTo>
                    <a:pt x="826" y="350"/>
                    <a:pt x="819" y="356"/>
                    <a:pt x="817" y="361"/>
                  </a:cubicBezTo>
                  <a:close/>
                  <a:moveTo>
                    <a:pt x="824" y="364"/>
                  </a:moveTo>
                  <a:cubicBezTo>
                    <a:pt x="829" y="371"/>
                    <a:pt x="836" y="364"/>
                    <a:pt x="834" y="356"/>
                  </a:cubicBezTo>
                  <a:cubicBezTo>
                    <a:pt x="830" y="358"/>
                    <a:pt x="826" y="360"/>
                    <a:pt x="824" y="364"/>
                  </a:cubicBezTo>
                  <a:close/>
                  <a:moveTo>
                    <a:pt x="819" y="374"/>
                  </a:moveTo>
                  <a:cubicBezTo>
                    <a:pt x="818" y="371"/>
                    <a:pt x="821" y="373"/>
                    <a:pt x="823" y="372"/>
                  </a:cubicBezTo>
                  <a:cubicBezTo>
                    <a:pt x="823" y="370"/>
                    <a:pt x="820" y="368"/>
                    <a:pt x="818" y="367"/>
                  </a:cubicBezTo>
                  <a:cubicBezTo>
                    <a:pt x="815" y="370"/>
                    <a:pt x="811" y="372"/>
                    <a:pt x="813" y="378"/>
                  </a:cubicBezTo>
                  <a:cubicBezTo>
                    <a:pt x="815" y="378"/>
                    <a:pt x="817" y="378"/>
                    <a:pt x="817" y="375"/>
                  </a:cubicBezTo>
                  <a:cubicBezTo>
                    <a:pt x="818" y="373"/>
                    <a:pt x="815" y="374"/>
                    <a:pt x="815" y="371"/>
                  </a:cubicBezTo>
                  <a:cubicBezTo>
                    <a:pt x="818" y="372"/>
                    <a:pt x="818" y="368"/>
                    <a:pt x="819" y="371"/>
                  </a:cubicBezTo>
                  <a:cubicBezTo>
                    <a:pt x="819" y="371"/>
                    <a:pt x="816" y="375"/>
                    <a:pt x="819" y="374"/>
                  </a:cubicBezTo>
                  <a:close/>
                  <a:moveTo>
                    <a:pt x="841" y="377"/>
                  </a:moveTo>
                  <a:cubicBezTo>
                    <a:pt x="841" y="374"/>
                    <a:pt x="842" y="371"/>
                    <a:pt x="839" y="371"/>
                  </a:cubicBezTo>
                  <a:cubicBezTo>
                    <a:pt x="839" y="374"/>
                    <a:pt x="839" y="377"/>
                    <a:pt x="841" y="377"/>
                  </a:cubicBezTo>
                  <a:close/>
                  <a:moveTo>
                    <a:pt x="825" y="374"/>
                  </a:moveTo>
                  <a:cubicBezTo>
                    <a:pt x="825" y="375"/>
                    <a:pt x="825" y="375"/>
                    <a:pt x="825" y="376"/>
                  </a:cubicBezTo>
                  <a:cubicBezTo>
                    <a:pt x="826" y="377"/>
                    <a:pt x="830" y="378"/>
                    <a:pt x="830" y="376"/>
                  </a:cubicBezTo>
                  <a:cubicBezTo>
                    <a:pt x="829" y="375"/>
                    <a:pt x="827" y="372"/>
                    <a:pt x="825" y="374"/>
                  </a:cubicBezTo>
                  <a:close/>
                  <a:moveTo>
                    <a:pt x="817" y="381"/>
                  </a:moveTo>
                  <a:cubicBezTo>
                    <a:pt x="822" y="384"/>
                    <a:pt x="821" y="377"/>
                    <a:pt x="825" y="379"/>
                  </a:cubicBezTo>
                  <a:cubicBezTo>
                    <a:pt x="825" y="377"/>
                    <a:pt x="824" y="376"/>
                    <a:pt x="822" y="376"/>
                  </a:cubicBezTo>
                  <a:cubicBezTo>
                    <a:pt x="823" y="380"/>
                    <a:pt x="816" y="377"/>
                    <a:pt x="817" y="381"/>
                  </a:cubicBezTo>
                  <a:close/>
                  <a:moveTo>
                    <a:pt x="824" y="383"/>
                  </a:moveTo>
                  <a:cubicBezTo>
                    <a:pt x="827" y="389"/>
                    <a:pt x="838" y="386"/>
                    <a:pt x="834" y="378"/>
                  </a:cubicBezTo>
                  <a:cubicBezTo>
                    <a:pt x="829" y="378"/>
                    <a:pt x="830" y="383"/>
                    <a:pt x="824" y="383"/>
                  </a:cubicBezTo>
                  <a:close/>
                  <a:moveTo>
                    <a:pt x="809" y="382"/>
                  </a:moveTo>
                  <a:cubicBezTo>
                    <a:pt x="810" y="380"/>
                    <a:pt x="808" y="379"/>
                    <a:pt x="806" y="379"/>
                  </a:cubicBezTo>
                  <a:cubicBezTo>
                    <a:pt x="806" y="381"/>
                    <a:pt x="807" y="383"/>
                    <a:pt x="809" y="382"/>
                  </a:cubicBezTo>
                  <a:close/>
                  <a:moveTo>
                    <a:pt x="813" y="393"/>
                  </a:moveTo>
                  <a:cubicBezTo>
                    <a:pt x="815" y="391"/>
                    <a:pt x="821" y="392"/>
                    <a:pt x="823" y="390"/>
                  </a:cubicBezTo>
                  <a:cubicBezTo>
                    <a:pt x="819" y="389"/>
                    <a:pt x="812" y="385"/>
                    <a:pt x="813" y="393"/>
                  </a:cubicBezTo>
                  <a:close/>
                  <a:moveTo>
                    <a:pt x="817" y="401"/>
                  </a:moveTo>
                  <a:cubicBezTo>
                    <a:pt x="823" y="399"/>
                    <a:pt x="829" y="401"/>
                    <a:pt x="832" y="395"/>
                  </a:cubicBezTo>
                  <a:cubicBezTo>
                    <a:pt x="826" y="393"/>
                    <a:pt x="819" y="397"/>
                    <a:pt x="817" y="401"/>
                  </a:cubicBezTo>
                  <a:close/>
                  <a:moveTo>
                    <a:pt x="812" y="396"/>
                  </a:moveTo>
                  <a:cubicBezTo>
                    <a:pt x="812" y="397"/>
                    <a:pt x="812" y="398"/>
                    <a:pt x="812" y="399"/>
                  </a:cubicBezTo>
                  <a:cubicBezTo>
                    <a:pt x="815" y="399"/>
                    <a:pt x="816" y="397"/>
                    <a:pt x="817" y="396"/>
                  </a:cubicBezTo>
                  <a:cubicBezTo>
                    <a:pt x="816" y="395"/>
                    <a:pt x="813" y="395"/>
                    <a:pt x="812" y="396"/>
                  </a:cubicBezTo>
                  <a:close/>
                  <a:moveTo>
                    <a:pt x="865" y="400"/>
                  </a:moveTo>
                  <a:cubicBezTo>
                    <a:pt x="858" y="400"/>
                    <a:pt x="856" y="397"/>
                    <a:pt x="849" y="397"/>
                  </a:cubicBezTo>
                  <a:cubicBezTo>
                    <a:pt x="851" y="400"/>
                    <a:pt x="861" y="403"/>
                    <a:pt x="865" y="400"/>
                  </a:cubicBezTo>
                  <a:close/>
                  <a:moveTo>
                    <a:pt x="778" y="407"/>
                  </a:moveTo>
                  <a:cubicBezTo>
                    <a:pt x="784" y="411"/>
                    <a:pt x="793" y="404"/>
                    <a:pt x="801" y="403"/>
                  </a:cubicBezTo>
                  <a:cubicBezTo>
                    <a:pt x="801" y="400"/>
                    <a:pt x="802" y="400"/>
                    <a:pt x="801" y="397"/>
                  </a:cubicBezTo>
                  <a:cubicBezTo>
                    <a:pt x="792" y="400"/>
                    <a:pt x="784" y="402"/>
                    <a:pt x="778" y="407"/>
                  </a:cubicBezTo>
                  <a:close/>
                  <a:moveTo>
                    <a:pt x="823" y="404"/>
                  </a:moveTo>
                  <a:cubicBezTo>
                    <a:pt x="822" y="402"/>
                    <a:pt x="819" y="403"/>
                    <a:pt x="817" y="403"/>
                  </a:cubicBezTo>
                  <a:cubicBezTo>
                    <a:pt x="817" y="406"/>
                    <a:pt x="823" y="406"/>
                    <a:pt x="823" y="404"/>
                  </a:cubicBezTo>
                  <a:close/>
                  <a:moveTo>
                    <a:pt x="822" y="408"/>
                  </a:moveTo>
                  <a:cubicBezTo>
                    <a:pt x="825" y="409"/>
                    <a:pt x="826" y="412"/>
                    <a:pt x="830" y="412"/>
                  </a:cubicBezTo>
                  <a:cubicBezTo>
                    <a:pt x="832" y="410"/>
                    <a:pt x="835" y="408"/>
                    <a:pt x="836" y="404"/>
                  </a:cubicBezTo>
                  <a:cubicBezTo>
                    <a:pt x="831" y="400"/>
                    <a:pt x="825" y="405"/>
                    <a:pt x="822" y="408"/>
                  </a:cubicBezTo>
                  <a:close/>
                  <a:moveTo>
                    <a:pt x="846" y="404"/>
                  </a:moveTo>
                  <a:cubicBezTo>
                    <a:pt x="847" y="408"/>
                    <a:pt x="845" y="414"/>
                    <a:pt x="849" y="415"/>
                  </a:cubicBezTo>
                  <a:cubicBezTo>
                    <a:pt x="851" y="412"/>
                    <a:pt x="857" y="410"/>
                    <a:pt x="856" y="405"/>
                  </a:cubicBezTo>
                  <a:cubicBezTo>
                    <a:pt x="853" y="404"/>
                    <a:pt x="849" y="403"/>
                    <a:pt x="846" y="404"/>
                  </a:cubicBezTo>
                  <a:close/>
                  <a:moveTo>
                    <a:pt x="883" y="404"/>
                  </a:moveTo>
                  <a:cubicBezTo>
                    <a:pt x="881" y="404"/>
                    <a:pt x="877" y="403"/>
                    <a:pt x="875" y="404"/>
                  </a:cubicBezTo>
                  <a:cubicBezTo>
                    <a:pt x="877" y="405"/>
                    <a:pt x="882" y="406"/>
                    <a:pt x="883" y="404"/>
                  </a:cubicBezTo>
                  <a:close/>
                  <a:moveTo>
                    <a:pt x="812" y="412"/>
                  </a:moveTo>
                  <a:cubicBezTo>
                    <a:pt x="813" y="414"/>
                    <a:pt x="816" y="411"/>
                    <a:pt x="816" y="409"/>
                  </a:cubicBezTo>
                  <a:cubicBezTo>
                    <a:pt x="814" y="409"/>
                    <a:pt x="814" y="406"/>
                    <a:pt x="812" y="406"/>
                  </a:cubicBezTo>
                  <a:cubicBezTo>
                    <a:pt x="812" y="408"/>
                    <a:pt x="812" y="410"/>
                    <a:pt x="812" y="412"/>
                  </a:cubicBezTo>
                  <a:close/>
                  <a:moveTo>
                    <a:pt x="841" y="412"/>
                  </a:moveTo>
                  <a:cubicBezTo>
                    <a:pt x="841" y="410"/>
                    <a:pt x="842" y="407"/>
                    <a:pt x="840" y="406"/>
                  </a:cubicBezTo>
                  <a:cubicBezTo>
                    <a:pt x="840" y="408"/>
                    <a:pt x="839" y="411"/>
                    <a:pt x="841" y="412"/>
                  </a:cubicBezTo>
                  <a:close/>
                  <a:moveTo>
                    <a:pt x="864" y="410"/>
                  </a:moveTo>
                  <a:cubicBezTo>
                    <a:pt x="867" y="411"/>
                    <a:pt x="867" y="409"/>
                    <a:pt x="867" y="406"/>
                  </a:cubicBezTo>
                  <a:cubicBezTo>
                    <a:pt x="863" y="406"/>
                    <a:pt x="863" y="407"/>
                    <a:pt x="864" y="410"/>
                  </a:cubicBezTo>
                  <a:close/>
                  <a:moveTo>
                    <a:pt x="785" y="411"/>
                  </a:moveTo>
                  <a:cubicBezTo>
                    <a:pt x="789" y="416"/>
                    <a:pt x="794" y="420"/>
                    <a:pt x="800" y="423"/>
                  </a:cubicBezTo>
                  <a:cubicBezTo>
                    <a:pt x="799" y="417"/>
                    <a:pt x="801" y="411"/>
                    <a:pt x="800" y="407"/>
                  </a:cubicBezTo>
                  <a:cubicBezTo>
                    <a:pt x="795" y="408"/>
                    <a:pt x="791" y="410"/>
                    <a:pt x="785" y="411"/>
                  </a:cubicBezTo>
                  <a:close/>
                  <a:moveTo>
                    <a:pt x="871" y="409"/>
                  </a:moveTo>
                  <a:cubicBezTo>
                    <a:pt x="874" y="409"/>
                    <a:pt x="876" y="413"/>
                    <a:pt x="879" y="415"/>
                  </a:cubicBezTo>
                  <a:cubicBezTo>
                    <a:pt x="882" y="413"/>
                    <a:pt x="886" y="413"/>
                    <a:pt x="888" y="410"/>
                  </a:cubicBezTo>
                  <a:cubicBezTo>
                    <a:pt x="882" y="409"/>
                    <a:pt x="876" y="405"/>
                    <a:pt x="871" y="409"/>
                  </a:cubicBezTo>
                  <a:close/>
                  <a:moveTo>
                    <a:pt x="776" y="410"/>
                  </a:moveTo>
                  <a:cubicBezTo>
                    <a:pt x="776" y="408"/>
                    <a:pt x="775" y="407"/>
                    <a:pt x="772" y="408"/>
                  </a:cubicBezTo>
                  <a:cubicBezTo>
                    <a:pt x="772" y="410"/>
                    <a:pt x="774" y="410"/>
                    <a:pt x="776" y="410"/>
                  </a:cubicBezTo>
                  <a:close/>
                  <a:moveTo>
                    <a:pt x="751" y="416"/>
                  </a:moveTo>
                  <a:cubicBezTo>
                    <a:pt x="759" y="416"/>
                    <a:pt x="766" y="414"/>
                    <a:pt x="770" y="410"/>
                  </a:cubicBezTo>
                  <a:cubicBezTo>
                    <a:pt x="763" y="409"/>
                    <a:pt x="756" y="413"/>
                    <a:pt x="751" y="416"/>
                  </a:cubicBezTo>
                  <a:close/>
                  <a:moveTo>
                    <a:pt x="848" y="416"/>
                  </a:moveTo>
                  <a:cubicBezTo>
                    <a:pt x="849" y="418"/>
                    <a:pt x="847" y="418"/>
                    <a:pt x="847" y="420"/>
                  </a:cubicBezTo>
                  <a:cubicBezTo>
                    <a:pt x="857" y="421"/>
                    <a:pt x="861" y="417"/>
                    <a:pt x="863" y="412"/>
                  </a:cubicBezTo>
                  <a:cubicBezTo>
                    <a:pt x="860" y="414"/>
                    <a:pt x="859" y="411"/>
                    <a:pt x="857" y="410"/>
                  </a:cubicBezTo>
                  <a:cubicBezTo>
                    <a:pt x="854" y="413"/>
                    <a:pt x="853" y="416"/>
                    <a:pt x="848" y="416"/>
                  </a:cubicBezTo>
                  <a:close/>
                  <a:moveTo>
                    <a:pt x="881" y="418"/>
                  </a:moveTo>
                  <a:cubicBezTo>
                    <a:pt x="888" y="421"/>
                    <a:pt x="892" y="414"/>
                    <a:pt x="897" y="412"/>
                  </a:cubicBezTo>
                  <a:cubicBezTo>
                    <a:pt x="891" y="409"/>
                    <a:pt x="885" y="415"/>
                    <a:pt x="881" y="418"/>
                  </a:cubicBezTo>
                  <a:close/>
                  <a:moveTo>
                    <a:pt x="832" y="414"/>
                  </a:moveTo>
                  <a:cubicBezTo>
                    <a:pt x="833" y="417"/>
                    <a:pt x="834" y="418"/>
                    <a:pt x="837" y="419"/>
                  </a:cubicBezTo>
                  <a:cubicBezTo>
                    <a:pt x="838" y="412"/>
                    <a:pt x="835" y="409"/>
                    <a:pt x="832" y="414"/>
                  </a:cubicBezTo>
                  <a:close/>
                  <a:moveTo>
                    <a:pt x="871" y="418"/>
                  </a:moveTo>
                  <a:cubicBezTo>
                    <a:pt x="873" y="417"/>
                    <a:pt x="877" y="418"/>
                    <a:pt x="877" y="416"/>
                  </a:cubicBezTo>
                  <a:cubicBezTo>
                    <a:pt x="873" y="416"/>
                    <a:pt x="874" y="411"/>
                    <a:pt x="870" y="411"/>
                  </a:cubicBezTo>
                  <a:cubicBezTo>
                    <a:pt x="869" y="413"/>
                    <a:pt x="872" y="414"/>
                    <a:pt x="871" y="418"/>
                  </a:cubicBezTo>
                  <a:close/>
                  <a:moveTo>
                    <a:pt x="811" y="421"/>
                  </a:moveTo>
                  <a:cubicBezTo>
                    <a:pt x="819" y="426"/>
                    <a:pt x="821" y="417"/>
                    <a:pt x="820" y="412"/>
                  </a:cubicBezTo>
                  <a:cubicBezTo>
                    <a:pt x="816" y="412"/>
                    <a:pt x="812" y="417"/>
                    <a:pt x="811" y="421"/>
                  </a:cubicBezTo>
                  <a:close/>
                  <a:moveTo>
                    <a:pt x="891" y="418"/>
                  </a:moveTo>
                  <a:cubicBezTo>
                    <a:pt x="899" y="419"/>
                    <a:pt x="906" y="419"/>
                    <a:pt x="913" y="416"/>
                  </a:cubicBezTo>
                  <a:cubicBezTo>
                    <a:pt x="915" y="418"/>
                    <a:pt x="919" y="420"/>
                    <a:pt x="920" y="416"/>
                  </a:cubicBezTo>
                  <a:cubicBezTo>
                    <a:pt x="912" y="411"/>
                    <a:pt x="897" y="411"/>
                    <a:pt x="891" y="418"/>
                  </a:cubicBezTo>
                  <a:close/>
                  <a:moveTo>
                    <a:pt x="776" y="416"/>
                  </a:moveTo>
                  <a:cubicBezTo>
                    <a:pt x="780" y="417"/>
                    <a:pt x="779" y="413"/>
                    <a:pt x="776" y="413"/>
                  </a:cubicBezTo>
                  <a:cubicBezTo>
                    <a:pt x="776" y="414"/>
                    <a:pt x="776" y="415"/>
                    <a:pt x="776" y="416"/>
                  </a:cubicBezTo>
                  <a:close/>
                  <a:moveTo>
                    <a:pt x="781" y="414"/>
                  </a:moveTo>
                  <a:cubicBezTo>
                    <a:pt x="781" y="415"/>
                    <a:pt x="780" y="421"/>
                    <a:pt x="782" y="424"/>
                  </a:cubicBezTo>
                  <a:cubicBezTo>
                    <a:pt x="786" y="424"/>
                    <a:pt x="788" y="423"/>
                    <a:pt x="792" y="423"/>
                  </a:cubicBezTo>
                  <a:cubicBezTo>
                    <a:pt x="790" y="419"/>
                    <a:pt x="784" y="415"/>
                    <a:pt x="781" y="414"/>
                  </a:cubicBezTo>
                  <a:close/>
                  <a:moveTo>
                    <a:pt x="822" y="419"/>
                  </a:moveTo>
                  <a:cubicBezTo>
                    <a:pt x="823" y="418"/>
                    <a:pt x="825" y="418"/>
                    <a:pt x="825" y="416"/>
                  </a:cubicBezTo>
                  <a:cubicBezTo>
                    <a:pt x="824" y="414"/>
                    <a:pt x="823" y="413"/>
                    <a:pt x="821" y="414"/>
                  </a:cubicBezTo>
                  <a:cubicBezTo>
                    <a:pt x="822" y="416"/>
                    <a:pt x="820" y="418"/>
                    <a:pt x="822" y="419"/>
                  </a:cubicBezTo>
                  <a:close/>
                  <a:moveTo>
                    <a:pt x="759" y="420"/>
                  </a:moveTo>
                  <a:cubicBezTo>
                    <a:pt x="763" y="422"/>
                    <a:pt x="767" y="424"/>
                    <a:pt x="772" y="426"/>
                  </a:cubicBezTo>
                  <a:cubicBezTo>
                    <a:pt x="774" y="424"/>
                    <a:pt x="772" y="420"/>
                    <a:pt x="773" y="416"/>
                  </a:cubicBezTo>
                  <a:cubicBezTo>
                    <a:pt x="769" y="416"/>
                    <a:pt x="761" y="416"/>
                    <a:pt x="759" y="420"/>
                  </a:cubicBezTo>
                  <a:close/>
                  <a:moveTo>
                    <a:pt x="843" y="420"/>
                  </a:moveTo>
                  <a:cubicBezTo>
                    <a:pt x="844" y="419"/>
                    <a:pt x="844" y="416"/>
                    <a:pt x="842" y="416"/>
                  </a:cubicBezTo>
                  <a:cubicBezTo>
                    <a:pt x="842" y="418"/>
                    <a:pt x="840" y="419"/>
                    <a:pt x="843" y="420"/>
                  </a:cubicBezTo>
                  <a:close/>
                  <a:moveTo>
                    <a:pt x="862" y="419"/>
                  </a:moveTo>
                  <a:cubicBezTo>
                    <a:pt x="864" y="419"/>
                    <a:pt x="866" y="420"/>
                    <a:pt x="867" y="419"/>
                  </a:cubicBezTo>
                  <a:cubicBezTo>
                    <a:pt x="867" y="418"/>
                    <a:pt x="867" y="417"/>
                    <a:pt x="867" y="416"/>
                  </a:cubicBezTo>
                  <a:cubicBezTo>
                    <a:pt x="865" y="416"/>
                    <a:pt x="862" y="416"/>
                    <a:pt x="862" y="419"/>
                  </a:cubicBezTo>
                  <a:close/>
                  <a:moveTo>
                    <a:pt x="805" y="421"/>
                  </a:moveTo>
                  <a:cubicBezTo>
                    <a:pt x="806" y="420"/>
                    <a:pt x="807" y="417"/>
                    <a:pt x="805" y="416"/>
                  </a:cubicBezTo>
                  <a:cubicBezTo>
                    <a:pt x="804" y="418"/>
                    <a:pt x="803" y="420"/>
                    <a:pt x="805" y="421"/>
                  </a:cubicBezTo>
                  <a:close/>
                  <a:moveTo>
                    <a:pt x="744" y="419"/>
                  </a:moveTo>
                  <a:cubicBezTo>
                    <a:pt x="746" y="418"/>
                    <a:pt x="750" y="419"/>
                    <a:pt x="750" y="417"/>
                  </a:cubicBezTo>
                  <a:cubicBezTo>
                    <a:pt x="748" y="418"/>
                    <a:pt x="744" y="416"/>
                    <a:pt x="744" y="419"/>
                  </a:cubicBezTo>
                  <a:close/>
                  <a:moveTo>
                    <a:pt x="936" y="418"/>
                  </a:moveTo>
                  <a:cubicBezTo>
                    <a:pt x="935" y="417"/>
                    <a:pt x="933" y="417"/>
                    <a:pt x="931" y="417"/>
                  </a:cubicBezTo>
                  <a:cubicBezTo>
                    <a:pt x="930" y="420"/>
                    <a:pt x="936" y="419"/>
                    <a:pt x="936" y="418"/>
                  </a:cubicBezTo>
                  <a:close/>
                  <a:moveTo>
                    <a:pt x="775" y="425"/>
                  </a:moveTo>
                  <a:cubicBezTo>
                    <a:pt x="776" y="425"/>
                    <a:pt x="779" y="425"/>
                    <a:pt x="779" y="423"/>
                  </a:cubicBezTo>
                  <a:cubicBezTo>
                    <a:pt x="777" y="422"/>
                    <a:pt x="778" y="418"/>
                    <a:pt x="774" y="418"/>
                  </a:cubicBezTo>
                  <a:cubicBezTo>
                    <a:pt x="775" y="420"/>
                    <a:pt x="774" y="424"/>
                    <a:pt x="775" y="425"/>
                  </a:cubicBezTo>
                  <a:close/>
                  <a:moveTo>
                    <a:pt x="739" y="421"/>
                  </a:moveTo>
                  <a:cubicBezTo>
                    <a:pt x="741" y="421"/>
                    <a:pt x="744" y="419"/>
                    <a:pt x="743" y="419"/>
                  </a:cubicBezTo>
                  <a:cubicBezTo>
                    <a:pt x="743" y="421"/>
                    <a:pt x="738" y="418"/>
                    <a:pt x="739" y="421"/>
                  </a:cubicBezTo>
                  <a:close/>
                  <a:moveTo>
                    <a:pt x="825" y="422"/>
                  </a:moveTo>
                  <a:cubicBezTo>
                    <a:pt x="827" y="420"/>
                    <a:pt x="830" y="422"/>
                    <a:pt x="831" y="420"/>
                  </a:cubicBezTo>
                  <a:cubicBezTo>
                    <a:pt x="829" y="419"/>
                    <a:pt x="825" y="419"/>
                    <a:pt x="825" y="422"/>
                  </a:cubicBezTo>
                  <a:close/>
                  <a:moveTo>
                    <a:pt x="733" y="428"/>
                  </a:moveTo>
                  <a:cubicBezTo>
                    <a:pt x="743" y="429"/>
                    <a:pt x="754" y="428"/>
                    <a:pt x="762" y="425"/>
                  </a:cubicBezTo>
                  <a:cubicBezTo>
                    <a:pt x="754" y="419"/>
                    <a:pt x="740" y="422"/>
                    <a:pt x="733" y="428"/>
                  </a:cubicBezTo>
                  <a:close/>
                  <a:moveTo>
                    <a:pt x="854" y="427"/>
                  </a:moveTo>
                  <a:cubicBezTo>
                    <a:pt x="859" y="426"/>
                    <a:pt x="872" y="428"/>
                    <a:pt x="871" y="423"/>
                  </a:cubicBezTo>
                  <a:cubicBezTo>
                    <a:pt x="868" y="427"/>
                    <a:pt x="855" y="420"/>
                    <a:pt x="854" y="427"/>
                  </a:cubicBezTo>
                  <a:close/>
                  <a:moveTo>
                    <a:pt x="953" y="427"/>
                  </a:moveTo>
                  <a:cubicBezTo>
                    <a:pt x="953" y="425"/>
                    <a:pt x="953" y="424"/>
                    <a:pt x="952" y="423"/>
                  </a:cubicBezTo>
                  <a:cubicBezTo>
                    <a:pt x="950" y="423"/>
                    <a:pt x="950" y="425"/>
                    <a:pt x="948" y="424"/>
                  </a:cubicBezTo>
                  <a:cubicBezTo>
                    <a:pt x="950" y="428"/>
                    <a:pt x="951" y="434"/>
                    <a:pt x="955" y="436"/>
                  </a:cubicBezTo>
                  <a:cubicBezTo>
                    <a:pt x="954" y="431"/>
                    <a:pt x="956" y="425"/>
                    <a:pt x="954" y="423"/>
                  </a:cubicBezTo>
                  <a:cubicBezTo>
                    <a:pt x="953" y="424"/>
                    <a:pt x="955" y="426"/>
                    <a:pt x="953" y="427"/>
                  </a:cubicBezTo>
                  <a:close/>
                  <a:moveTo>
                    <a:pt x="817" y="429"/>
                  </a:moveTo>
                  <a:cubicBezTo>
                    <a:pt x="821" y="429"/>
                    <a:pt x="827" y="433"/>
                    <a:pt x="828" y="427"/>
                  </a:cubicBezTo>
                  <a:cubicBezTo>
                    <a:pt x="824" y="425"/>
                    <a:pt x="817" y="424"/>
                    <a:pt x="817" y="429"/>
                  </a:cubicBezTo>
                  <a:close/>
                  <a:moveTo>
                    <a:pt x="783" y="430"/>
                  </a:moveTo>
                  <a:cubicBezTo>
                    <a:pt x="789" y="430"/>
                    <a:pt x="796" y="432"/>
                    <a:pt x="799" y="428"/>
                  </a:cubicBezTo>
                  <a:cubicBezTo>
                    <a:pt x="794" y="429"/>
                    <a:pt x="785" y="428"/>
                    <a:pt x="783" y="430"/>
                  </a:cubicBezTo>
                  <a:close/>
                  <a:moveTo>
                    <a:pt x="757" y="432"/>
                  </a:moveTo>
                  <a:cubicBezTo>
                    <a:pt x="762" y="433"/>
                    <a:pt x="766" y="431"/>
                    <a:pt x="770" y="432"/>
                  </a:cubicBezTo>
                  <a:cubicBezTo>
                    <a:pt x="768" y="429"/>
                    <a:pt x="759" y="431"/>
                    <a:pt x="757" y="432"/>
                  </a:cubicBezTo>
                  <a:close/>
                  <a:moveTo>
                    <a:pt x="824" y="436"/>
                  </a:moveTo>
                  <a:cubicBezTo>
                    <a:pt x="827" y="436"/>
                    <a:pt x="829" y="438"/>
                    <a:pt x="832" y="440"/>
                  </a:cubicBezTo>
                  <a:cubicBezTo>
                    <a:pt x="833" y="437"/>
                    <a:pt x="837" y="437"/>
                    <a:pt x="838" y="434"/>
                  </a:cubicBezTo>
                  <a:cubicBezTo>
                    <a:pt x="834" y="432"/>
                    <a:pt x="826" y="432"/>
                    <a:pt x="824" y="436"/>
                  </a:cubicBezTo>
                  <a:close/>
                  <a:moveTo>
                    <a:pt x="791" y="436"/>
                  </a:moveTo>
                  <a:cubicBezTo>
                    <a:pt x="795" y="438"/>
                    <a:pt x="795" y="443"/>
                    <a:pt x="799" y="445"/>
                  </a:cubicBezTo>
                  <a:cubicBezTo>
                    <a:pt x="799" y="442"/>
                    <a:pt x="798" y="438"/>
                    <a:pt x="800" y="435"/>
                  </a:cubicBezTo>
                  <a:cubicBezTo>
                    <a:pt x="796" y="436"/>
                    <a:pt x="793" y="434"/>
                    <a:pt x="791" y="436"/>
                  </a:cubicBezTo>
                  <a:close/>
                  <a:moveTo>
                    <a:pt x="810" y="452"/>
                  </a:moveTo>
                  <a:cubicBezTo>
                    <a:pt x="817" y="451"/>
                    <a:pt x="821" y="447"/>
                    <a:pt x="825" y="443"/>
                  </a:cubicBezTo>
                  <a:cubicBezTo>
                    <a:pt x="817" y="437"/>
                    <a:pt x="809" y="440"/>
                    <a:pt x="810" y="452"/>
                  </a:cubicBezTo>
                  <a:close/>
                  <a:moveTo>
                    <a:pt x="835" y="442"/>
                  </a:moveTo>
                  <a:cubicBezTo>
                    <a:pt x="836" y="442"/>
                    <a:pt x="837" y="443"/>
                    <a:pt x="839" y="442"/>
                  </a:cubicBezTo>
                  <a:cubicBezTo>
                    <a:pt x="839" y="441"/>
                    <a:pt x="838" y="440"/>
                    <a:pt x="838" y="439"/>
                  </a:cubicBezTo>
                  <a:cubicBezTo>
                    <a:pt x="837" y="439"/>
                    <a:pt x="836" y="439"/>
                    <a:pt x="836" y="439"/>
                  </a:cubicBezTo>
                  <a:cubicBezTo>
                    <a:pt x="836" y="440"/>
                    <a:pt x="835" y="441"/>
                    <a:pt x="835" y="442"/>
                  </a:cubicBezTo>
                  <a:close/>
                  <a:moveTo>
                    <a:pt x="847" y="451"/>
                  </a:moveTo>
                  <a:cubicBezTo>
                    <a:pt x="845" y="448"/>
                    <a:pt x="846" y="443"/>
                    <a:pt x="844" y="441"/>
                  </a:cubicBezTo>
                  <a:cubicBezTo>
                    <a:pt x="843" y="444"/>
                    <a:pt x="842" y="451"/>
                    <a:pt x="847" y="451"/>
                  </a:cubicBezTo>
                  <a:close/>
                  <a:moveTo>
                    <a:pt x="815" y="453"/>
                  </a:moveTo>
                  <a:cubicBezTo>
                    <a:pt x="815" y="456"/>
                    <a:pt x="818" y="456"/>
                    <a:pt x="820" y="457"/>
                  </a:cubicBezTo>
                  <a:cubicBezTo>
                    <a:pt x="824" y="454"/>
                    <a:pt x="830" y="453"/>
                    <a:pt x="833" y="449"/>
                  </a:cubicBezTo>
                  <a:cubicBezTo>
                    <a:pt x="828" y="440"/>
                    <a:pt x="823" y="453"/>
                    <a:pt x="815" y="453"/>
                  </a:cubicBezTo>
                  <a:close/>
                  <a:moveTo>
                    <a:pt x="825" y="459"/>
                  </a:moveTo>
                  <a:cubicBezTo>
                    <a:pt x="830" y="465"/>
                    <a:pt x="843" y="462"/>
                    <a:pt x="839" y="451"/>
                  </a:cubicBezTo>
                  <a:cubicBezTo>
                    <a:pt x="833" y="452"/>
                    <a:pt x="828" y="454"/>
                    <a:pt x="825" y="459"/>
                  </a:cubicBezTo>
                  <a:close/>
                  <a:moveTo>
                    <a:pt x="804" y="464"/>
                  </a:moveTo>
                  <a:cubicBezTo>
                    <a:pt x="805" y="465"/>
                    <a:pt x="807" y="466"/>
                    <a:pt x="807" y="464"/>
                  </a:cubicBezTo>
                  <a:cubicBezTo>
                    <a:pt x="805" y="464"/>
                    <a:pt x="808" y="463"/>
                    <a:pt x="807" y="462"/>
                  </a:cubicBezTo>
                  <a:cubicBezTo>
                    <a:pt x="805" y="462"/>
                    <a:pt x="804" y="463"/>
                    <a:pt x="804" y="464"/>
                  </a:cubicBezTo>
                  <a:close/>
                  <a:moveTo>
                    <a:pt x="836" y="466"/>
                  </a:moveTo>
                  <a:cubicBezTo>
                    <a:pt x="838" y="466"/>
                    <a:pt x="840" y="466"/>
                    <a:pt x="840" y="464"/>
                  </a:cubicBezTo>
                  <a:cubicBezTo>
                    <a:pt x="839" y="464"/>
                    <a:pt x="839" y="462"/>
                    <a:pt x="837" y="462"/>
                  </a:cubicBezTo>
                  <a:cubicBezTo>
                    <a:pt x="837" y="463"/>
                    <a:pt x="836" y="464"/>
                    <a:pt x="836" y="466"/>
                  </a:cubicBezTo>
                  <a:close/>
                  <a:moveTo>
                    <a:pt x="814" y="464"/>
                  </a:moveTo>
                  <a:cubicBezTo>
                    <a:pt x="813" y="468"/>
                    <a:pt x="818" y="466"/>
                    <a:pt x="817" y="471"/>
                  </a:cubicBezTo>
                  <a:cubicBezTo>
                    <a:pt x="821" y="471"/>
                    <a:pt x="823" y="468"/>
                    <a:pt x="826" y="467"/>
                  </a:cubicBezTo>
                  <a:cubicBezTo>
                    <a:pt x="822" y="466"/>
                    <a:pt x="818" y="462"/>
                    <a:pt x="814" y="464"/>
                  </a:cubicBezTo>
                  <a:close/>
                  <a:moveTo>
                    <a:pt x="849" y="475"/>
                  </a:moveTo>
                  <a:cubicBezTo>
                    <a:pt x="849" y="471"/>
                    <a:pt x="848" y="467"/>
                    <a:pt x="845" y="466"/>
                  </a:cubicBezTo>
                  <a:cubicBezTo>
                    <a:pt x="844" y="469"/>
                    <a:pt x="845" y="475"/>
                    <a:pt x="849" y="475"/>
                  </a:cubicBezTo>
                  <a:close/>
                  <a:moveTo>
                    <a:pt x="810" y="476"/>
                  </a:moveTo>
                  <a:cubicBezTo>
                    <a:pt x="818" y="476"/>
                    <a:pt x="816" y="467"/>
                    <a:pt x="810" y="466"/>
                  </a:cubicBezTo>
                  <a:cubicBezTo>
                    <a:pt x="810" y="469"/>
                    <a:pt x="809" y="473"/>
                    <a:pt x="810" y="476"/>
                  </a:cubicBezTo>
                  <a:close/>
                  <a:moveTo>
                    <a:pt x="821" y="473"/>
                  </a:moveTo>
                  <a:cubicBezTo>
                    <a:pt x="821" y="474"/>
                    <a:pt x="821" y="475"/>
                    <a:pt x="821" y="477"/>
                  </a:cubicBezTo>
                  <a:cubicBezTo>
                    <a:pt x="823" y="476"/>
                    <a:pt x="824" y="478"/>
                    <a:pt x="826" y="478"/>
                  </a:cubicBezTo>
                  <a:cubicBezTo>
                    <a:pt x="827" y="475"/>
                    <a:pt x="833" y="475"/>
                    <a:pt x="834" y="471"/>
                  </a:cubicBezTo>
                  <a:cubicBezTo>
                    <a:pt x="830" y="467"/>
                    <a:pt x="825" y="471"/>
                    <a:pt x="821" y="473"/>
                  </a:cubicBezTo>
                  <a:close/>
                  <a:moveTo>
                    <a:pt x="825" y="481"/>
                  </a:moveTo>
                  <a:cubicBezTo>
                    <a:pt x="829" y="485"/>
                    <a:pt x="836" y="487"/>
                    <a:pt x="841" y="483"/>
                  </a:cubicBezTo>
                  <a:cubicBezTo>
                    <a:pt x="841" y="480"/>
                    <a:pt x="840" y="478"/>
                    <a:pt x="841" y="475"/>
                  </a:cubicBezTo>
                  <a:cubicBezTo>
                    <a:pt x="834" y="473"/>
                    <a:pt x="830" y="480"/>
                    <a:pt x="825" y="481"/>
                  </a:cubicBezTo>
                  <a:close/>
                  <a:moveTo>
                    <a:pt x="802" y="481"/>
                  </a:moveTo>
                  <a:cubicBezTo>
                    <a:pt x="803" y="483"/>
                    <a:pt x="806" y="480"/>
                    <a:pt x="806" y="477"/>
                  </a:cubicBezTo>
                  <a:cubicBezTo>
                    <a:pt x="804" y="477"/>
                    <a:pt x="803" y="475"/>
                    <a:pt x="801" y="475"/>
                  </a:cubicBezTo>
                  <a:cubicBezTo>
                    <a:pt x="801" y="478"/>
                    <a:pt x="802" y="479"/>
                    <a:pt x="802" y="481"/>
                  </a:cubicBezTo>
                  <a:close/>
                  <a:moveTo>
                    <a:pt x="815" y="477"/>
                  </a:moveTo>
                  <a:cubicBezTo>
                    <a:pt x="816" y="479"/>
                    <a:pt x="818" y="480"/>
                    <a:pt x="821" y="479"/>
                  </a:cubicBezTo>
                  <a:cubicBezTo>
                    <a:pt x="821" y="475"/>
                    <a:pt x="819" y="475"/>
                    <a:pt x="815" y="477"/>
                  </a:cubicBezTo>
                  <a:close/>
                  <a:moveTo>
                    <a:pt x="813" y="481"/>
                  </a:moveTo>
                  <a:cubicBezTo>
                    <a:pt x="813" y="482"/>
                    <a:pt x="814" y="482"/>
                    <a:pt x="815" y="482"/>
                  </a:cubicBezTo>
                  <a:cubicBezTo>
                    <a:pt x="815" y="481"/>
                    <a:pt x="815" y="481"/>
                    <a:pt x="815" y="480"/>
                  </a:cubicBezTo>
                  <a:cubicBezTo>
                    <a:pt x="814" y="480"/>
                    <a:pt x="813" y="480"/>
                    <a:pt x="813" y="481"/>
                  </a:cubicBezTo>
                  <a:close/>
                  <a:moveTo>
                    <a:pt x="812" y="486"/>
                  </a:moveTo>
                  <a:cubicBezTo>
                    <a:pt x="813" y="485"/>
                    <a:pt x="812" y="484"/>
                    <a:pt x="810" y="483"/>
                  </a:cubicBezTo>
                  <a:cubicBezTo>
                    <a:pt x="809" y="484"/>
                    <a:pt x="810" y="487"/>
                    <a:pt x="812" y="486"/>
                  </a:cubicBezTo>
                  <a:close/>
                  <a:moveTo>
                    <a:pt x="805" y="490"/>
                  </a:moveTo>
                  <a:cubicBezTo>
                    <a:pt x="806" y="489"/>
                    <a:pt x="807" y="484"/>
                    <a:pt x="804" y="484"/>
                  </a:cubicBezTo>
                  <a:cubicBezTo>
                    <a:pt x="805" y="487"/>
                    <a:pt x="802" y="489"/>
                    <a:pt x="805" y="490"/>
                  </a:cubicBezTo>
                  <a:close/>
                  <a:moveTo>
                    <a:pt x="808" y="500"/>
                  </a:moveTo>
                  <a:cubicBezTo>
                    <a:pt x="814" y="500"/>
                    <a:pt x="820" y="493"/>
                    <a:pt x="826" y="491"/>
                  </a:cubicBezTo>
                  <a:cubicBezTo>
                    <a:pt x="818" y="483"/>
                    <a:pt x="806" y="487"/>
                    <a:pt x="808" y="500"/>
                  </a:cubicBezTo>
                  <a:close/>
                  <a:moveTo>
                    <a:pt x="838" y="487"/>
                  </a:moveTo>
                  <a:cubicBezTo>
                    <a:pt x="838" y="489"/>
                    <a:pt x="839" y="490"/>
                    <a:pt x="841" y="490"/>
                  </a:cubicBezTo>
                  <a:cubicBezTo>
                    <a:pt x="841" y="489"/>
                    <a:pt x="841" y="488"/>
                    <a:pt x="841" y="487"/>
                  </a:cubicBezTo>
                  <a:cubicBezTo>
                    <a:pt x="840" y="486"/>
                    <a:pt x="839" y="486"/>
                    <a:pt x="838" y="487"/>
                  </a:cubicBezTo>
                  <a:close/>
                  <a:moveTo>
                    <a:pt x="850" y="498"/>
                  </a:moveTo>
                  <a:cubicBezTo>
                    <a:pt x="850" y="496"/>
                    <a:pt x="849" y="490"/>
                    <a:pt x="847" y="488"/>
                  </a:cubicBezTo>
                  <a:cubicBezTo>
                    <a:pt x="846" y="490"/>
                    <a:pt x="846" y="497"/>
                    <a:pt x="850" y="498"/>
                  </a:cubicBezTo>
                  <a:close/>
                  <a:moveTo>
                    <a:pt x="697" y="493"/>
                  </a:moveTo>
                  <a:cubicBezTo>
                    <a:pt x="700" y="494"/>
                    <a:pt x="701" y="489"/>
                    <a:pt x="698" y="489"/>
                  </a:cubicBezTo>
                  <a:cubicBezTo>
                    <a:pt x="698" y="491"/>
                    <a:pt x="697" y="491"/>
                    <a:pt x="697" y="493"/>
                  </a:cubicBezTo>
                  <a:close/>
                  <a:moveTo>
                    <a:pt x="829" y="492"/>
                  </a:moveTo>
                  <a:cubicBezTo>
                    <a:pt x="823" y="497"/>
                    <a:pt x="814" y="500"/>
                    <a:pt x="810" y="504"/>
                  </a:cubicBezTo>
                  <a:cubicBezTo>
                    <a:pt x="818" y="519"/>
                    <a:pt x="830" y="505"/>
                    <a:pt x="836" y="497"/>
                  </a:cubicBezTo>
                  <a:cubicBezTo>
                    <a:pt x="834" y="495"/>
                    <a:pt x="832" y="493"/>
                    <a:pt x="829" y="492"/>
                  </a:cubicBezTo>
                  <a:close/>
                  <a:moveTo>
                    <a:pt x="803" y="498"/>
                  </a:moveTo>
                  <a:cubicBezTo>
                    <a:pt x="805" y="496"/>
                    <a:pt x="802" y="494"/>
                    <a:pt x="800" y="494"/>
                  </a:cubicBezTo>
                  <a:cubicBezTo>
                    <a:pt x="800" y="496"/>
                    <a:pt x="801" y="498"/>
                    <a:pt x="803" y="498"/>
                  </a:cubicBezTo>
                  <a:close/>
                  <a:moveTo>
                    <a:pt x="826" y="514"/>
                  </a:moveTo>
                  <a:cubicBezTo>
                    <a:pt x="835" y="512"/>
                    <a:pt x="848" y="512"/>
                    <a:pt x="840" y="501"/>
                  </a:cubicBezTo>
                  <a:cubicBezTo>
                    <a:pt x="840" y="500"/>
                    <a:pt x="843" y="498"/>
                    <a:pt x="840" y="498"/>
                  </a:cubicBezTo>
                  <a:cubicBezTo>
                    <a:pt x="836" y="504"/>
                    <a:pt x="827" y="507"/>
                    <a:pt x="826" y="514"/>
                  </a:cubicBezTo>
                  <a:close/>
                  <a:moveTo>
                    <a:pt x="800" y="509"/>
                  </a:moveTo>
                  <a:cubicBezTo>
                    <a:pt x="804" y="509"/>
                    <a:pt x="804" y="501"/>
                    <a:pt x="800" y="501"/>
                  </a:cubicBezTo>
                  <a:cubicBezTo>
                    <a:pt x="800" y="503"/>
                    <a:pt x="800" y="506"/>
                    <a:pt x="800" y="509"/>
                  </a:cubicBezTo>
                  <a:close/>
                  <a:moveTo>
                    <a:pt x="808" y="514"/>
                  </a:moveTo>
                  <a:cubicBezTo>
                    <a:pt x="812" y="513"/>
                    <a:pt x="813" y="514"/>
                    <a:pt x="815" y="514"/>
                  </a:cubicBezTo>
                  <a:cubicBezTo>
                    <a:pt x="814" y="511"/>
                    <a:pt x="811" y="509"/>
                    <a:pt x="808" y="508"/>
                  </a:cubicBezTo>
                  <a:cubicBezTo>
                    <a:pt x="807" y="509"/>
                    <a:pt x="809" y="511"/>
                    <a:pt x="808" y="514"/>
                  </a:cubicBezTo>
                  <a:close/>
                  <a:moveTo>
                    <a:pt x="835" y="521"/>
                  </a:moveTo>
                  <a:cubicBezTo>
                    <a:pt x="838" y="523"/>
                    <a:pt x="840" y="520"/>
                    <a:pt x="843" y="522"/>
                  </a:cubicBezTo>
                  <a:cubicBezTo>
                    <a:pt x="843" y="519"/>
                    <a:pt x="843" y="517"/>
                    <a:pt x="843" y="515"/>
                  </a:cubicBezTo>
                  <a:cubicBezTo>
                    <a:pt x="839" y="516"/>
                    <a:pt x="837" y="519"/>
                    <a:pt x="835" y="521"/>
                  </a:cubicBezTo>
                  <a:close/>
                  <a:moveTo>
                    <a:pt x="808" y="516"/>
                  </a:moveTo>
                  <a:cubicBezTo>
                    <a:pt x="809" y="519"/>
                    <a:pt x="807" y="523"/>
                    <a:pt x="809" y="523"/>
                  </a:cubicBezTo>
                  <a:cubicBezTo>
                    <a:pt x="810" y="520"/>
                    <a:pt x="816" y="518"/>
                    <a:pt x="815" y="516"/>
                  </a:cubicBezTo>
                  <a:cubicBezTo>
                    <a:pt x="813" y="517"/>
                    <a:pt x="810" y="515"/>
                    <a:pt x="808" y="516"/>
                  </a:cubicBezTo>
                  <a:close/>
                  <a:moveTo>
                    <a:pt x="831" y="520"/>
                  </a:moveTo>
                  <a:cubicBezTo>
                    <a:pt x="832" y="519"/>
                    <a:pt x="835" y="519"/>
                    <a:pt x="835" y="516"/>
                  </a:cubicBezTo>
                  <a:cubicBezTo>
                    <a:pt x="831" y="516"/>
                    <a:pt x="829" y="516"/>
                    <a:pt x="825" y="516"/>
                  </a:cubicBezTo>
                  <a:cubicBezTo>
                    <a:pt x="826" y="518"/>
                    <a:pt x="828" y="520"/>
                    <a:pt x="831" y="520"/>
                  </a:cubicBezTo>
                  <a:close/>
                  <a:moveTo>
                    <a:pt x="802" y="521"/>
                  </a:moveTo>
                  <a:cubicBezTo>
                    <a:pt x="805" y="521"/>
                    <a:pt x="805" y="516"/>
                    <a:pt x="803" y="516"/>
                  </a:cubicBezTo>
                  <a:cubicBezTo>
                    <a:pt x="802" y="517"/>
                    <a:pt x="802" y="519"/>
                    <a:pt x="802" y="521"/>
                  </a:cubicBezTo>
                  <a:close/>
                  <a:moveTo>
                    <a:pt x="848" y="520"/>
                  </a:moveTo>
                  <a:cubicBezTo>
                    <a:pt x="849" y="519"/>
                    <a:pt x="849" y="516"/>
                    <a:pt x="847" y="516"/>
                  </a:cubicBezTo>
                  <a:cubicBezTo>
                    <a:pt x="846" y="517"/>
                    <a:pt x="847" y="519"/>
                    <a:pt x="848" y="520"/>
                  </a:cubicBezTo>
                  <a:close/>
                  <a:moveTo>
                    <a:pt x="815" y="522"/>
                  </a:moveTo>
                  <a:cubicBezTo>
                    <a:pt x="818" y="522"/>
                    <a:pt x="821" y="521"/>
                    <a:pt x="825" y="522"/>
                  </a:cubicBezTo>
                  <a:cubicBezTo>
                    <a:pt x="824" y="517"/>
                    <a:pt x="815" y="516"/>
                    <a:pt x="815" y="522"/>
                  </a:cubicBezTo>
                  <a:close/>
                  <a:moveTo>
                    <a:pt x="779" y="526"/>
                  </a:moveTo>
                  <a:cubicBezTo>
                    <a:pt x="784" y="528"/>
                    <a:pt x="790" y="528"/>
                    <a:pt x="793" y="524"/>
                  </a:cubicBezTo>
                  <a:cubicBezTo>
                    <a:pt x="793" y="524"/>
                    <a:pt x="792" y="523"/>
                    <a:pt x="791" y="522"/>
                  </a:cubicBezTo>
                  <a:cubicBezTo>
                    <a:pt x="793" y="522"/>
                    <a:pt x="794" y="521"/>
                    <a:pt x="793" y="519"/>
                  </a:cubicBezTo>
                  <a:cubicBezTo>
                    <a:pt x="793" y="519"/>
                    <a:pt x="792" y="518"/>
                    <a:pt x="791" y="518"/>
                  </a:cubicBezTo>
                  <a:cubicBezTo>
                    <a:pt x="789" y="523"/>
                    <a:pt x="781" y="520"/>
                    <a:pt x="779" y="526"/>
                  </a:cubicBezTo>
                  <a:close/>
                  <a:moveTo>
                    <a:pt x="867" y="520"/>
                  </a:moveTo>
                  <a:cubicBezTo>
                    <a:pt x="863" y="519"/>
                    <a:pt x="861" y="519"/>
                    <a:pt x="856" y="518"/>
                  </a:cubicBezTo>
                  <a:cubicBezTo>
                    <a:pt x="856" y="522"/>
                    <a:pt x="865" y="522"/>
                    <a:pt x="867" y="520"/>
                  </a:cubicBezTo>
                  <a:close/>
                  <a:moveTo>
                    <a:pt x="884" y="524"/>
                  </a:moveTo>
                  <a:cubicBezTo>
                    <a:pt x="879" y="524"/>
                    <a:pt x="876" y="522"/>
                    <a:pt x="871" y="522"/>
                  </a:cubicBezTo>
                  <a:cubicBezTo>
                    <a:pt x="873" y="525"/>
                    <a:pt x="879" y="526"/>
                    <a:pt x="884" y="524"/>
                  </a:cubicBezTo>
                  <a:close/>
                  <a:moveTo>
                    <a:pt x="844" y="532"/>
                  </a:moveTo>
                  <a:cubicBezTo>
                    <a:pt x="844" y="529"/>
                    <a:pt x="844" y="526"/>
                    <a:pt x="843" y="524"/>
                  </a:cubicBezTo>
                  <a:cubicBezTo>
                    <a:pt x="840" y="524"/>
                    <a:pt x="837" y="524"/>
                    <a:pt x="834" y="524"/>
                  </a:cubicBezTo>
                  <a:cubicBezTo>
                    <a:pt x="837" y="527"/>
                    <a:pt x="840" y="530"/>
                    <a:pt x="844" y="532"/>
                  </a:cubicBezTo>
                  <a:close/>
                  <a:moveTo>
                    <a:pt x="852" y="533"/>
                  </a:moveTo>
                  <a:cubicBezTo>
                    <a:pt x="852" y="530"/>
                    <a:pt x="853" y="525"/>
                    <a:pt x="850" y="524"/>
                  </a:cubicBezTo>
                  <a:cubicBezTo>
                    <a:pt x="850" y="527"/>
                    <a:pt x="847" y="535"/>
                    <a:pt x="852" y="533"/>
                  </a:cubicBezTo>
                  <a:close/>
                  <a:moveTo>
                    <a:pt x="808" y="526"/>
                  </a:moveTo>
                  <a:cubicBezTo>
                    <a:pt x="808" y="527"/>
                    <a:pt x="809" y="528"/>
                    <a:pt x="808" y="529"/>
                  </a:cubicBezTo>
                  <a:cubicBezTo>
                    <a:pt x="808" y="531"/>
                    <a:pt x="809" y="532"/>
                    <a:pt x="810" y="533"/>
                  </a:cubicBezTo>
                  <a:cubicBezTo>
                    <a:pt x="809" y="533"/>
                    <a:pt x="807" y="534"/>
                    <a:pt x="808" y="535"/>
                  </a:cubicBezTo>
                  <a:cubicBezTo>
                    <a:pt x="816" y="535"/>
                    <a:pt x="822" y="532"/>
                    <a:pt x="825" y="525"/>
                  </a:cubicBezTo>
                  <a:cubicBezTo>
                    <a:pt x="820" y="527"/>
                    <a:pt x="813" y="525"/>
                    <a:pt x="808" y="526"/>
                  </a:cubicBezTo>
                  <a:close/>
                  <a:moveTo>
                    <a:pt x="856" y="526"/>
                  </a:moveTo>
                  <a:cubicBezTo>
                    <a:pt x="859" y="527"/>
                    <a:pt x="857" y="533"/>
                    <a:pt x="858" y="535"/>
                  </a:cubicBezTo>
                  <a:cubicBezTo>
                    <a:pt x="863" y="534"/>
                    <a:pt x="864" y="534"/>
                    <a:pt x="868" y="533"/>
                  </a:cubicBezTo>
                  <a:cubicBezTo>
                    <a:pt x="869" y="530"/>
                    <a:pt x="866" y="529"/>
                    <a:pt x="868" y="526"/>
                  </a:cubicBezTo>
                  <a:cubicBezTo>
                    <a:pt x="865" y="527"/>
                    <a:pt x="865" y="525"/>
                    <a:pt x="862" y="526"/>
                  </a:cubicBezTo>
                  <a:cubicBezTo>
                    <a:pt x="861" y="528"/>
                    <a:pt x="865" y="528"/>
                    <a:pt x="865" y="531"/>
                  </a:cubicBezTo>
                  <a:cubicBezTo>
                    <a:pt x="864" y="531"/>
                    <a:pt x="864" y="532"/>
                    <a:pt x="864" y="532"/>
                  </a:cubicBezTo>
                  <a:cubicBezTo>
                    <a:pt x="863" y="529"/>
                    <a:pt x="858" y="530"/>
                    <a:pt x="859" y="525"/>
                  </a:cubicBezTo>
                  <a:cubicBezTo>
                    <a:pt x="857" y="525"/>
                    <a:pt x="856" y="525"/>
                    <a:pt x="856" y="526"/>
                  </a:cubicBezTo>
                  <a:close/>
                  <a:moveTo>
                    <a:pt x="831" y="526"/>
                  </a:moveTo>
                  <a:cubicBezTo>
                    <a:pt x="826" y="528"/>
                    <a:pt x="823" y="532"/>
                    <a:pt x="821" y="535"/>
                  </a:cubicBezTo>
                  <a:cubicBezTo>
                    <a:pt x="829" y="535"/>
                    <a:pt x="834" y="535"/>
                    <a:pt x="841" y="535"/>
                  </a:cubicBezTo>
                  <a:cubicBezTo>
                    <a:pt x="839" y="531"/>
                    <a:pt x="835" y="529"/>
                    <a:pt x="831" y="526"/>
                  </a:cubicBezTo>
                  <a:close/>
                  <a:moveTo>
                    <a:pt x="744" y="539"/>
                  </a:moveTo>
                  <a:cubicBezTo>
                    <a:pt x="757" y="535"/>
                    <a:pt x="770" y="532"/>
                    <a:pt x="782" y="528"/>
                  </a:cubicBezTo>
                  <a:cubicBezTo>
                    <a:pt x="766" y="525"/>
                    <a:pt x="756" y="535"/>
                    <a:pt x="744" y="539"/>
                  </a:cubicBezTo>
                  <a:close/>
                  <a:moveTo>
                    <a:pt x="798" y="531"/>
                  </a:moveTo>
                  <a:cubicBezTo>
                    <a:pt x="801" y="532"/>
                    <a:pt x="801" y="527"/>
                    <a:pt x="798" y="528"/>
                  </a:cubicBezTo>
                  <a:cubicBezTo>
                    <a:pt x="797" y="529"/>
                    <a:pt x="798" y="530"/>
                    <a:pt x="798" y="531"/>
                  </a:cubicBezTo>
                  <a:close/>
                  <a:moveTo>
                    <a:pt x="871" y="533"/>
                  </a:moveTo>
                  <a:cubicBezTo>
                    <a:pt x="875" y="532"/>
                    <a:pt x="879" y="531"/>
                    <a:pt x="881" y="528"/>
                  </a:cubicBezTo>
                  <a:cubicBezTo>
                    <a:pt x="875" y="528"/>
                    <a:pt x="873" y="528"/>
                    <a:pt x="871" y="533"/>
                  </a:cubicBezTo>
                  <a:close/>
                  <a:moveTo>
                    <a:pt x="787" y="531"/>
                  </a:moveTo>
                  <a:cubicBezTo>
                    <a:pt x="787" y="534"/>
                    <a:pt x="790" y="535"/>
                    <a:pt x="792" y="536"/>
                  </a:cubicBezTo>
                  <a:cubicBezTo>
                    <a:pt x="791" y="532"/>
                    <a:pt x="791" y="533"/>
                    <a:pt x="793" y="530"/>
                  </a:cubicBezTo>
                  <a:cubicBezTo>
                    <a:pt x="790" y="530"/>
                    <a:pt x="790" y="532"/>
                    <a:pt x="787" y="531"/>
                  </a:cubicBezTo>
                  <a:close/>
                  <a:moveTo>
                    <a:pt x="878" y="535"/>
                  </a:moveTo>
                  <a:cubicBezTo>
                    <a:pt x="884" y="535"/>
                    <a:pt x="890" y="535"/>
                    <a:pt x="891" y="531"/>
                  </a:cubicBezTo>
                  <a:cubicBezTo>
                    <a:pt x="886" y="529"/>
                    <a:pt x="879" y="530"/>
                    <a:pt x="878" y="535"/>
                  </a:cubicBezTo>
                  <a:close/>
                  <a:moveTo>
                    <a:pt x="892" y="535"/>
                  </a:moveTo>
                  <a:cubicBezTo>
                    <a:pt x="894" y="535"/>
                    <a:pt x="900" y="534"/>
                    <a:pt x="902" y="533"/>
                  </a:cubicBezTo>
                  <a:cubicBezTo>
                    <a:pt x="900" y="531"/>
                    <a:pt x="893" y="530"/>
                    <a:pt x="892" y="535"/>
                  </a:cubicBezTo>
                  <a:close/>
                  <a:moveTo>
                    <a:pt x="776" y="534"/>
                  </a:moveTo>
                  <a:cubicBezTo>
                    <a:pt x="774" y="534"/>
                    <a:pt x="776" y="537"/>
                    <a:pt x="774" y="537"/>
                  </a:cubicBezTo>
                  <a:cubicBezTo>
                    <a:pt x="774" y="534"/>
                    <a:pt x="768" y="536"/>
                    <a:pt x="767" y="537"/>
                  </a:cubicBezTo>
                  <a:cubicBezTo>
                    <a:pt x="773" y="540"/>
                    <a:pt x="782" y="538"/>
                    <a:pt x="787" y="537"/>
                  </a:cubicBezTo>
                  <a:cubicBezTo>
                    <a:pt x="785" y="532"/>
                    <a:pt x="781" y="533"/>
                    <a:pt x="776" y="534"/>
                  </a:cubicBezTo>
                  <a:close/>
                  <a:moveTo>
                    <a:pt x="910" y="534"/>
                  </a:moveTo>
                  <a:cubicBezTo>
                    <a:pt x="907" y="535"/>
                    <a:pt x="904" y="533"/>
                    <a:pt x="903" y="534"/>
                  </a:cubicBezTo>
                  <a:cubicBezTo>
                    <a:pt x="905" y="535"/>
                    <a:pt x="909" y="537"/>
                    <a:pt x="910" y="534"/>
                  </a:cubicBezTo>
                  <a:close/>
                  <a:moveTo>
                    <a:pt x="854" y="539"/>
                  </a:moveTo>
                  <a:cubicBezTo>
                    <a:pt x="854" y="537"/>
                    <a:pt x="853" y="537"/>
                    <a:pt x="851" y="537"/>
                  </a:cubicBezTo>
                  <a:cubicBezTo>
                    <a:pt x="851" y="539"/>
                    <a:pt x="852" y="539"/>
                    <a:pt x="854" y="539"/>
                  </a:cubicBezTo>
                  <a:close/>
                  <a:moveTo>
                    <a:pt x="858" y="542"/>
                  </a:moveTo>
                  <a:cubicBezTo>
                    <a:pt x="860" y="541"/>
                    <a:pt x="863" y="541"/>
                    <a:pt x="863" y="538"/>
                  </a:cubicBezTo>
                  <a:cubicBezTo>
                    <a:pt x="861" y="537"/>
                    <a:pt x="858" y="538"/>
                    <a:pt x="858" y="542"/>
                  </a:cubicBezTo>
                  <a:close/>
                  <a:moveTo>
                    <a:pt x="871" y="538"/>
                  </a:moveTo>
                  <a:cubicBezTo>
                    <a:pt x="871" y="540"/>
                    <a:pt x="873" y="539"/>
                    <a:pt x="875" y="539"/>
                  </a:cubicBezTo>
                  <a:cubicBezTo>
                    <a:pt x="875" y="537"/>
                    <a:pt x="872" y="537"/>
                    <a:pt x="871" y="538"/>
                  </a:cubicBezTo>
                  <a:close/>
                  <a:moveTo>
                    <a:pt x="879" y="539"/>
                  </a:moveTo>
                  <a:cubicBezTo>
                    <a:pt x="880" y="540"/>
                    <a:pt x="883" y="540"/>
                    <a:pt x="883" y="538"/>
                  </a:cubicBezTo>
                  <a:cubicBezTo>
                    <a:pt x="881" y="538"/>
                    <a:pt x="880" y="537"/>
                    <a:pt x="879" y="539"/>
                  </a:cubicBezTo>
                  <a:close/>
                  <a:moveTo>
                    <a:pt x="750" y="541"/>
                  </a:moveTo>
                  <a:cubicBezTo>
                    <a:pt x="756" y="543"/>
                    <a:pt x="758" y="540"/>
                    <a:pt x="765" y="540"/>
                  </a:cubicBezTo>
                  <a:cubicBezTo>
                    <a:pt x="762" y="535"/>
                    <a:pt x="755" y="541"/>
                    <a:pt x="750" y="541"/>
                  </a:cubicBezTo>
                  <a:close/>
                  <a:moveTo>
                    <a:pt x="864" y="542"/>
                  </a:moveTo>
                  <a:cubicBezTo>
                    <a:pt x="867" y="542"/>
                    <a:pt x="870" y="542"/>
                    <a:pt x="871" y="540"/>
                  </a:cubicBezTo>
                  <a:cubicBezTo>
                    <a:pt x="868" y="539"/>
                    <a:pt x="863" y="538"/>
                    <a:pt x="864" y="542"/>
                  </a:cubicBezTo>
                  <a:close/>
                  <a:moveTo>
                    <a:pt x="797" y="540"/>
                  </a:moveTo>
                  <a:cubicBezTo>
                    <a:pt x="796" y="543"/>
                    <a:pt x="802" y="542"/>
                    <a:pt x="802" y="540"/>
                  </a:cubicBezTo>
                  <a:cubicBezTo>
                    <a:pt x="801" y="539"/>
                    <a:pt x="798" y="539"/>
                    <a:pt x="797" y="540"/>
                  </a:cubicBezTo>
                  <a:close/>
                  <a:moveTo>
                    <a:pt x="827" y="544"/>
                  </a:moveTo>
                  <a:cubicBezTo>
                    <a:pt x="832" y="543"/>
                    <a:pt x="837" y="544"/>
                    <a:pt x="841" y="542"/>
                  </a:cubicBezTo>
                  <a:cubicBezTo>
                    <a:pt x="837" y="540"/>
                    <a:pt x="830" y="541"/>
                    <a:pt x="825" y="539"/>
                  </a:cubicBezTo>
                  <a:cubicBezTo>
                    <a:pt x="824" y="543"/>
                    <a:pt x="828" y="541"/>
                    <a:pt x="827" y="544"/>
                  </a:cubicBezTo>
                  <a:close/>
                  <a:moveTo>
                    <a:pt x="790" y="543"/>
                  </a:moveTo>
                  <a:cubicBezTo>
                    <a:pt x="785" y="542"/>
                    <a:pt x="784" y="543"/>
                    <a:pt x="779" y="543"/>
                  </a:cubicBezTo>
                  <a:cubicBezTo>
                    <a:pt x="780" y="546"/>
                    <a:pt x="788" y="546"/>
                    <a:pt x="791" y="545"/>
                  </a:cubicBezTo>
                  <a:cubicBezTo>
                    <a:pt x="790" y="543"/>
                    <a:pt x="793" y="541"/>
                    <a:pt x="790" y="540"/>
                  </a:cubicBezTo>
                  <a:cubicBezTo>
                    <a:pt x="790" y="541"/>
                    <a:pt x="790" y="542"/>
                    <a:pt x="790" y="543"/>
                  </a:cubicBezTo>
                  <a:close/>
                  <a:moveTo>
                    <a:pt x="822" y="542"/>
                  </a:moveTo>
                  <a:cubicBezTo>
                    <a:pt x="822" y="542"/>
                    <a:pt x="821" y="542"/>
                    <a:pt x="821" y="541"/>
                  </a:cubicBezTo>
                  <a:cubicBezTo>
                    <a:pt x="821" y="541"/>
                    <a:pt x="820" y="541"/>
                    <a:pt x="819" y="541"/>
                  </a:cubicBezTo>
                  <a:cubicBezTo>
                    <a:pt x="817" y="543"/>
                    <a:pt x="822" y="544"/>
                    <a:pt x="822" y="542"/>
                  </a:cubicBezTo>
                  <a:close/>
                  <a:moveTo>
                    <a:pt x="763" y="544"/>
                  </a:moveTo>
                  <a:cubicBezTo>
                    <a:pt x="763" y="547"/>
                    <a:pt x="771" y="546"/>
                    <a:pt x="772" y="544"/>
                  </a:cubicBezTo>
                  <a:cubicBezTo>
                    <a:pt x="770" y="543"/>
                    <a:pt x="764" y="543"/>
                    <a:pt x="763" y="544"/>
                  </a:cubicBezTo>
                  <a:close/>
                  <a:moveTo>
                    <a:pt x="806" y="568"/>
                  </a:moveTo>
                  <a:cubicBezTo>
                    <a:pt x="820" y="568"/>
                    <a:pt x="822" y="557"/>
                    <a:pt x="827" y="548"/>
                  </a:cubicBezTo>
                  <a:cubicBezTo>
                    <a:pt x="815" y="545"/>
                    <a:pt x="805" y="555"/>
                    <a:pt x="806" y="568"/>
                  </a:cubicBezTo>
                  <a:close/>
                  <a:moveTo>
                    <a:pt x="841" y="549"/>
                  </a:moveTo>
                  <a:cubicBezTo>
                    <a:pt x="842" y="549"/>
                    <a:pt x="842" y="550"/>
                    <a:pt x="843" y="551"/>
                  </a:cubicBezTo>
                  <a:cubicBezTo>
                    <a:pt x="841" y="551"/>
                    <a:pt x="840" y="552"/>
                    <a:pt x="839" y="552"/>
                  </a:cubicBezTo>
                  <a:cubicBezTo>
                    <a:pt x="840" y="553"/>
                    <a:pt x="839" y="556"/>
                    <a:pt x="841" y="557"/>
                  </a:cubicBezTo>
                  <a:cubicBezTo>
                    <a:pt x="842" y="555"/>
                    <a:pt x="843" y="557"/>
                    <a:pt x="846" y="557"/>
                  </a:cubicBezTo>
                  <a:cubicBezTo>
                    <a:pt x="846" y="553"/>
                    <a:pt x="844" y="553"/>
                    <a:pt x="842" y="552"/>
                  </a:cubicBezTo>
                  <a:cubicBezTo>
                    <a:pt x="845" y="552"/>
                    <a:pt x="845" y="551"/>
                    <a:pt x="845" y="548"/>
                  </a:cubicBezTo>
                  <a:cubicBezTo>
                    <a:pt x="844" y="547"/>
                    <a:pt x="841" y="547"/>
                    <a:pt x="841" y="549"/>
                  </a:cubicBezTo>
                  <a:close/>
                  <a:moveTo>
                    <a:pt x="809" y="552"/>
                  </a:moveTo>
                  <a:cubicBezTo>
                    <a:pt x="810" y="552"/>
                    <a:pt x="811" y="547"/>
                    <a:pt x="808" y="548"/>
                  </a:cubicBezTo>
                  <a:cubicBezTo>
                    <a:pt x="808" y="549"/>
                    <a:pt x="807" y="552"/>
                    <a:pt x="809" y="552"/>
                  </a:cubicBezTo>
                  <a:close/>
                  <a:moveTo>
                    <a:pt x="800" y="551"/>
                  </a:moveTo>
                  <a:cubicBezTo>
                    <a:pt x="802" y="551"/>
                    <a:pt x="801" y="553"/>
                    <a:pt x="803" y="552"/>
                  </a:cubicBezTo>
                  <a:cubicBezTo>
                    <a:pt x="803" y="552"/>
                    <a:pt x="803" y="551"/>
                    <a:pt x="803" y="550"/>
                  </a:cubicBezTo>
                  <a:cubicBezTo>
                    <a:pt x="801" y="550"/>
                    <a:pt x="800" y="550"/>
                    <a:pt x="800" y="551"/>
                  </a:cubicBezTo>
                  <a:close/>
                  <a:moveTo>
                    <a:pt x="828" y="554"/>
                  </a:moveTo>
                  <a:cubicBezTo>
                    <a:pt x="822" y="563"/>
                    <a:pt x="816" y="571"/>
                    <a:pt x="811" y="580"/>
                  </a:cubicBezTo>
                  <a:cubicBezTo>
                    <a:pt x="822" y="582"/>
                    <a:pt x="836" y="579"/>
                    <a:pt x="848" y="579"/>
                  </a:cubicBezTo>
                  <a:cubicBezTo>
                    <a:pt x="842" y="570"/>
                    <a:pt x="837" y="560"/>
                    <a:pt x="828" y="554"/>
                  </a:cubicBezTo>
                  <a:close/>
                  <a:moveTo>
                    <a:pt x="855" y="562"/>
                  </a:moveTo>
                  <a:cubicBezTo>
                    <a:pt x="856" y="560"/>
                    <a:pt x="854" y="558"/>
                    <a:pt x="854" y="557"/>
                  </a:cubicBezTo>
                  <a:cubicBezTo>
                    <a:pt x="854" y="559"/>
                    <a:pt x="853" y="562"/>
                    <a:pt x="855" y="562"/>
                  </a:cubicBezTo>
                  <a:close/>
                  <a:moveTo>
                    <a:pt x="841" y="564"/>
                  </a:moveTo>
                  <a:cubicBezTo>
                    <a:pt x="841" y="562"/>
                    <a:pt x="841" y="561"/>
                    <a:pt x="839" y="561"/>
                  </a:cubicBezTo>
                  <a:cubicBezTo>
                    <a:pt x="839" y="563"/>
                    <a:pt x="839" y="564"/>
                    <a:pt x="841" y="564"/>
                  </a:cubicBezTo>
                  <a:close/>
                  <a:moveTo>
                    <a:pt x="793" y="574"/>
                  </a:moveTo>
                  <a:cubicBezTo>
                    <a:pt x="795" y="571"/>
                    <a:pt x="798" y="569"/>
                    <a:pt x="798" y="564"/>
                  </a:cubicBezTo>
                  <a:cubicBezTo>
                    <a:pt x="797" y="564"/>
                    <a:pt x="797" y="563"/>
                    <a:pt x="796" y="563"/>
                  </a:cubicBezTo>
                  <a:cubicBezTo>
                    <a:pt x="794" y="565"/>
                    <a:pt x="791" y="573"/>
                    <a:pt x="793" y="574"/>
                  </a:cubicBezTo>
                  <a:close/>
                  <a:moveTo>
                    <a:pt x="848" y="575"/>
                  </a:moveTo>
                  <a:cubicBezTo>
                    <a:pt x="849" y="571"/>
                    <a:pt x="845" y="566"/>
                    <a:pt x="841" y="565"/>
                  </a:cubicBezTo>
                  <a:cubicBezTo>
                    <a:pt x="843" y="569"/>
                    <a:pt x="846" y="571"/>
                    <a:pt x="848" y="575"/>
                  </a:cubicBezTo>
                  <a:close/>
                  <a:moveTo>
                    <a:pt x="859" y="582"/>
                  </a:moveTo>
                  <a:cubicBezTo>
                    <a:pt x="859" y="576"/>
                    <a:pt x="859" y="570"/>
                    <a:pt x="854" y="568"/>
                  </a:cubicBezTo>
                  <a:cubicBezTo>
                    <a:pt x="852" y="574"/>
                    <a:pt x="856" y="579"/>
                    <a:pt x="859" y="582"/>
                  </a:cubicBezTo>
                  <a:close/>
                  <a:moveTo>
                    <a:pt x="804" y="581"/>
                  </a:moveTo>
                  <a:cubicBezTo>
                    <a:pt x="810" y="581"/>
                    <a:pt x="810" y="575"/>
                    <a:pt x="813" y="572"/>
                  </a:cubicBezTo>
                  <a:cubicBezTo>
                    <a:pt x="810" y="570"/>
                    <a:pt x="809" y="572"/>
                    <a:pt x="806" y="570"/>
                  </a:cubicBezTo>
                  <a:cubicBezTo>
                    <a:pt x="805" y="573"/>
                    <a:pt x="805" y="577"/>
                    <a:pt x="804" y="581"/>
                  </a:cubicBezTo>
                  <a:close/>
                  <a:moveTo>
                    <a:pt x="792" y="581"/>
                  </a:moveTo>
                  <a:cubicBezTo>
                    <a:pt x="794" y="583"/>
                    <a:pt x="797" y="581"/>
                    <a:pt x="799" y="581"/>
                  </a:cubicBezTo>
                  <a:cubicBezTo>
                    <a:pt x="799" y="578"/>
                    <a:pt x="799" y="574"/>
                    <a:pt x="797" y="572"/>
                  </a:cubicBezTo>
                  <a:cubicBezTo>
                    <a:pt x="796" y="576"/>
                    <a:pt x="792" y="577"/>
                    <a:pt x="792" y="581"/>
                  </a:cubicBezTo>
                  <a:close/>
                  <a:moveTo>
                    <a:pt x="806" y="589"/>
                  </a:moveTo>
                  <a:cubicBezTo>
                    <a:pt x="808" y="590"/>
                    <a:pt x="809" y="590"/>
                    <a:pt x="813" y="590"/>
                  </a:cubicBezTo>
                  <a:cubicBezTo>
                    <a:pt x="813" y="587"/>
                    <a:pt x="817" y="587"/>
                    <a:pt x="817" y="583"/>
                  </a:cubicBezTo>
                  <a:cubicBezTo>
                    <a:pt x="810" y="582"/>
                    <a:pt x="807" y="585"/>
                    <a:pt x="806" y="589"/>
                  </a:cubicBezTo>
                  <a:close/>
                  <a:moveTo>
                    <a:pt x="828" y="591"/>
                  </a:moveTo>
                  <a:cubicBezTo>
                    <a:pt x="836" y="590"/>
                    <a:pt x="842" y="590"/>
                    <a:pt x="847" y="585"/>
                  </a:cubicBezTo>
                  <a:cubicBezTo>
                    <a:pt x="847" y="587"/>
                    <a:pt x="845" y="588"/>
                    <a:pt x="848" y="589"/>
                  </a:cubicBezTo>
                  <a:cubicBezTo>
                    <a:pt x="852" y="580"/>
                    <a:pt x="831" y="584"/>
                    <a:pt x="822" y="583"/>
                  </a:cubicBezTo>
                  <a:cubicBezTo>
                    <a:pt x="823" y="586"/>
                    <a:pt x="825" y="589"/>
                    <a:pt x="828" y="591"/>
                  </a:cubicBezTo>
                  <a:close/>
                  <a:moveTo>
                    <a:pt x="800" y="588"/>
                  </a:moveTo>
                  <a:cubicBezTo>
                    <a:pt x="800" y="584"/>
                    <a:pt x="797" y="585"/>
                    <a:pt x="794" y="585"/>
                  </a:cubicBezTo>
                  <a:cubicBezTo>
                    <a:pt x="795" y="587"/>
                    <a:pt x="797" y="590"/>
                    <a:pt x="800" y="588"/>
                  </a:cubicBezTo>
                  <a:close/>
                  <a:moveTo>
                    <a:pt x="817" y="590"/>
                  </a:moveTo>
                  <a:cubicBezTo>
                    <a:pt x="818" y="591"/>
                    <a:pt x="821" y="591"/>
                    <a:pt x="823" y="591"/>
                  </a:cubicBezTo>
                  <a:cubicBezTo>
                    <a:pt x="822" y="589"/>
                    <a:pt x="822" y="586"/>
                    <a:pt x="819" y="585"/>
                  </a:cubicBezTo>
                  <a:cubicBezTo>
                    <a:pt x="818" y="586"/>
                    <a:pt x="818" y="589"/>
                    <a:pt x="817" y="590"/>
                  </a:cubicBezTo>
                  <a:close/>
                  <a:moveTo>
                    <a:pt x="791" y="596"/>
                  </a:moveTo>
                  <a:cubicBezTo>
                    <a:pt x="791" y="592"/>
                    <a:pt x="794" y="589"/>
                    <a:pt x="790" y="588"/>
                  </a:cubicBezTo>
                  <a:cubicBezTo>
                    <a:pt x="790" y="590"/>
                    <a:pt x="788" y="596"/>
                    <a:pt x="791" y="596"/>
                  </a:cubicBezTo>
                  <a:close/>
                  <a:moveTo>
                    <a:pt x="806" y="600"/>
                  </a:moveTo>
                  <a:cubicBezTo>
                    <a:pt x="806" y="596"/>
                    <a:pt x="810" y="598"/>
                    <a:pt x="810" y="593"/>
                  </a:cubicBezTo>
                  <a:cubicBezTo>
                    <a:pt x="808" y="593"/>
                    <a:pt x="806" y="593"/>
                    <a:pt x="804" y="592"/>
                  </a:cubicBezTo>
                  <a:cubicBezTo>
                    <a:pt x="805" y="596"/>
                    <a:pt x="802" y="600"/>
                    <a:pt x="806" y="600"/>
                  </a:cubicBezTo>
                  <a:close/>
                  <a:moveTo>
                    <a:pt x="835" y="595"/>
                  </a:moveTo>
                  <a:cubicBezTo>
                    <a:pt x="836" y="595"/>
                    <a:pt x="837" y="595"/>
                    <a:pt x="838" y="595"/>
                  </a:cubicBezTo>
                  <a:cubicBezTo>
                    <a:pt x="838" y="593"/>
                    <a:pt x="838" y="592"/>
                    <a:pt x="836" y="592"/>
                  </a:cubicBezTo>
                  <a:cubicBezTo>
                    <a:pt x="836" y="593"/>
                    <a:pt x="835" y="593"/>
                    <a:pt x="835" y="595"/>
                  </a:cubicBezTo>
                  <a:close/>
                  <a:moveTo>
                    <a:pt x="838" y="598"/>
                  </a:moveTo>
                  <a:cubicBezTo>
                    <a:pt x="842" y="600"/>
                    <a:pt x="848" y="600"/>
                    <a:pt x="851" y="600"/>
                  </a:cubicBezTo>
                  <a:cubicBezTo>
                    <a:pt x="851" y="597"/>
                    <a:pt x="850" y="594"/>
                    <a:pt x="849" y="592"/>
                  </a:cubicBezTo>
                  <a:cubicBezTo>
                    <a:pt x="844" y="592"/>
                    <a:pt x="839" y="592"/>
                    <a:pt x="838" y="598"/>
                  </a:cubicBezTo>
                  <a:close/>
                  <a:moveTo>
                    <a:pt x="814" y="593"/>
                  </a:moveTo>
                  <a:cubicBezTo>
                    <a:pt x="813" y="597"/>
                    <a:pt x="810" y="597"/>
                    <a:pt x="810" y="602"/>
                  </a:cubicBezTo>
                  <a:cubicBezTo>
                    <a:pt x="811" y="603"/>
                    <a:pt x="814" y="602"/>
                    <a:pt x="814" y="605"/>
                  </a:cubicBezTo>
                  <a:cubicBezTo>
                    <a:pt x="811" y="607"/>
                    <a:pt x="811" y="602"/>
                    <a:pt x="809" y="602"/>
                  </a:cubicBezTo>
                  <a:cubicBezTo>
                    <a:pt x="808" y="605"/>
                    <a:pt x="805" y="605"/>
                    <a:pt x="804" y="609"/>
                  </a:cubicBezTo>
                  <a:cubicBezTo>
                    <a:pt x="807" y="611"/>
                    <a:pt x="812" y="610"/>
                    <a:pt x="815" y="610"/>
                  </a:cubicBezTo>
                  <a:cubicBezTo>
                    <a:pt x="815" y="608"/>
                    <a:pt x="815" y="607"/>
                    <a:pt x="817" y="607"/>
                  </a:cubicBezTo>
                  <a:cubicBezTo>
                    <a:pt x="817" y="609"/>
                    <a:pt x="819" y="610"/>
                    <a:pt x="821" y="610"/>
                  </a:cubicBezTo>
                  <a:cubicBezTo>
                    <a:pt x="822" y="605"/>
                    <a:pt x="826" y="602"/>
                    <a:pt x="828" y="596"/>
                  </a:cubicBezTo>
                  <a:cubicBezTo>
                    <a:pt x="826" y="591"/>
                    <a:pt x="819" y="593"/>
                    <a:pt x="814" y="593"/>
                  </a:cubicBezTo>
                  <a:close/>
                  <a:moveTo>
                    <a:pt x="856" y="598"/>
                  </a:moveTo>
                  <a:cubicBezTo>
                    <a:pt x="855" y="596"/>
                    <a:pt x="856" y="593"/>
                    <a:pt x="854" y="593"/>
                  </a:cubicBezTo>
                  <a:cubicBezTo>
                    <a:pt x="855" y="594"/>
                    <a:pt x="853" y="598"/>
                    <a:pt x="856" y="598"/>
                  </a:cubicBezTo>
                  <a:close/>
                  <a:moveTo>
                    <a:pt x="799" y="602"/>
                  </a:moveTo>
                  <a:cubicBezTo>
                    <a:pt x="797" y="600"/>
                    <a:pt x="800" y="594"/>
                    <a:pt x="797" y="593"/>
                  </a:cubicBezTo>
                  <a:cubicBezTo>
                    <a:pt x="796" y="596"/>
                    <a:pt x="797" y="600"/>
                    <a:pt x="799" y="602"/>
                  </a:cubicBezTo>
                  <a:close/>
                  <a:moveTo>
                    <a:pt x="831" y="596"/>
                  </a:moveTo>
                  <a:cubicBezTo>
                    <a:pt x="831" y="597"/>
                    <a:pt x="832" y="597"/>
                    <a:pt x="832" y="599"/>
                  </a:cubicBezTo>
                  <a:cubicBezTo>
                    <a:pt x="835" y="599"/>
                    <a:pt x="835" y="595"/>
                    <a:pt x="832" y="595"/>
                  </a:cubicBezTo>
                  <a:cubicBezTo>
                    <a:pt x="832" y="595"/>
                    <a:pt x="832" y="596"/>
                    <a:pt x="831" y="596"/>
                  </a:cubicBezTo>
                  <a:close/>
                  <a:moveTo>
                    <a:pt x="920" y="598"/>
                  </a:moveTo>
                  <a:cubicBezTo>
                    <a:pt x="922" y="600"/>
                    <a:pt x="925" y="601"/>
                    <a:pt x="926" y="603"/>
                  </a:cubicBezTo>
                  <a:cubicBezTo>
                    <a:pt x="926" y="599"/>
                    <a:pt x="924" y="597"/>
                    <a:pt x="921" y="596"/>
                  </a:cubicBezTo>
                  <a:cubicBezTo>
                    <a:pt x="921" y="597"/>
                    <a:pt x="920" y="597"/>
                    <a:pt x="920" y="598"/>
                  </a:cubicBezTo>
                  <a:close/>
                  <a:moveTo>
                    <a:pt x="815" y="628"/>
                  </a:moveTo>
                  <a:cubicBezTo>
                    <a:pt x="810" y="630"/>
                    <a:pt x="807" y="637"/>
                    <a:pt x="806" y="641"/>
                  </a:cubicBezTo>
                  <a:cubicBezTo>
                    <a:pt x="824" y="639"/>
                    <a:pt x="839" y="641"/>
                    <a:pt x="854" y="637"/>
                  </a:cubicBezTo>
                  <a:cubicBezTo>
                    <a:pt x="845" y="625"/>
                    <a:pt x="839" y="611"/>
                    <a:pt x="829" y="600"/>
                  </a:cubicBezTo>
                  <a:cubicBezTo>
                    <a:pt x="828" y="600"/>
                    <a:pt x="828" y="600"/>
                    <a:pt x="828" y="601"/>
                  </a:cubicBezTo>
                  <a:cubicBezTo>
                    <a:pt x="826" y="610"/>
                    <a:pt x="816" y="617"/>
                    <a:pt x="815" y="628"/>
                  </a:cubicBezTo>
                  <a:close/>
                  <a:moveTo>
                    <a:pt x="847" y="619"/>
                  </a:moveTo>
                  <a:cubicBezTo>
                    <a:pt x="847" y="627"/>
                    <a:pt x="853" y="627"/>
                    <a:pt x="853" y="634"/>
                  </a:cubicBezTo>
                  <a:cubicBezTo>
                    <a:pt x="859" y="629"/>
                    <a:pt x="848" y="622"/>
                    <a:pt x="849" y="617"/>
                  </a:cubicBezTo>
                  <a:cubicBezTo>
                    <a:pt x="842" y="615"/>
                    <a:pt x="844" y="603"/>
                    <a:pt x="835" y="602"/>
                  </a:cubicBezTo>
                  <a:cubicBezTo>
                    <a:pt x="838" y="609"/>
                    <a:pt x="842" y="615"/>
                    <a:pt x="847" y="619"/>
                  </a:cubicBezTo>
                  <a:close/>
                  <a:moveTo>
                    <a:pt x="931" y="604"/>
                  </a:moveTo>
                  <a:cubicBezTo>
                    <a:pt x="932" y="605"/>
                    <a:pt x="935" y="605"/>
                    <a:pt x="934" y="602"/>
                  </a:cubicBezTo>
                  <a:cubicBezTo>
                    <a:pt x="932" y="602"/>
                    <a:pt x="931" y="602"/>
                    <a:pt x="931" y="604"/>
                  </a:cubicBezTo>
                  <a:close/>
                  <a:moveTo>
                    <a:pt x="847" y="608"/>
                  </a:moveTo>
                  <a:cubicBezTo>
                    <a:pt x="848" y="607"/>
                    <a:pt x="850" y="606"/>
                    <a:pt x="850" y="603"/>
                  </a:cubicBezTo>
                  <a:cubicBezTo>
                    <a:pt x="847" y="603"/>
                    <a:pt x="845" y="603"/>
                    <a:pt x="842" y="603"/>
                  </a:cubicBezTo>
                  <a:cubicBezTo>
                    <a:pt x="842" y="606"/>
                    <a:pt x="844" y="608"/>
                    <a:pt x="847" y="608"/>
                  </a:cubicBezTo>
                  <a:close/>
                  <a:moveTo>
                    <a:pt x="929" y="608"/>
                  </a:moveTo>
                  <a:cubicBezTo>
                    <a:pt x="930" y="607"/>
                    <a:pt x="930" y="605"/>
                    <a:pt x="930" y="604"/>
                  </a:cubicBezTo>
                  <a:cubicBezTo>
                    <a:pt x="928" y="604"/>
                    <a:pt x="928" y="603"/>
                    <a:pt x="927" y="603"/>
                  </a:cubicBezTo>
                  <a:cubicBezTo>
                    <a:pt x="926" y="606"/>
                    <a:pt x="928" y="607"/>
                    <a:pt x="929" y="608"/>
                  </a:cubicBezTo>
                  <a:close/>
                  <a:moveTo>
                    <a:pt x="792" y="618"/>
                  </a:moveTo>
                  <a:cubicBezTo>
                    <a:pt x="790" y="619"/>
                    <a:pt x="791" y="616"/>
                    <a:pt x="789" y="617"/>
                  </a:cubicBezTo>
                  <a:cubicBezTo>
                    <a:pt x="788" y="618"/>
                    <a:pt x="788" y="620"/>
                    <a:pt x="788" y="622"/>
                  </a:cubicBezTo>
                  <a:cubicBezTo>
                    <a:pt x="795" y="623"/>
                    <a:pt x="792" y="613"/>
                    <a:pt x="793" y="608"/>
                  </a:cubicBezTo>
                  <a:cubicBezTo>
                    <a:pt x="792" y="608"/>
                    <a:pt x="791" y="608"/>
                    <a:pt x="791" y="608"/>
                  </a:cubicBezTo>
                  <a:cubicBezTo>
                    <a:pt x="790" y="612"/>
                    <a:pt x="790" y="615"/>
                    <a:pt x="792" y="618"/>
                  </a:cubicBezTo>
                  <a:close/>
                  <a:moveTo>
                    <a:pt x="861" y="623"/>
                  </a:moveTo>
                  <a:cubicBezTo>
                    <a:pt x="862" y="620"/>
                    <a:pt x="864" y="611"/>
                    <a:pt x="860" y="610"/>
                  </a:cubicBezTo>
                  <a:cubicBezTo>
                    <a:pt x="859" y="613"/>
                    <a:pt x="859" y="621"/>
                    <a:pt x="861" y="623"/>
                  </a:cubicBezTo>
                  <a:close/>
                  <a:moveTo>
                    <a:pt x="852" y="619"/>
                  </a:moveTo>
                  <a:cubicBezTo>
                    <a:pt x="854" y="617"/>
                    <a:pt x="852" y="614"/>
                    <a:pt x="852" y="611"/>
                  </a:cubicBezTo>
                  <a:cubicBezTo>
                    <a:pt x="851" y="611"/>
                    <a:pt x="851" y="611"/>
                    <a:pt x="850" y="611"/>
                  </a:cubicBezTo>
                  <a:cubicBezTo>
                    <a:pt x="848" y="614"/>
                    <a:pt x="851" y="617"/>
                    <a:pt x="852" y="619"/>
                  </a:cubicBezTo>
                  <a:close/>
                  <a:moveTo>
                    <a:pt x="813" y="624"/>
                  </a:moveTo>
                  <a:cubicBezTo>
                    <a:pt x="812" y="618"/>
                    <a:pt x="818" y="619"/>
                    <a:pt x="817" y="613"/>
                  </a:cubicBezTo>
                  <a:cubicBezTo>
                    <a:pt x="814" y="613"/>
                    <a:pt x="809" y="612"/>
                    <a:pt x="808" y="615"/>
                  </a:cubicBezTo>
                  <a:cubicBezTo>
                    <a:pt x="807" y="614"/>
                    <a:pt x="805" y="614"/>
                    <a:pt x="803" y="614"/>
                  </a:cubicBezTo>
                  <a:cubicBezTo>
                    <a:pt x="803" y="617"/>
                    <a:pt x="807" y="617"/>
                    <a:pt x="807" y="620"/>
                  </a:cubicBezTo>
                  <a:cubicBezTo>
                    <a:pt x="803" y="622"/>
                    <a:pt x="808" y="626"/>
                    <a:pt x="807" y="628"/>
                  </a:cubicBezTo>
                  <a:cubicBezTo>
                    <a:pt x="802" y="627"/>
                    <a:pt x="805" y="621"/>
                    <a:pt x="803" y="619"/>
                  </a:cubicBezTo>
                  <a:cubicBezTo>
                    <a:pt x="801" y="622"/>
                    <a:pt x="800" y="628"/>
                    <a:pt x="802" y="631"/>
                  </a:cubicBezTo>
                  <a:cubicBezTo>
                    <a:pt x="810" y="632"/>
                    <a:pt x="812" y="625"/>
                    <a:pt x="808" y="620"/>
                  </a:cubicBezTo>
                  <a:cubicBezTo>
                    <a:pt x="810" y="621"/>
                    <a:pt x="809" y="624"/>
                    <a:pt x="813" y="624"/>
                  </a:cubicBezTo>
                  <a:close/>
                  <a:moveTo>
                    <a:pt x="860" y="628"/>
                  </a:moveTo>
                  <a:cubicBezTo>
                    <a:pt x="862" y="628"/>
                    <a:pt x="864" y="629"/>
                    <a:pt x="865" y="628"/>
                  </a:cubicBezTo>
                  <a:cubicBezTo>
                    <a:pt x="865" y="625"/>
                    <a:pt x="865" y="622"/>
                    <a:pt x="863" y="621"/>
                  </a:cubicBezTo>
                  <a:cubicBezTo>
                    <a:pt x="863" y="624"/>
                    <a:pt x="861" y="625"/>
                    <a:pt x="860" y="628"/>
                  </a:cubicBezTo>
                  <a:close/>
                  <a:moveTo>
                    <a:pt x="785" y="634"/>
                  </a:moveTo>
                  <a:cubicBezTo>
                    <a:pt x="787" y="632"/>
                    <a:pt x="789" y="628"/>
                    <a:pt x="790" y="625"/>
                  </a:cubicBezTo>
                  <a:cubicBezTo>
                    <a:pt x="789" y="625"/>
                    <a:pt x="789" y="624"/>
                    <a:pt x="788" y="624"/>
                  </a:cubicBezTo>
                  <a:cubicBezTo>
                    <a:pt x="786" y="626"/>
                    <a:pt x="785" y="630"/>
                    <a:pt x="785" y="634"/>
                  </a:cubicBezTo>
                  <a:close/>
                  <a:moveTo>
                    <a:pt x="785" y="641"/>
                  </a:moveTo>
                  <a:cubicBezTo>
                    <a:pt x="786" y="642"/>
                    <a:pt x="790" y="641"/>
                    <a:pt x="793" y="641"/>
                  </a:cubicBezTo>
                  <a:cubicBezTo>
                    <a:pt x="793" y="637"/>
                    <a:pt x="795" y="629"/>
                    <a:pt x="792" y="626"/>
                  </a:cubicBezTo>
                  <a:cubicBezTo>
                    <a:pt x="791" y="633"/>
                    <a:pt x="785" y="634"/>
                    <a:pt x="785" y="641"/>
                  </a:cubicBezTo>
                  <a:close/>
                  <a:moveTo>
                    <a:pt x="862" y="634"/>
                  </a:moveTo>
                  <a:cubicBezTo>
                    <a:pt x="866" y="635"/>
                    <a:pt x="865" y="641"/>
                    <a:pt x="869" y="643"/>
                  </a:cubicBezTo>
                  <a:cubicBezTo>
                    <a:pt x="869" y="638"/>
                    <a:pt x="866" y="635"/>
                    <a:pt x="865" y="631"/>
                  </a:cubicBezTo>
                  <a:cubicBezTo>
                    <a:pt x="863" y="631"/>
                    <a:pt x="862" y="632"/>
                    <a:pt x="862" y="634"/>
                  </a:cubicBezTo>
                  <a:close/>
                  <a:moveTo>
                    <a:pt x="801" y="641"/>
                  </a:moveTo>
                  <a:cubicBezTo>
                    <a:pt x="804" y="640"/>
                    <a:pt x="805" y="637"/>
                    <a:pt x="806" y="634"/>
                  </a:cubicBezTo>
                  <a:cubicBezTo>
                    <a:pt x="805" y="634"/>
                    <a:pt x="803" y="634"/>
                    <a:pt x="801" y="634"/>
                  </a:cubicBezTo>
                  <a:cubicBezTo>
                    <a:pt x="801" y="637"/>
                    <a:pt x="799" y="638"/>
                    <a:pt x="801" y="641"/>
                  </a:cubicBezTo>
                  <a:close/>
                  <a:moveTo>
                    <a:pt x="864" y="641"/>
                  </a:moveTo>
                  <a:cubicBezTo>
                    <a:pt x="862" y="640"/>
                    <a:pt x="863" y="636"/>
                    <a:pt x="860" y="636"/>
                  </a:cubicBezTo>
                  <a:cubicBezTo>
                    <a:pt x="859" y="640"/>
                    <a:pt x="862" y="642"/>
                    <a:pt x="864" y="641"/>
                  </a:cubicBezTo>
                  <a:close/>
                  <a:moveTo>
                    <a:pt x="801" y="650"/>
                  </a:moveTo>
                  <a:cubicBezTo>
                    <a:pt x="806" y="651"/>
                    <a:pt x="816" y="651"/>
                    <a:pt x="815" y="643"/>
                  </a:cubicBezTo>
                  <a:cubicBezTo>
                    <a:pt x="808" y="643"/>
                    <a:pt x="801" y="643"/>
                    <a:pt x="801" y="650"/>
                  </a:cubicBezTo>
                  <a:close/>
                  <a:moveTo>
                    <a:pt x="822" y="643"/>
                  </a:moveTo>
                  <a:cubicBezTo>
                    <a:pt x="822" y="644"/>
                    <a:pt x="821" y="644"/>
                    <a:pt x="821" y="645"/>
                  </a:cubicBezTo>
                  <a:cubicBezTo>
                    <a:pt x="821" y="647"/>
                    <a:pt x="820" y="644"/>
                    <a:pt x="818" y="645"/>
                  </a:cubicBezTo>
                  <a:cubicBezTo>
                    <a:pt x="818" y="647"/>
                    <a:pt x="816" y="648"/>
                    <a:pt x="815" y="650"/>
                  </a:cubicBezTo>
                  <a:cubicBezTo>
                    <a:pt x="818" y="650"/>
                    <a:pt x="820" y="653"/>
                    <a:pt x="822" y="651"/>
                  </a:cubicBezTo>
                  <a:cubicBezTo>
                    <a:pt x="823" y="648"/>
                    <a:pt x="819" y="647"/>
                    <a:pt x="821" y="646"/>
                  </a:cubicBezTo>
                  <a:cubicBezTo>
                    <a:pt x="824" y="644"/>
                    <a:pt x="824" y="649"/>
                    <a:pt x="826" y="650"/>
                  </a:cubicBezTo>
                  <a:cubicBezTo>
                    <a:pt x="835" y="649"/>
                    <a:pt x="849" y="652"/>
                    <a:pt x="852" y="643"/>
                  </a:cubicBezTo>
                  <a:cubicBezTo>
                    <a:pt x="840" y="642"/>
                    <a:pt x="833" y="643"/>
                    <a:pt x="822" y="643"/>
                  </a:cubicBezTo>
                  <a:close/>
                  <a:moveTo>
                    <a:pt x="861" y="647"/>
                  </a:moveTo>
                  <a:cubicBezTo>
                    <a:pt x="862" y="647"/>
                    <a:pt x="862" y="647"/>
                    <a:pt x="863" y="647"/>
                  </a:cubicBezTo>
                  <a:cubicBezTo>
                    <a:pt x="863" y="645"/>
                    <a:pt x="863" y="644"/>
                    <a:pt x="861" y="644"/>
                  </a:cubicBezTo>
                  <a:cubicBezTo>
                    <a:pt x="861" y="645"/>
                    <a:pt x="861" y="646"/>
                    <a:pt x="861" y="647"/>
                  </a:cubicBezTo>
                  <a:close/>
                  <a:moveTo>
                    <a:pt x="794" y="649"/>
                  </a:moveTo>
                  <a:cubicBezTo>
                    <a:pt x="794" y="647"/>
                    <a:pt x="794" y="646"/>
                    <a:pt x="793" y="645"/>
                  </a:cubicBezTo>
                  <a:cubicBezTo>
                    <a:pt x="791" y="646"/>
                    <a:pt x="789" y="644"/>
                    <a:pt x="787" y="645"/>
                  </a:cubicBezTo>
                  <a:cubicBezTo>
                    <a:pt x="790" y="647"/>
                    <a:pt x="790" y="649"/>
                    <a:pt x="794" y="649"/>
                  </a:cubicBezTo>
                  <a:close/>
                  <a:moveTo>
                    <a:pt x="851" y="649"/>
                  </a:moveTo>
                  <a:cubicBezTo>
                    <a:pt x="853" y="649"/>
                    <a:pt x="857" y="649"/>
                    <a:pt x="856" y="645"/>
                  </a:cubicBezTo>
                  <a:cubicBezTo>
                    <a:pt x="853" y="643"/>
                    <a:pt x="852" y="647"/>
                    <a:pt x="851" y="649"/>
                  </a:cubicBezTo>
                  <a:close/>
                  <a:moveTo>
                    <a:pt x="782" y="660"/>
                  </a:moveTo>
                  <a:cubicBezTo>
                    <a:pt x="785" y="659"/>
                    <a:pt x="786" y="652"/>
                    <a:pt x="785" y="648"/>
                  </a:cubicBezTo>
                  <a:cubicBezTo>
                    <a:pt x="784" y="648"/>
                    <a:pt x="784" y="647"/>
                    <a:pt x="782" y="647"/>
                  </a:cubicBezTo>
                  <a:cubicBezTo>
                    <a:pt x="781" y="651"/>
                    <a:pt x="782" y="656"/>
                    <a:pt x="782" y="660"/>
                  </a:cubicBezTo>
                  <a:close/>
                  <a:moveTo>
                    <a:pt x="791" y="664"/>
                  </a:moveTo>
                  <a:cubicBezTo>
                    <a:pt x="797" y="663"/>
                    <a:pt x="788" y="655"/>
                    <a:pt x="794" y="653"/>
                  </a:cubicBezTo>
                  <a:cubicBezTo>
                    <a:pt x="793" y="653"/>
                    <a:pt x="793" y="652"/>
                    <a:pt x="791" y="652"/>
                  </a:cubicBezTo>
                  <a:cubicBezTo>
                    <a:pt x="789" y="655"/>
                    <a:pt x="790" y="661"/>
                    <a:pt x="791" y="664"/>
                  </a:cubicBezTo>
                  <a:close/>
                  <a:moveTo>
                    <a:pt x="829" y="656"/>
                  </a:moveTo>
                  <a:cubicBezTo>
                    <a:pt x="830" y="656"/>
                    <a:pt x="831" y="656"/>
                    <a:pt x="832" y="656"/>
                  </a:cubicBezTo>
                  <a:cubicBezTo>
                    <a:pt x="832" y="653"/>
                    <a:pt x="831" y="653"/>
                    <a:pt x="830" y="652"/>
                  </a:cubicBezTo>
                  <a:cubicBezTo>
                    <a:pt x="829" y="653"/>
                    <a:pt x="829" y="654"/>
                    <a:pt x="829" y="656"/>
                  </a:cubicBezTo>
                  <a:close/>
                  <a:moveTo>
                    <a:pt x="841" y="658"/>
                  </a:moveTo>
                  <a:cubicBezTo>
                    <a:pt x="843" y="665"/>
                    <a:pt x="851" y="661"/>
                    <a:pt x="857" y="661"/>
                  </a:cubicBezTo>
                  <a:cubicBezTo>
                    <a:pt x="857" y="656"/>
                    <a:pt x="857" y="655"/>
                    <a:pt x="856" y="652"/>
                  </a:cubicBezTo>
                  <a:cubicBezTo>
                    <a:pt x="848" y="651"/>
                    <a:pt x="845" y="655"/>
                    <a:pt x="841" y="658"/>
                  </a:cubicBezTo>
                  <a:close/>
                  <a:moveTo>
                    <a:pt x="841" y="656"/>
                  </a:moveTo>
                  <a:cubicBezTo>
                    <a:pt x="841" y="653"/>
                    <a:pt x="839" y="653"/>
                    <a:pt x="838" y="653"/>
                  </a:cubicBezTo>
                  <a:cubicBezTo>
                    <a:pt x="838" y="654"/>
                    <a:pt x="838" y="656"/>
                    <a:pt x="841" y="656"/>
                  </a:cubicBezTo>
                  <a:close/>
                  <a:moveTo>
                    <a:pt x="805" y="659"/>
                  </a:moveTo>
                  <a:cubicBezTo>
                    <a:pt x="807" y="658"/>
                    <a:pt x="808" y="656"/>
                    <a:pt x="808" y="654"/>
                  </a:cubicBezTo>
                  <a:cubicBezTo>
                    <a:pt x="806" y="654"/>
                    <a:pt x="803" y="654"/>
                    <a:pt x="801" y="654"/>
                  </a:cubicBezTo>
                  <a:cubicBezTo>
                    <a:pt x="801" y="657"/>
                    <a:pt x="804" y="657"/>
                    <a:pt x="805" y="659"/>
                  </a:cubicBezTo>
                  <a:close/>
                  <a:moveTo>
                    <a:pt x="807" y="663"/>
                  </a:moveTo>
                  <a:cubicBezTo>
                    <a:pt x="804" y="665"/>
                    <a:pt x="802" y="668"/>
                    <a:pt x="802" y="671"/>
                  </a:cubicBezTo>
                  <a:cubicBezTo>
                    <a:pt x="804" y="673"/>
                    <a:pt x="810" y="671"/>
                    <a:pt x="815" y="673"/>
                  </a:cubicBezTo>
                  <a:cubicBezTo>
                    <a:pt x="816" y="673"/>
                    <a:pt x="814" y="671"/>
                    <a:pt x="816" y="671"/>
                  </a:cubicBezTo>
                  <a:cubicBezTo>
                    <a:pt x="818" y="670"/>
                    <a:pt x="818" y="673"/>
                    <a:pt x="821" y="673"/>
                  </a:cubicBezTo>
                  <a:cubicBezTo>
                    <a:pt x="822" y="666"/>
                    <a:pt x="828" y="664"/>
                    <a:pt x="828" y="656"/>
                  </a:cubicBezTo>
                  <a:cubicBezTo>
                    <a:pt x="822" y="651"/>
                    <a:pt x="808" y="652"/>
                    <a:pt x="808" y="662"/>
                  </a:cubicBezTo>
                  <a:cubicBezTo>
                    <a:pt x="810" y="665"/>
                    <a:pt x="815" y="666"/>
                    <a:pt x="815" y="671"/>
                  </a:cubicBezTo>
                  <a:cubicBezTo>
                    <a:pt x="812" y="669"/>
                    <a:pt x="809" y="666"/>
                    <a:pt x="807" y="663"/>
                  </a:cubicBezTo>
                  <a:close/>
                  <a:moveTo>
                    <a:pt x="862" y="660"/>
                  </a:moveTo>
                  <a:cubicBezTo>
                    <a:pt x="863" y="659"/>
                    <a:pt x="865" y="654"/>
                    <a:pt x="862" y="654"/>
                  </a:cubicBezTo>
                  <a:cubicBezTo>
                    <a:pt x="861" y="656"/>
                    <a:pt x="861" y="660"/>
                    <a:pt x="862" y="660"/>
                  </a:cubicBezTo>
                  <a:close/>
                  <a:moveTo>
                    <a:pt x="833" y="661"/>
                  </a:moveTo>
                  <a:cubicBezTo>
                    <a:pt x="836" y="661"/>
                    <a:pt x="837" y="660"/>
                    <a:pt x="837" y="658"/>
                  </a:cubicBezTo>
                  <a:cubicBezTo>
                    <a:pt x="836" y="656"/>
                    <a:pt x="836" y="655"/>
                    <a:pt x="833" y="655"/>
                  </a:cubicBezTo>
                  <a:cubicBezTo>
                    <a:pt x="832" y="656"/>
                    <a:pt x="832" y="660"/>
                    <a:pt x="833" y="661"/>
                  </a:cubicBezTo>
                  <a:close/>
                  <a:moveTo>
                    <a:pt x="803" y="663"/>
                  </a:moveTo>
                  <a:cubicBezTo>
                    <a:pt x="805" y="660"/>
                    <a:pt x="802" y="657"/>
                    <a:pt x="799" y="657"/>
                  </a:cubicBezTo>
                  <a:cubicBezTo>
                    <a:pt x="798" y="659"/>
                    <a:pt x="801" y="662"/>
                    <a:pt x="803" y="663"/>
                  </a:cubicBezTo>
                  <a:close/>
                  <a:moveTo>
                    <a:pt x="802" y="709"/>
                  </a:moveTo>
                  <a:cubicBezTo>
                    <a:pt x="823" y="709"/>
                    <a:pt x="842" y="708"/>
                    <a:pt x="862" y="708"/>
                  </a:cubicBezTo>
                  <a:cubicBezTo>
                    <a:pt x="852" y="691"/>
                    <a:pt x="841" y="676"/>
                    <a:pt x="830" y="660"/>
                  </a:cubicBezTo>
                  <a:cubicBezTo>
                    <a:pt x="821" y="677"/>
                    <a:pt x="810" y="692"/>
                    <a:pt x="802" y="709"/>
                  </a:cubicBezTo>
                  <a:close/>
                  <a:moveTo>
                    <a:pt x="836" y="665"/>
                  </a:moveTo>
                  <a:cubicBezTo>
                    <a:pt x="840" y="672"/>
                    <a:pt x="845" y="677"/>
                    <a:pt x="849" y="683"/>
                  </a:cubicBezTo>
                  <a:cubicBezTo>
                    <a:pt x="850" y="682"/>
                    <a:pt x="851" y="680"/>
                    <a:pt x="851" y="677"/>
                  </a:cubicBezTo>
                  <a:cubicBezTo>
                    <a:pt x="846" y="673"/>
                    <a:pt x="845" y="662"/>
                    <a:pt x="836" y="665"/>
                  </a:cubicBezTo>
                  <a:close/>
                  <a:moveTo>
                    <a:pt x="849" y="671"/>
                  </a:moveTo>
                  <a:cubicBezTo>
                    <a:pt x="852" y="671"/>
                    <a:pt x="854" y="669"/>
                    <a:pt x="854" y="667"/>
                  </a:cubicBezTo>
                  <a:cubicBezTo>
                    <a:pt x="851" y="667"/>
                    <a:pt x="850" y="664"/>
                    <a:pt x="847" y="665"/>
                  </a:cubicBezTo>
                  <a:cubicBezTo>
                    <a:pt x="846" y="669"/>
                    <a:pt x="849" y="669"/>
                    <a:pt x="849" y="671"/>
                  </a:cubicBezTo>
                  <a:close/>
                  <a:moveTo>
                    <a:pt x="798" y="667"/>
                  </a:moveTo>
                  <a:cubicBezTo>
                    <a:pt x="797" y="669"/>
                    <a:pt x="798" y="670"/>
                    <a:pt x="800" y="670"/>
                  </a:cubicBezTo>
                  <a:cubicBezTo>
                    <a:pt x="799" y="668"/>
                    <a:pt x="801" y="668"/>
                    <a:pt x="800" y="667"/>
                  </a:cubicBezTo>
                  <a:cubicBezTo>
                    <a:pt x="799" y="667"/>
                    <a:pt x="798" y="667"/>
                    <a:pt x="798" y="667"/>
                  </a:cubicBezTo>
                  <a:close/>
                  <a:moveTo>
                    <a:pt x="791" y="671"/>
                  </a:moveTo>
                  <a:cubicBezTo>
                    <a:pt x="794" y="671"/>
                    <a:pt x="794" y="667"/>
                    <a:pt x="792" y="667"/>
                  </a:cubicBezTo>
                  <a:cubicBezTo>
                    <a:pt x="791" y="668"/>
                    <a:pt x="790" y="669"/>
                    <a:pt x="791" y="671"/>
                  </a:cubicBezTo>
                  <a:close/>
                  <a:moveTo>
                    <a:pt x="780" y="686"/>
                  </a:moveTo>
                  <a:cubicBezTo>
                    <a:pt x="780" y="688"/>
                    <a:pt x="782" y="688"/>
                    <a:pt x="782" y="689"/>
                  </a:cubicBezTo>
                  <a:cubicBezTo>
                    <a:pt x="777" y="690"/>
                    <a:pt x="777" y="696"/>
                    <a:pt x="776" y="701"/>
                  </a:cubicBezTo>
                  <a:cubicBezTo>
                    <a:pt x="782" y="697"/>
                    <a:pt x="784" y="689"/>
                    <a:pt x="788" y="684"/>
                  </a:cubicBezTo>
                  <a:cubicBezTo>
                    <a:pt x="786" y="679"/>
                    <a:pt x="789" y="672"/>
                    <a:pt x="785" y="669"/>
                  </a:cubicBezTo>
                  <a:cubicBezTo>
                    <a:pt x="784" y="675"/>
                    <a:pt x="783" y="680"/>
                    <a:pt x="780" y="686"/>
                  </a:cubicBezTo>
                  <a:close/>
                  <a:moveTo>
                    <a:pt x="854" y="676"/>
                  </a:moveTo>
                  <a:cubicBezTo>
                    <a:pt x="856" y="678"/>
                    <a:pt x="855" y="683"/>
                    <a:pt x="859" y="683"/>
                  </a:cubicBezTo>
                  <a:cubicBezTo>
                    <a:pt x="859" y="682"/>
                    <a:pt x="860" y="675"/>
                    <a:pt x="858" y="673"/>
                  </a:cubicBezTo>
                  <a:cubicBezTo>
                    <a:pt x="857" y="675"/>
                    <a:pt x="854" y="674"/>
                    <a:pt x="854" y="676"/>
                  </a:cubicBezTo>
                  <a:close/>
                  <a:moveTo>
                    <a:pt x="869" y="688"/>
                  </a:moveTo>
                  <a:cubicBezTo>
                    <a:pt x="869" y="683"/>
                    <a:pt x="873" y="677"/>
                    <a:pt x="869" y="674"/>
                  </a:cubicBezTo>
                  <a:cubicBezTo>
                    <a:pt x="868" y="677"/>
                    <a:pt x="866" y="686"/>
                    <a:pt x="869" y="688"/>
                  </a:cubicBezTo>
                  <a:close/>
                  <a:moveTo>
                    <a:pt x="807" y="695"/>
                  </a:moveTo>
                  <a:cubicBezTo>
                    <a:pt x="809" y="687"/>
                    <a:pt x="815" y="683"/>
                    <a:pt x="817" y="676"/>
                  </a:cubicBezTo>
                  <a:cubicBezTo>
                    <a:pt x="810" y="676"/>
                    <a:pt x="804" y="677"/>
                    <a:pt x="798" y="676"/>
                  </a:cubicBezTo>
                  <a:cubicBezTo>
                    <a:pt x="799" y="682"/>
                    <a:pt x="803" y="690"/>
                    <a:pt x="807" y="695"/>
                  </a:cubicBezTo>
                  <a:close/>
                  <a:moveTo>
                    <a:pt x="851" y="683"/>
                  </a:moveTo>
                  <a:cubicBezTo>
                    <a:pt x="853" y="684"/>
                    <a:pt x="852" y="686"/>
                    <a:pt x="855" y="685"/>
                  </a:cubicBezTo>
                  <a:cubicBezTo>
                    <a:pt x="855" y="684"/>
                    <a:pt x="855" y="683"/>
                    <a:pt x="855" y="682"/>
                  </a:cubicBezTo>
                  <a:cubicBezTo>
                    <a:pt x="853" y="681"/>
                    <a:pt x="852" y="681"/>
                    <a:pt x="851" y="683"/>
                  </a:cubicBezTo>
                  <a:close/>
                  <a:moveTo>
                    <a:pt x="796" y="696"/>
                  </a:moveTo>
                  <a:cubicBezTo>
                    <a:pt x="798" y="696"/>
                    <a:pt x="802" y="696"/>
                    <a:pt x="803" y="695"/>
                  </a:cubicBezTo>
                  <a:cubicBezTo>
                    <a:pt x="802" y="691"/>
                    <a:pt x="797" y="690"/>
                    <a:pt x="800" y="684"/>
                  </a:cubicBezTo>
                  <a:cubicBezTo>
                    <a:pt x="797" y="685"/>
                    <a:pt x="799" y="682"/>
                    <a:pt x="797" y="683"/>
                  </a:cubicBezTo>
                  <a:cubicBezTo>
                    <a:pt x="798" y="688"/>
                    <a:pt x="796" y="690"/>
                    <a:pt x="796" y="696"/>
                  </a:cubicBezTo>
                  <a:close/>
                  <a:moveTo>
                    <a:pt x="868" y="694"/>
                  </a:moveTo>
                  <a:cubicBezTo>
                    <a:pt x="871" y="694"/>
                    <a:pt x="872" y="693"/>
                    <a:pt x="874" y="694"/>
                  </a:cubicBezTo>
                  <a:cubicBezTo>
                    <a:pt x="874" y="690"/>
                    <a:pt x="874" y="685"/>
                    <a:pt x="871" y="684"/>
                  </a:cubicBezTo>
                  <a:cubicBezTo>
                    <a:pt x="872" y="689"/>
                    <a:pt x="868" y="689"/>
                    <a:pt x="868" y="694"/>
                  </a:cubicBezTo>
                  <a:close/>
                  <a:moveTo>
                    <a:pt x="853" y="687"/>
                  </a:moveTo>
                  <a:cubicBezTo>
                    <a:pt x="855" y="693"/>
                    <a:pt x="858" y="698"/>
                    <a:pt x="862" y="701"/>
                  </a:cubicBezTo>
                  <a:cubicBezTo>
                    <a:pt x="861" y="694"/>
                    <a:pt x="861" y="685"/>
                    <a:pt x="853" y="687"/>
                  </a:cubicBezTo>
                  <a:close/>
                  <a:moveTo>
                    <a:pt x="775" y="710"/>
                  </a:moveTo>
                  <a:cubicBezTo>
                    <a:pt x="779" y="709"/>
                    <a:pt x="785" y="710"/>
                    <a:pt x="789" y="709"/>
                  </a:cubicBezTo>
                  <a:cubicBezTo>
                    <a:pt x="787" y="703"/>
                    <a:pt x="790" y="694"/>
                    <a:pt x="786" y="690"/>
                  </a:cubicBezTo>
                  <a:cubicBezTo>
                    <a:pt x="785" y="700"/>
                    <a:pt x="777" y="702"/>
                    <a:pt x="775" y="710"/>
                  </a:cubicBezTo>
                  <a:close/>
                  <a:moveTo>
                    <a:pt x="878" y="711"/>
                  </a:moveTo>
                  <a:cubicBezTo>
                    <a:pt x="878" y="706"/>
                    <a:pt x="876" y="701"/>
                    <a:pt x="875" y="697"/>
                  </a:cubicBezTo>
                  <a:cubicBezTo>
                    <a:pt x="874" y="695"/>
                    <a:pt x="870" y="696"/>
                    <a:pt x="868" y="696"/>
                  </a:cubicBezTo>
                  <a:cubicBezTo>
                    <a:pt x="871" y="701"/>
                    <a:pt x="875" y="706"/>
                    <a:pt x="878" y="711"/>
                  </a:cubicBezTo>
                  <a:close/>
                  <a:moveTo>
                    <a:pt x="795" y="709"/>
                  </a:moveTo>
                  <a:cubicBezTo>
                    <a:pt x="801" y="709"/>
                    <a:pt x="800" y="703"/>
                    <a:pt x="803" y="700"/>
                  </a:cubicBezTo>
                  <a:cubicBezTo>
                    <a:pt x="802" y="699"/>
                    <a:pt x="798" y="700"/>
                    <a:pt x="797" y="699"/>
                  </a:cubicBezTo>
                  <a:cubicBezTo>
                    <a:pt x="795" y="701"/>
                    <a:pt x="795" y="705"/>
                    <a:pt x="795" y="709"/>
                  </a:cubicBezTo>
                  <a:close/>
                  <a:moveTo>
                    <a:pt x="867" y="708"/>
                  </a:moveTo>
                  <a:cubicBezTo>
                    <a:pt x="871" y="708"/>
                    <a:pt x="875" y="715"/>
                    <a:pt x="877" y="712"/>
                  </a:cubicBezTo>
                  <a:cubicBezTo>
                    <a:pt x="873" y="710"/>
                    <a:pt x="871" y="706"/>
                    <a:pt x="869" y="701"/>
                  </a:cubicBezTo>
                  <a:cubicBezTo>
                    <a:pt x="869" y="701"/>
                    <a:pt x="868" y="701"/>
                    <a:pt x="867" y="701"/>
                  </a:cubicBezTo>
                  <a:cubicBezTo>
                    <a:pt x="867" y="704"/>
                    <a:pt x="867" y="706"/>
                    <a:pt x="867" y="708"/>
                  </a:cubicBezTo>
                  <a:close/>
                  <a:moveTo>
                    <a:pt x="822" y="713"/>
                  </a:moveTo>
                  <a:cubicBezTo>
                    <a:pt x="822" y="716"/>
                    <a:pt x="825" y="716"/>
                    <a:pt x="826" y="717"/>
                  </a:cubicBezTo>
                  <a:cubicBezTo>
                    <a:pt x="835" y="715"/>
                    <a:pt x="856" y="721"/>
                    <a:pt x="860" y="713"/>
                  </a:cubicBezTo>
                  <a:cubicBezTo>
                    <a:pt x="848" y="713"/>
                    <a:pt x="833" y="710"/>
                    <a:pt x="822" y="713"/>
                  </a:cubicBezTo>
                  <a:close/>
                  <a:moveTo>
                    <a:pt x="815" y="716"/>
                  </a:moveTo>
                  <a:cubicBezTo>
                    <a:pt x="816" y="718"/>
                    <a:pt x="819" y="718"/>
                    <a:pt x="821" y="717"/>
                  </a:cubicBezTo>
                  <a:cubicBezTo>
                    <a:pt x="821" y="715"/>
                    <a:pt x="819" y="714"/>
                    <a:pt x="818" y="713"/>
                  </a:cubicBezTo>
                  <a:cubicBezTo>
                    <a:pt x="817" y="714"/>
                    <a:pt x="815" y="715"/>
                    <a:pt x="815" y="716"/>
                  </a:cubicBezTo>
                  <a:close/>
                  <a:moveTo>
                    <a:pt x="797" y="714"/>
                  </a:moveTo>
                  <a:cubicBezTo>
                    <a:pt x="797" y="715"/>
                    <a:pt x="797" y="716"/>
                    <a:pt x="797" y="716"/>
                  </a:cubicBezTo>
                  <a:cubicBezTo>
                    <a:pt x="801" y="717"/>
                    <a:pt x="812" y="719"/>
                    <a:pt x="813" y="714"/>
                  </a:cubicBezTo>
                  <a:cubicBezTo>
                    <a:pt x="808" y="714"/>
                    <a:pt x="801" y="713"/>
                    <a:pt x="797" y="714"/>
                  </a:cubicBezTo>
                  <a:close/>
                  <a:moveTo>
                    <a:pt x="773" y="716"/>
                  </a:moveTo>
                  <a:cubicBezTo>
                    <a:pt x="773" y="721"/>
                    <a:pt x="771" y="726"/>
                    <a:pt x="772" y="729"/>
                  </a:cubicBezTo>
                  <a:cubicBezTo>
                    <a:pt x="778" y="729"/>
                    <a:pt x="776" y="721"/>
                    <a:pt x="779" y="717"/>
                  </a:cubicBezTo>
                  <a:cubicBezTo>
                    <a:pt x="777" y="715"/>
                    <a:pt x="776" y="716"/>
                    <a:pt x="773" y="716"/>
                  </a:cubicBezTo>
                  <a:close/>
                  <a:moveTo>
                    <a:pt x="784" y="729"/>
                  </a:moveTo>
                  <a:cubicBezTo>
                    <a:pt x="785" y="729"/>
                    <a:pt x="786" y="729"/>
                    <a:pt x="787" y="729"/>
                  </a:cubicBezTo>
                  <a:cubicBezTo>
                    <a:pt x="788" y="728"/>
                    <a:pt x="789" y="725"/>
                    <a:pt x="789" y="722"/>
                  </a:cubicBezTo>
                  <a:cubicBezTo>
                    <a:pt x="787" y="722"/>
                    <a:pt x="786" y="719"/>
                    <a:pt x="783" y="720"/>
                  </a:cubicBezTo>
                  <a:cubicBezTo>
                    <a:pt x="783" y="721"/>
                    <a:pt x="783" y="727"/>
                    <a:pt x="784" y="729"/>
                  </a:cubicBezTo>
                  <a:close/>
                  <a:moveTo>
                    <a:pt x="858" y="729"/>
                  </a:moveTo>
                  <a:cubicBezTo>
                    <a:pt x="854" y="730"/>
                    <a:pt x="853" y="733"/>
                    <a:pt x="852" y="736"/>
                  </a:cubicBezTo>
                  <a:cubicBezTo>
                    <a:pt x="855" y="736"/>
                    <a:pt x="857" y="737"/>
                    <a:pt x="859" y="738"/>
                  </a:cubicBezTo>
                  <a:cubicBezTo>
                    <a:pt x="861" y="736"/>
                    <a:pt x="857" y="734"/>
                    <a:pt x="859" y="734"/>
                  </a:cubicBezTo>
                  <a:cubicBezTo>
                    <a:pt x="863" y="733"/>
                    <a:pt x="863" y="737"/>
                    <a:pt x="866" y="738"/>
                  </a:cubicBezTo>
                  <a:cubicBezTo>
                    <a:pt x="865" y="731"/>
                    <a:pt x="865" y="725"/>
                    <a:pt x="863" y="720"/>
                  </a:cubicBezTo>
                  <a:cubicBezTo>
                    <a:pt x="859" y="720"/>
                    <a:pt x="857" y="723"/>
                    <a:pt x="858" y="729"/>
                  </a:cubicBezTo>
                  <a:close/>
                  <a:moveTo>
                    <a:pt x="873" y="729"/>
                  </a:moveTo>
                  <a:cubicBezTo>
                    <a:pt x="874" y="726"/>
                    <a:pt x="874" y="721"/>
                    <a:pt x="871" y="720"/>
                  </a:cubicBezTo>
                  <a:cubicBezTo>
                    <a:pt x="870" y="722"/>
                    <a:pt x="870" y="729"/>
                    <a:pt x="873" y="729"/>
                  </a:cubicBezTo>
                  <a:close/>
                  <a:moveTo>
                    <a:pt x="880" y="723"/>
                  </a:moveTo>
                  <a:cubicBezTo>
                    <a:pt x="880" y="722"/>
                    <a:pt x="880" y="721"/>
                    <a:pt x="880" y="720"/>
                  </a:cubicBezTo>
                  <a:cubicBezTo>
                    <a:pt x="880" y="720"/>
                    <a:pt x="879" y="720"/>
                    <a:pt x="878" y="720"/>
                  </a:cubicBezTo>
                  <a:cubicBezTo>
                    <a:pt x="878" y="722"/>
                    <a:pt x="878" y="724"/>
                    <a:pt x="880" y="723"/>
                  </a:cubicBezTo>
                  <a:close/>
                  <a:moveTo>
                    <a:pt x="840" y="721"/>
                  </a:moveTo>
                  <a:cubicBezTo>
                    <a:pt x="842" y="728"/>
                    <a:pt x="847" y="726"/>
                    <a:pt x="852" y="727"/>
                  </a:cubicBezTo>
                  <a:cubicBezTo>
                    <a:pt x="854" y="726"/>
                    <a:pt x="857" y="725"/>
                    <a:pt x="857" y="721"/>
                  </a:cubicBezTo>
                  <a:cubicBezTo>
                    <a:pt x="852" y="719"/>
                    <a:pt x="846" y="722"/>
                    <a:pt x="840" y="721"/>
                  </a:cubicBezTo>
                  <a:close/>
                  <a:moveTo>
                    <a:pt x="810" y="722"/>
                  </a:moveTo>
                  <a:cubicBezTo>
                    <a:pt x="808" y="728"/>
                    <a:pt x="802" y="730"/>
                    <a:pt x="801" y="737"/>
                  </a:cubicBezTo>
                  <a:cubicBezTo>
                    <a:pt x="806" y="737"/>
                    <a:pt x="817" y="741"/>
                    <a:pt x="823" y="738"/>
                  </a:cubicBezTo>
                  <a:cubicBezTo>
                    <a:pt x="826" y="736"/>
                    <a:pt x="829" y="730"/>
                    <a:pt x="829" y="727"/>
                  </a:cubicBezTo>
                  <a:cubicBezTo>
                    <a:pt x="829" y="724"/>
                    <a:pt x="826" y="724"/>
                    <a:pt x="825" y="721"/>
                  </a:cubicBezTo>
                  <a:cubicBezTo>
                    <a:pt x="820" y="721"/>
                    <a:pt x="817" y="722"/>
                    <a:pt x="810" y="722"/>
                  </a:cubicBezTo>
                  <a:close/>
                  <a:moveTo>
                    <a:pt x="829" y="722"/>
                  </a:moveTo>
                  <a:cubicBezTo>
                    <a:pt x="829" y="724"/>
                    <a:pt x="831" y="724"/>
                    <a:pt x="833" y="724"/>
                  </a:cubicBezTo>
                  <a:cubicBezTo>
                    <a:pt x="834" y="720"/>
                    <a:pt x="830" y="721"/>
                    <a:pt x="829" y="722"/>
                  </a:cubicBezTo>
                  <a:close/>
                  <a:moveTo>
                    <a:pt x="795" y="723"/>
                  </a:moveTo>
                  <a:cubicBezTo>
                    <a:pt x="793" y="726"/>
                    <a:pt x="797" y="728"/>
                    <a:pt x="800" y="730"/>
                  </a:cubicBezTo>
                  <a:cubicBezTo>
                    <a:pt x="802" y="728"/>
                    <a:pt x="807" y="725"/>
                    <a:pt x="806" y="722"/>
                  </a:cubicBezTo>
                  <a:cubicBezTo>
                    <a:pt x="803" y="722"/>
                    <a:pt x="799" y="723"/>
                    <a:pt x="795" y="723"/>
                  </a:cubicBezTo>
                  <a:close/>
                  <a:moveTo>
                    <a:pt x="833" y="727"/>
                  </a:moveTo>
                  <a:cubicBezTo>
                    <a:pt x="834" y="728"/>
                    <a:pt x="837" y="727"/>
                    <a:pt x="839" y="727"/>
                  </a:cubicBezTo>
                  <a:cubicBezTo>
                    <a:pt x="839" y="722"/>
                    <a:pt x="834" y="723"/>
                    <a:pt x="833" y="727"/>
                  </a:cubicBezTo>
                  <a:close/>
                  <a:moveTo>
                    <a:pt x="882" y="731"/>
                  </a:moveTo>
                  <a:cubicBezTo>
                    <a:pt x="883" y="738"/>
                    <a:pt x="882" y="725"/>
                    <a:pt x="880" y="724"/>
                  </a:cubicBezTo>
                  <a:cubicBezTo>
                    <a:pt x="879" y="728"/>
                    <a:pt x="881" y="729"/>
                    <a:pt x="882" y="731"/>
                  </a:cubicBezTo>
                  <a:close/>
                  <a:moveTo>
                    <a:pt x="851" y="730"/>
                  </a:moveTo>
                  <a:cubicBezTo>
                    <a:pt x="851" y="729"/>
                    <a:pt x="849" y="728"/>
                    <a:pt x="847" y="728"/>
                  </a:cubicBezTo>
                  <a:cubicBezTo>
                    <a:pt x="846" y="732"/>
                    <a:pt x="851" y="734"/>
                    <a:pt x="851" y="730"/>
                  </a:cubicBezTo>
                  <a:close/>
                  <a:moveTo>
                    <a:pt x="836" y="729"/>
                  </a:moveTo>
                  <a:cubicBezTo>
                    <a:pt x="838" y="735"/>
                    <a:pt x="841" y="740"/>
                    <a:pt x="845" y="743"/>
                  </a:cubicBezTo>
                  <a:cubicBezTo>
                    <a:pt x="847" y="741"/>
                    <a:pt x="848" y="739"/>
                    <a:pt x="848" y="736"/>
                  </a:cubicBezTo>
                  <a:cubicBezTo>
                    <a:pt x="845" y="733"/>
                    <a:pt x="843" y="727"/>
                    <a:pt x="836" y="729"/>
                  </a:cubicBezTo>
                  <a:close/>
                  <a:moveTo>
                    <a:pt x="786" y="736"/>
                  </a:moveTo>
                  <a:cubicBezTo>
                    <a:pt x="788" y="735"/>
                    <a:pt x="786" y="732"/>
                    <a:pt x="786" y="731"/>
                  </a:cubicBezTo>
                  <a:cubicBezTo>
                    <a:pt x="785" y="731"/>
                    <a:pt x="785" y="731"/>
                    <a:pt x="784" y="731"/>
                  </a:cubicBezTo>
                  <a:cubicBezTo>
                    <a:pt x="782" y="732"/>
                    <a:pt x="784" y="736"/>
                    <a:pt x="786" y="736"/>
                  </a:cubicBezTo>
                  <a:close/>
                  <a:moveTo>
                    <a:pt x="793" y="739"/>
                  </a:moveTo>
                  <a:cubicBezTo>
                    <a:pt x="795" y="738"/>
                    <a:pt x="798" y="737"/>
                    <a:pt x="798" y="733"/>
                  </a:cubicBezTo>
                  <a:cubicBezTo>
                    <a:pt x="796" y="732"/>
                    <a:pt x="796" y="731"/>
                    <a:pt x="793" y="731"/>
                  </a:cubicBezTo>
                  <a:cubicBezTo>
                    <a:pt x="792" y="732"/>
                    <a:pt x="793" y="736"/>
                    <a:pt x="793" y="739"/>
                  </a:cubicBezTo>
                  <a:close/>
                  <a:moveTo>
                    <a:pt x="870" y="781"/>
                  </a:moveTo>
                  <a:cubicBezTo>
                    <a:pt x="870" y="781"/>
                    <a:pt x="870" y="780"/>
                    <a:pt x="869" y="780"/>
                  </a:cubicBezTo>
                  <a:cubicBezTo>
                    <a:pt x="862" y="769"/>
                    <a:pt x="854" y="759"/>
                    <a:pt x="846" y="750"/>
                  </a:cubicBezTo>
                  <a:cubicBezTo>
                    <a:pt x="841" y="743"/>
                    <a:pt x="837" y="735"/>
                    <a:pt x="830" y="731"/>
                  </a:cubicBezTo>
                  <a:cubicBezTo>
                    <a:pt x="818" y="749"/>
                    <a:pt x="803" y="769"/>
                    <a:pt x="793" y="787"/>
                  </a:cubicBezTo>
                  <a:cubicBezTo>
                    <a:pt x="818" y="786"/>
                    <a:pt x="847" y="787"/>
                    <a:pt x="873" y="785"/>
                  </a:cubicBezTo>
                  <a:cubicBezTo>
                    <a:pt x="871" y="780"/>
                    <a:pt x="872" y="774"/>
                    <a:pt x="870" y="766"/>
                  </a:cubicBezTo>
                  <a:cubicBezTo>
                    <a:pt x="869" y="765"/>
                    <a:pt x="867" y="768"/>
                    <a:pt x="866" y="766"/>
                  </a:cubicBezTo>
                  <a:cubicBezTo>
                    <a:pt x="866" y="764"/>
                    <a:pt x="870" y="767"/>
                    <a:pt x="870" y="764"/>
                  </a:cubicBezTo>
                  <a:cubicBezTo>
                    <a:pt x="862" y="758"/>
                    <a:pt x="862" y="744"/>
                    <a:pt x="848" y="747"/>
                  </a:cubicBezTo>
                  <a:cubicBezTo>
                    <a:pt x="853" y="754"/>
                    <a:pt x="857" y="761"/>
                    <a:pt x="864" y="766"/>
                  </a:cubicBezTo>
                  <a:cubicBezTo>
                    <a:pt x="861" y="772"/>
                    <a:pt x="874" y="776"/>
                    <a:pt x="870" y="781"/>
                  </a:cubicBezTo>
                  <a:close/>
                  <a:moveTo>
                    <a:pt x="769" y="740"/>
                  </a:moveTo>
                  <a:cubicBezTo>
                    <a:pt x="771" y="739"/>
                    <a:pt x="773" y="737"/>
                    <a:pt x="774" y="734"/>
                  </a:cubicBezTo>
                  <a:cubicBezTo>
                    <a:pt x="773" y="733"/>
                    <a:pt x="773" y="732"/>
                    <a:pt x="772" y="732"/>
                  </a:cubicBezTo>
                  <a:cubicBezTo>
                    <a:pt x="771" y="735"/>
                    <a:pt x="769" y="736"/>
                    <a:pt x="769" y="740"/>
                  </a:cubicBezTo>
                  <a:close/>
                  <a:moveTo>
                    <a:pt x="773" y="747"/>
                  </a:moveTo>
                  <a:cubicBezTo>
                    <a:pt x="775" y="747"/>
                    <a:pt x="778" y="748"/>
                    <a:pt x="780" y="747"/>
                  </a:cubicBezTo>
                  <a:cubicBezTo>
                    <a:pt x="779" y="742"/>
                    <a:pt x="781" y="734"/>
                    <a:pt x="778" y="732"/>
                  </a:cubicBezTo>
                  <a:cubicBezTo>
                    <a:pt x="777" y="737"/>
                    <a:pt x="775" y="742"/>
                    <a:pt x="773" y="747"/>
                  </a:cubicBezTo>
                  <a:close/>
                  <a:moveTo>
                    <a:pt x="1188" y="740"/>
                  </a:moveTo>
                  <a:cubicBezTo>
                    <a:pt x="1189" y="739"/>
                    <a:pt x="1189" y="733"/>
                    <a:pt x="1187" y="732"/>
                  </a:cubicBezTo>
                  <a:cubicBezTo>
                    <a:pt x="1186" y="734"/>
                    <a:pt x="1185" y="741"/>
                    <a:pt x="1188" y="740"/>
                  </a:cubicBezTo>
                  <a:close/>
                  <a:moveTo>
                    <a:pt x="878" y="751"/>
                  </a:moveTo>
                  <a:cubicBezTo>
                    <a:pt x="880" y="751"/>
                    <a:pt x="881" y="751"/>
                    <a:pt x="882" y="751"/>
                  </a:cubicBezTo>
                  <a:cubicBezTo>
                    <a:pt x="880" y="745"/>
                    <a:pt x="880" y="738"/>
                    <a:pt x="877" y="733"/>
                  </a:cubicBezTo>
                  <a:cubicBezTo>
                    <a:pt x="877" y="738"/>
                    <a:pt x="877" y="745"/>
                    <a:pt x="878" y="751"/>
                  </a:cubicBezTo>
                  <a:close/>
                  <a:moveTo>
                    <a:pt x="855" y="740"/>
                  </a:moveTo>
                  <a:cubicBezTo>
                    <a:pt x="858" y="741"/>
                    <a:pt x="856" y="745"/>
                    <a:pt x="860" y="744"/>
                  </a:cubicBezTo>
                  <a:cubicBezTo>
                    <a:pt x="860" y="743"/>
                    <a:pt x="859" y="742"/>
                    <a:pt x="860" y="742"/>
                  </a:cubicBezTo>
                  <a:cubicBezTo>
                    <a:pt x="861" y="744"/>
                    <a:pt x="865" y="745"/>
                    <a:pt x="867" y="744"/>
                  </a:cubicBezTo>
                  <a:cubicBezTo>
                    <a:pt x="867" y="742"/>
                    <a:pt x="865" y="742"/>
                    <a:pt x="866" y="740"/>
                  </a:cubicBezTo>
                  <a:cubicBezTo>
                    <a:pt x="861" y="738"/>
                    <a:pt x="858" y="739"/>
                    <a:pt x="855" y="740"/>
                  </a:cubicBezTo>
                  <a:close/>
                  <a:moveTo>
                    <a:pt x="800" y="741"/>
                  </a:moveTo>
                  <a:cubicBezTo>
                    <a:pt x="799" y="743"/>
                    <a:pt x="799" y="745"/>
                    <a:pt x="797" y="745"/>
                  </a:cubicBezTo>
                  <a:cubicBezTo>
                    <a:pt x="797" y="744"/>
                    <a:pt x="799" y="743"/>
                    <a:pt x="798" y="740"/>
                  </a:cubicBezTo>
                  <a:cubicBezTo>
                    <a:pt x="793" y="742"/>
                    <a:pt x="788" y="749"/>
                    <a:pt x="792" y="755"/>
                  </a:cubicBezTo>
                  <a:cubicBezTo>
                    <a:pt x="798" y="754"/>
                    <a:pt x="806" y="755"/>
                    <a:pt x="813" y="754"/>
                  </a:cubicBezTo>
                  <a:cubicBezTo>
                    <a:pt x="814" y="748"/>
                    <a:pt x="820" y="746"/>
                    <a:pt x="820" y="740"/>
                  </a:cubicBezTo>
                  <a:cubicBezTo>
                    <a:pt x="815" y="739"/>
                    <a:pt x="809" y="741"/>
                    <a:pt x="804" y="739"/>
                  </a:cubicBezTo>
                  <a:cubicBezTo>
                    <a:pt x="802" y="744"/>
                    <a:pt x="812" y="749"/>
                    <a:pt x="808" y="753"/>
                  </a:cubicBezTo>
                  <a:cubicBezTo>
                    <a:pt x="805" y="750"/>
                    <a:pt x="805" y="743"/>
                    <a:pt x="800" y="741"/>
                  </a:cubicBezTo>
                  <a:close/>
                  <a:moveTo>
                    <a:pt x="847" y="743"/>
                  </a:moveTo>
                  <a:cubicBezTo>
                    <a:pt x="848" y="743"/>
                    <a:pt x="848" y="744"/>
                    <a:pt x="848" y="744"/>
                  </a:cubicBezTo>
                  <a:cubicBezTo>
                    <a:pt x="850" y="744"/>
                    <a:pt x="851" y="745"/>
                    <a:pt x="854" y="744"/>
                  </a:cubicBezTo>
                  <a:cubicBezTo>
                    <a:pt x="853" y="742"/>
                    <a:pt x="851" y="740"/>
                    <a:pt x="849" y="739"/>
                  </a:cubicBezTo>
                  <a:cubicBezTo>
                    <a:pt x="850" y="741"/>
                    <a:pt x="847" y="741"/>
                    <a:pt x="847" y="743"/>
                  </a:cubicBezTo>
                  <a:close/>
                  <a:moveTo>
                    <a:pt x="873" y="745"/>
                  </a:moveTo>
                  <a:cubicBezTo>
                    <a:pt x="874" y="744"/>
                    <a:pt x="874" y="742"/>
                    <a:pt x="872" y="741"/>
                  </a:cubicBezTo>
                  <a:cubicBezTo>
                    <a:pt x="871" y="742"/>
                    <a:pt x="871" y="745"/>
                    <a:pt x="873" y="745"/>
                  </a:cubicBezTo>
                  <a:close/>
                  <a:moveTo>
                    <a:pt x="1177" y="747"/>
                  </a:moveTo>
                  <a:cubicBezTo>
                    <a:pt x="1179" y="747"/>
                    <a:pt x="1183" y="748"/>
                    <a:pt x="1182" y="744"/>
                  </a:cubicBezTo>
                  <a:cubicBezTo>
                    <a:pt x="1180" y="744"/>
                    <a:pt x="1179" y="745"/>
                    <a:pt x="1177" y="747"/>
                  </a:cubicBezTo>
                  <a:close/>
                  <a:moveTo>
                    <a:pt x="1186" y="745"/>
                  </a:moveTo>
                  <a:cubicBezTo>
                    <a:pt x="1185" y="747"/>
                    <a:pt x="1187" y="747"/>
                    <a:pt x="1188" y="748"/>
                  </a:cubicBezTo>
                  <a:cubicBezTo>
                    <a:pt x="1189" y="747"/>
                    <a:pt x="1191" y="747"/>
                    <a:pt x="1191" y="744"/>
                  </a:cubicBezTo>
                  <a:cubicBezTo>
                    <a:pt x="1189" y="745"/>
                    <a:pt x="1187" y="744"/>
                    <a:pt x="1186" y="745"/>
                  </a:cubicBezTo>
                  <a:close/>
                  <a:moveTo>
                    <a:pt x="860" y="749"/>
                  </a:moveTo>
                  <a:cubicBezTo>
                    <a:pt x="862" y="749"/>
                    <a:pt x="863" y="751"/>
                    <a:pt x="864" y="753"/>
                  </a:cubicBezTo>
                  <a:cubicBezTo>
                    <a:pt x="866" y="752"/>
                    <a:pt x="867" y="754"/>
                    <a:pt x="869" y="753"/>
                  </a:cubicBezTo>
                  <a:cubicBezTo>
                    <a:pt x="869" y="750"/>
                    <a:pt x="866" y="751"/>
                    <a:pt x="867" y="748"/>
                  </a:cubicBezTo>
                  <a:cubicBezTo>
                    <a:pt x="864" y="748"/>
                    <a:pt x="861" y="746"/>
                    <a:pt x="860" y="749"/>
                  </a:cubicBezTo>
                  <a:close/>
                  <a:moveTo>
                    <a:pt x="770" y="759"/>
                  </a:moveTo>
                  <a:cubicBezTo>
                    <a:pt x="767" y="765"/>
                    <a:pt x="762" y="776"/>
                    <a:pt x="763" y="781"/>
                  </a:cubicBezTo>
                  <a:cubicBezTo>
                    <a:pt x="765" y="778"/>
                    <a:pt x="767" y="774"/>
                    <a:pt x="770" y="772"/>
                  </a:cubicBezTo>
                  <a:cubicBezTo>
                    <a:pt x="771" y="763"/>
                    <a:pt x="784" y="762"/>
                    <a:pt x="779" y="749"/>
                  </a:cubicBezTo>
                  <a:cubicBezTo>
                    <a:pt x="774" y="750"/>
                    <a:pt x="770" y="751"/>
                    <a:pt x="770" y="759"/>
                  </a:cubicBezTo>
                  <a:close/>
                  <a:moveTo>
                    <a:pt x="1186" y="759"/>
                  </a:moveTo>
                  <a:cubicBezTo>
                    <a:pt x="1187" y="759"/>
                    <a:pt x="1190" y="759"/>
                    <a:pt x="1190" y="759"/>
                  </a:cubicBezTo>
                  <a:cubicBezTo>
                    <a:pt x="1190" y="756"/>
                    <a:pt x="1192" y="752"/>
                    <a:pt x="1190" y="752"/>
                  </a:cubicBezTo>
                  <a:cubicBezTo>
                    <a:pt x="1191" y="757"/>
                    <a:pt x="1184" y="754"/>
                    <a:pt x="1186" y="759"/>
                  </a:cubicBezTo>
                  <a:close/>
                  <a:moveTo>
                    <a:pt x="878" y="755"/>
                  </a:moveTo>
                  <a:cubicBezTo>
                    <a:pt x="878" y="760"/>
                    <a:pt x="875" y="771"/>
                    <a:pt x="881" y="772"/>
                  </a:cubicBezTo>
                  <a:cubicBezTo>
                    <a:pt x="883" y="772"/>
                    <a:pt x="882" y="768"/>
                    <a:pt x="884" y="767"/>
                  </a:cubicBezTo>
                  <a:cubicBezTo>
                    <a:pt x="885" y="771"/>
                    <a:pt x="883" y="771"/>
                    <a:pt x="882" y="774"/>
                  </a:cubicBezTo>
                  <a:cubicBezTo>
                    <a:pt x="885" y="779"/>
                    <a:pt x="889" y="783"/>
                    <a:pt x="892" y="788"/>
                  </a:cubicBezTo>
                  <a:cubicBezTo>
                    <a:pt x="891" y="775"/>
                    <a:pt x="886" y="765"/>
                    <a:pt x="882" y="753"/>
                  </a:cubicBezTo>
                  <a:cubicBezTo>
                    <a:pt x="880" y="754"/>
                    <a:pt x="880" y="758"/>
                    <a:pt x="878" y="755"/>
                  </a:cubicBezTo>
                  <a:close/>
                  <a:moveTo>
                    <a:pt x="785" y="764"/>
                  </a:moveTo>
                  <a:cubicBezTo>
                    <a:pt x="785" y="762"/>
                    <a:pt x="787" y="757"/>
                    <a:pt x="784" y="757"/>
                  </a:cubicBezTo>
                  <a:cubicBezTo>
                    <a:pt x="783" y="759"/>
                    <a:pt x="783" y="763"/>
                    <a:pt x="785" y="764"/>
                  </a:cubicBezTo>
                  <a:close/>
                  <a:moveTo>
                    <a:pt x="789" y="777"/>
                  </a:moveTo>
                  <a:cubicBezTo>
                    <a:pt x="793" y="777"/>
                    <a:pt x="795" y="777"/>
                    <a:pt x="798" y="775"/>
                  </a:cubicBezTo>
                  <a:cubicBezTo>
                    <a:pt x="801" y="772"/>
                    <a:pt x="806" y="763"/>
                    <a:pt x="808" y="758"/>
                  </a:cubicBezTo>
                  <a:cubicBezTo>
                    <a:pt x="802" y="758"/>
                    <a:pt x="795" y="759"/>
                    <a:pt x="791" y="757"/>
                  </a:cubicBezTo>
                  <a:cubicBezTo>
                    <a:pt x="791" y="764"/>
                    <a:pt x="787" y="770"/>
                    <a:pt x="789" y="777"/>
                  </a:cubicBezTo>
                  <a:close/>
                  <a:moveTo>
                    <a:pt x="1188" y="766"/>
                  </a:moveTo>
                  <a:cubicBezTo>
                    <a:pt x="1189" y="765"/>
                    <a:pt x="1191" y="765"/>
                    <a:pt x="1190" y="762"/>
                  </a:cubicBezTo>
                  <a:cubicBezTo>
                    <a:pt x="1189" y="762"/>
                    <a:pt x="1188" y="764"/>
                    <a:pt x="1186" y="762"/>
                  </a:cubicBezTo>
                  <a:cubicBezTo>
                    <a:pt x="1186" y="765"/>
                    <a:pt x="1187" y="766"/>
                    <a:pt x="1188" y="766"/>
                  </a:cubicBezTo>
                  <a:close/>
                  <a:moveTo>
                    <a:pt x="761" y="788"/>
                  </a:moveTo>
                  <a:cubicBezTo>
                    <a:pt x="768" y="788"/>
                    <a:pt x="776" y="789"/>
                    <a:pt x="781" y="788"/>
                  </a:cubicBezTo>
                  <a:cubicBezTo>
                    <a:pt x="780" y="780"/>
                    <a:pt x="782" y="769"/>
                    <a:pt x="778" y="764"/>
                  </a:cubicBezTo>
                  <a:cubicBezTo>
                    <a:pt x="774" y="773"/>
                    <a:pt x="765" y="780"/>
                    <a:pt x="761" y="788"/>
                  </a:cubicBezTo>
                  <a:close/>
                  <a:moveTo>
                    <a:pt x="1190" y="775"/>
                  </a:moveTo>
                  <a:cubicBezTo>
                    <a:pt x="1190" y="773"/>
                    <a:pt x="1190" y="772"/>
                    <a:pt x="1190" y="770"/>
                  </a:cubicBezTo>
                  <a:cubicBezTo>
                    <a:pt x="1189" y="770"/>
                    <a:pt x="1188" y="770"/>
                    <a:pt x="1186" y="770"/>
                  </a:cubicBezTo>
                  <a:cubicBezTo>
                    <a:pt x="1185" y="773"/>
                    <a:pt x="1186" y="775"/>
                    <a:pt x="1190" y="775"/>
                  </a:cubicBezTo>
                  <a:close/>
                  <a:moveTo>
                    <a:pt x="878" y="786"/>
                  </a:moveTo>
                  <a:cubicBezTo>
                    <a:pt x="883" y="787"/>
                    <a:pt x="886" y="790"/>
                    <a:pt x="891" y="790"/>
                  </a:cubicBezTo>
                  <a:cubicBezTo>
                    <a:pt x="887" y="785"/>
                    <a:pt x="883" y="780"/>
                    <a:pt x="878" y="775"/>
                  </a:cubicBezTo>
                  <a:cubicBezTo>
                    <a:pt x="877" y="777"/>
                    <a:pt x="879" y="782"/>
                    <a:pt x="878" y="786"/>
                  </a:cubicBezTo>
                  <a:close/>
                  <a:moveTo>
                    <a:pt x="1186" y="782"/>
                  </a:moveTo>
                  <a:cubicBezTo>
                    <a:pt x="1190" y="781"/>
                    <a:pt x="1191" y="783"/>
                    <a:pt x="1192" y="785"/>
                  </a:cubicBezTo>
                  <a:cubicBezTo>
                    <a:pt x="1193" y="778"/>
                    <a:pt x="1187" y="779"/>
                    <a:pt x="1184" y="776"/>
                  </a:cubicBezTo>
                  <a:cubicBezTo>
                    <a:pt x="1184" y="779"/>
                    <a:pt x="1186" y="779"/>
                    <a:pt x="1186" y="782"/>
                  </a:cubicBezTo>
                  <a:close/>
                  <a:moveTo>
                    <a:pt x="787" y="788"/>
                  </a:moveTo>
                  <a:cubicBezTo>
                    <a:pt x="791" y="787"/>
                    <a:pt x="794" y="781"/>
                    <a:pt x="794" y="779"/>
                  </a:cubicBezTo>
                  <a:cubicBezTo>
                    <a:pt x="787" y="777"/>
                    <a:pt x="787" y="781"/>
                    <a:pt x="787" y="788"/>
                  </a:cubicBezTo>
                  <a:close/>
                  <a:moveTo>
                    <a:pt x="1186" y="796"/>
                  </a:moveTo>
                  <a:cubicBezTo>
                    <a:pt x="1187" y="795"/>
                    <a:pt x="1186" y="793"/>
                    <a:pt x="1186" y="791"/>
                  </a:cubicBezTo>
                  <a:cubicBezTo>
                    <a:pt x="1188" y="791"/>
                    <a:pt x="1188" y="790"/>
                    <a:pt x="1190" y="790"/>
                  </a:cubicBezTo>
                  <a:cubicBezTo>
                    <a:pt x="1190" y="788"/>
                    <a:pt x="1190" y="786"/>
                    <a:pt x="1188" y="785"/>
                  </a:cubicBezTo>
                  <a:cubicBezTo>
                    <a:pt x="1188" y="788"/>
                    <a:pt x="1180" y="793"/>
                    <a:pt x="1186" y="796"/>
                  </a:cubicBezTo>
                  <a:close/>
                  <a:moveTo>
                    <a:pt x="821" y="790"/>
                  </a:moveTo>
                  <a:cubicBezTo>
                    <a:pt x="821" y="794"/>
                    <a:pt x="824" y="794"/>
                    <a:pt x="826" y="796"/>
                  </a:cubicBezTo>
                  <a:cubicBezTo>
                    <a:pt x="834" y="796"/>
                    <a:pt x="844" y="796"/>
                    <a:pt x="851" y="796"/>
                  </a:cubicBezTo>
                  <a:cubicBezTo>
                    <a:pt x="860" y="795"/>
                    <a:pt x="870" y="797"/>
                    <a:pt x="873" y="790"/>
                  </a:cubicBezTo>
                  <a:cubicBezTo>
                    <a:pt x="861" y="789"/>
                    <a:pt x="838" y="788"/>
                    <a:pt x="821" y="790"/>
                  </a:cubicBezTo>
                  <a:close/>
                  <a:moveTo>
                    <a:pt x="1209" y="791"/>
                  </a:moveTo>
                  <a:cubicBezTo>
                    <a:pt x="1204" y="795"/>
                    <a:pt x="1200" y="788"/>
                    <a:pt x="1197" y="790"/>
                  </a:cubicBezTo>
                  <a:cubicBezTo>
                    <a:pt x="1196" y="792"/>
                    <a:pt x="1198" y="793"/>
                    <a:pt x="1197" y="796"/>
                  </a:cubicBezTo>
                  <a:cubicBezTo>
                    <a:pt x="1206" y="796"/>
                    <a:pt x="1216" y="797"/>
                    <a:pt x="1223" y="795"/>
                  </a:cubicBezTo>
                  <a:cubicBezTo>
                    <a:pt x="1218" y="794"/>
                    <a:pt x="1211" y="795"/>
                    <a:pt x="1209" y="791"/>
                  </a:cubicBezTo>
                  <a:close/>
                  <a:moveTo>
                    <a:pt x="787" y="796"/>
                  </a:moveTo>
                  <a:cubicBezTo>
                    <a:pt x="795" y="794"/>
                    <a:pt x="810" y="801"/>
                    <a:pt x="811" y="790"/>
                  </a:cubicBezTo>
                  <a:cubicBezTo>
                    <a:pt x="802" y="792"/>
                    <a:pt x="788" y="787"/>
                    <a:pt x="787" y="796"/>
                  </a:cubicBezTo>
                  <a:close/>
                  <a:moveTo>
                    <a:pt x="879" y="791"/>
                  </a:moveTo>
                  <a:cubicBezTo>
                    <a:pt x="879" y="794"/>
                    <a:pt x="881" y="794"/>
                    <a:pt x="884" y="794"/>
                  </a:cubicBezTo>
                  <a:cubicBezTo>
                    <a:pt x="884" y="793"/>
                    <a:pt x="884" y="792"/>
                    <a:pt x="884" y="792"/>
                  </a:cubicBezTo>
                  <a:cubicBezTo>
                    <a:pt x="883" y="791"/>
                    <a:pt x="880" y="790"/>
                    <a:pt x="879" y="791"/>
                  </a:cubicBezTo>
                  <a:close/>
                  <a:moveTo>
                    <a:pt x="1166" y="794"/>
                  </a:moveTo>
                  <a:cubicBezTo>
                    <a:pt x="1170" y="797"/>
                    <a:pt x="1174" y="797"/>
                    <a:pt x="1179" y="796"/>
                  </a:cubicBezTo>
                  <a:cubicBezTo>
                    <a:pt x="1180" y="795"/>
                    <a:pt x="1180" y="792"/>
                    <a:pt x="1181" y="791"/>
                  </a:cubicBezTo>
                  <a:cubicBezTo>
                    <a:pt x="1175" y="789"/>
                    <a:pt x="1171" y="793"/>
                    <a:pt x="1166" y="794"/>
                  </a:cubicBezTo>
                  <a:close/>
                  <a:moveTo>
                    <a:pt x="1188" y="796"/>
                  </a:moveTo>
                  <a:cubicBezTo>
                    <a:pt x="1191" y="797"/>
                    <a:pt x="1192" y="795"/>
                    <a:pt x="1194" y="795"/>
                  </a:cubicBezTo>
                  <a:cubicBezTo>
                    <a:pt x="1194" y="792"/>
                    <a:pt x="1194" y="790"/>
                    <a:pt x="1191" y="790"/>
                  </a:cubicBezTo>
                  <a:cubicBezTo>
                    <a:pt x="1193" y="795"/>
                    <a:pt x="1189" y="794"/>
                    <a:pt x="1188" y="796"/>
                  </a:cubicBezTo>
                  <a:close/>
                  <a:moveTo>
                    <a:pt x="769" y="792"/>
                  </a:moveTo>
                  <a:cubicBezTo>
                    <a:pt x="771" y="795"/>
                    <a:pt x="778" y="794"/>
                    <a:pt x="781" y="796"/>
                  </a:cubicBezTo>
                  <a:cubicBezTo>
                    <a:pt x="781" y="794"/>
                    <a:pt x="781" y="793"/>
                    <a:pt x="781" y="791"/>
                  </a:cubicBezTo>
                  <a:cubicBezTo>
                    <a:pt x="777" y="791"/>
                    <a:pt x="774" y="792"/>
                    <a:pt x="769" y="792"/>
                  </a:cubicBezTo>
                  <a:close/>
                  <a:moveTo>
                    <a:pt x="811" y="796"/>
                  </a:moveTo>
                  <a:cubicBezTo>
                    <a:pt x="814" y="797"/>
                    <a:pt x="818" y="797"/>
                    <a:pt x="821" y="796"/>
                  </a:cubicBezTo>
                  <a:cubicBezTo>
                    <a:pt x="821" y="793"/>
                    <a:pt x="819" y="791"/>
                    <a:pt x="816" y="791"/>
                  </a:cubicBezTo>
                  <a:cubicBezTo>
                    <a:pt x="814" y="792"/>
                    <a:pt x="813" y="794"/>
                    <a:pt x="811" y="796"/>
                  </a:cubicBezTo>
                  <a:close/>
                  <a:moveTo>
                    <a:pt x="758" y="808"/>
                  </a:moveTo>
                  <a:cubicBezTo>
                    <a:pt x="760" y="810"/>
                    <a:pt x="762" y="809"/>
                    <a:pt x="764" y="808"/>
                  </a:cubicBezTo>
                  <a:cubicBezTo>
                    <a:pt x="763" y="801"/>
                    <a:pt x="769" y="801"/>
                    <a:pt x="767" y="794"/>
                  </a:cubicBezTo>
                  <a:cubicBezTo>
                    <a:pt x="757" y="789"/>
                    <a:pt x="759" y="800"/>
                    <a:pt x="758" y="808"/>
                  </a:cubicBezTo>
                  <a:close/>
                  <a:moveTo>
                    <a:pt x="1155" y="798"/>
                  </a:moveTo>
                  <a:cubicBezTo>
                    <a:pt x="1158" y="798"/>
                    <a:pt x="1160" y="797"/>
                    <a:pt x="1163" y="797"/>
                  </a:cubicBezTo>
                  <a:cubicBezTo>
                    <a:pt x="1163" y="795"/>
                    <a:pt x="1159" y="795"/>
                    <a:pt x="1158" y="794"/>
                  </a:cubicBezTo>
                  <a:cubicBezTo>
                    <a:pt x="1158" y="797"/>
                    <a:pt x="1156" y="796"/>
                    <a:pt x="1155" y="798"/>
                  </a:cubicBezTo>
                  <a:close/>
                  <a:moveTo>
                    <a:pt x="773" y="809"/>
                  </a:moveTo>
                  <a:cubicBezTo>
                    <a:pt x="775" y="809"/>
                    <a:pt x="776" y="809"/>
                    <a:pt x="778" y="809"/>
                  </a:cubicBezTo>
                  <a:cubicBezTo>
                    <a:pt x="780" y="806"/>
                    <a:pt x="780" y="802"/>
                    <a:pt x="781" y="799"/>
                  </a:cubicBezTo>
                  <a:cubicBezTo>
                    <a:pt x="777" y="799"/>
                    <a:pt x="776" y="797"/>
                    <a:pt x="772" y="797"/>
                  </a:cubicBezTo>
                  <a:cubicBezTo>
                    <a:pt x="772" y="801"/>
                    <a:pt x="772" y="806"/>
                    <a:pt x="773" y="809"/>
                  </a:cubicBezTo>
                  <a:close/>
                  <a:moveTo>
                    <a:pt x="891" y="801"/>
                  </a:moveTo>
                  <a:cubicBezTo>
                    <a:pt x="892" y="801"/>
                    <a:pt x="893" y="801"/>
                    <a:pt x="893" y="802"/>
                  </a:cubicBezTo>
                  <a:cubicBezTo>
                    <a:pt x="894" y="801"/>
                    <a:pt x="895" y="799"/>
                    <a:pt x="894" y="797"/>
                  </a:cubicBezTo>
                  <a:cubicBezTo>
                    <a:pt x="893" y="797"/>
                    <a:pt x="892" y="797"/>
                    <a:pt x="892" y="797"/>
                  </a:cubicBezTo>
                  <a:cubicBezTo>
                    <a:pt x="891" y="798"/>
                    <a:pt x="891" y="799"/>
                    <a:pt x="891" y="801"/>
                  </a:cubicBezTo>
                  <a:close/>
                  <a:moveTo>
                    <a:pt x="866" y="810"/>
                  </a:moveTo>
                  <a:cubicBezTo>
                    <a:pt x="862" y="810"/>
                    <a:pt x="862" y="814"/>
                    <a:pt x="860" y="815"/>
                  </a:cubicBezTo>
                  <a:cubicBezTo>
                    <a:pt x="862" y="819"/>
                    <a:pt x="865" y="823"/>
                    <a:pt x="869" y="826"/>
                  </a:cubicBezTo>
                  <a:cubicBezTo>
                    <a:pt x="872" y="826"/>
                    <a:pt x="874" y="826"/>
                    <a:pt x="877" y="826"/>
                  </a:cubicBezTo>
                  <a:cubicBezTo>
                    <a:pt x="879" y="823"/>
                    <a:pt x="874" y="822"/>
                    <a:pt x="875" y="821"/>
                  </a:cubicBezTo>
                  <a:cubicBezTo>
                    <a:pt x="877" y="821"/>
                    <a:pt x="878" y="823"/>
                    <a:pt x="877" y="820"/>
                  </a:cubicBezTo>
                  <a:cubicBezTo>
                    <a:pt x="875" y="816"/>
                    <a:pt x="878" y="812"/>
                    <a:pt x="876" y="808"/>
                  </a:cubicBezTo>
                  <a:cubicBezTo>
                    <a:pt x="874" y="808"/>
                    <a:pt x="869" y="809"/>
                    <a:pt x="869" y="807"/>
                  </a:cubicBezTo>
                  <a:cubicBezTo>
                    <a:pt x="871" y="806"/>
                    <a:pt x="875" y="807"/>
                    <a:pt x="876" y="806"/>
                  </a:cubicBezTo>
                  <a:cubicBezTo>
                    <a:pt x="876" y="803"/>
                    <a:pt x="875" y="800"/>
                    <a:pt x="874" y="798"/>
                  </a:cubicBezTo>
                  <a:cubicBezTo>
                    <a:pt x="867" y="798"/>
                    <a:pt x="866" y="805"/>
                    <a:pt x="866" y="810"/>
                  </a:cubicBezTo>
                  <a:close/>
                  <a:moveTo>
                    <a:pt x="880" y="805"/>
                  </a:moveTo>
                  <a:cubicBezTo>
                    <a:pt x="882" y="804"/>
                    <a:pt x="881" y="806"/>
                    <a:pt x="884" y="808"/>
                  </a:cubicBezTo>
                  <a:cubicBezTo>
                    <a:pt x="885" y="805"/>
                    <a:pt x="885" y="800"/>
                    <a:pt x="885" y="798"/>
                  </a:cubicBezTo>
                  <a:cubicBezTo>
                    <a:pt x="884" y="798"/>
                    <a:pt x="883" y="798"/>
                    <a:pt x="882" y="798"/>
                  </a:cubicBezTo>
                  <a:cubicBezTo>
                    <a:pt x="882" y="801"/>
                    <a:pt x="879" y="802"/>
                    <a:pt x="880" y="805"/>
                  </a:cubicBezTo>
                  <a:close/>
                  <a:moveTo>
                    <a:pt x="796" y="820"/>
                  </a:moveTo>
                  <a:cubicBezTo>
                    <a:pt x="793" y="820"/>
                    <a:pt x="793" y="822"/>
                    <a:pt x="792" y="819"/>
                  </a:cubicBezTo>
                  <a:cubicBezTo>
                    <a:pt x="788" y="822"/>
                    <a:pt x="780" y="828"/>
                    <a:pt x="784" y="835"/>
                  </a:cubicBezTo>
                  <a:cubicBezTo>
                    <a:pt x="791" y="835"/>
                    <a:pt x="798" y="836"/>
                    <a:pt x="803" y="836"/>
                  </a:cubicBezTo>
                  <a:cubicBezTo>
                    <a:pt x="805" y="829"/>
                    <a:pt x="798" y="826"/>
                    <a:pt x="796" y="820"/>
                  </a:cubicBezTo>
                  <a:close/>
                  <a:moveTo>
                    <a:pt x="807" y="835"/>
                  </a:moveTo>
                  <a:cubicBezTo>
                    <a:pt x="812" y="829"/>
                    <a:pt x="818" y="825"/>
                    <a:pt x="820" y="817"/>
                  </a:cubicBezTo>
                  <a:cubicBezTo>
                    <a:pt x="825" y="815"/>
                    <a:pt x="828" y="810"/>
                    <a:pt x="830" y="805"/>
                  </a:cubicBezTo>
                  <a:cubicBezTo>
                    <a:pt x="828" y="803"/>
                    <a:pt x="826" y="800"/>
                    <a:pt x="823" y="798"/>
                  </a:cubicBezTo>
                  <a:cubicBezTo>
                    <a:pt x="818" y="798"/>
                    <a:pt x="813" y="799"/>
                    <a:pt x="808" y="799"/>
                  </a:cubicBezTo>
                  <a:cubicBezTo>
                    <a:pt x="804" y="805"/>
                    <a:pt x="799" y="809"/>
                    <a:pt x="795" y="814"/>
                  </a:cubicBezTo>
                  <a:cubicBezTo>
                    <a:pt x="799" y="821"/>
                    <a:pt x="801" y="829"/>
                    <a:pt x="807" y="835"/>
                  </a:cubicBezTo>
                  <a:close/>
                  <a:moveTo>
                    <a:pt x="828" y="800"/>
                  </a:moveTo>
                  <a:cubicBezTo>
                    <a:pt x="830" y="801"/>
                    <a:pt x="831" y="803"/>
                    <a:pt x="833" y="804"/>
                  </a:cubicBezTo>
                  <a:cubicBezTo>
                    <a:pt x="833" y="802"/>
                    <a:pt x="836" y="801"/>
                    <a:pt x="836" y="799"/>
                  </a:cubicBezTo>
                  <a:cubicBezTo>
                    <a:pt x="834" y="798"/>
                    <a:pt x="829" y="798"/>
                    <a:pt x="828" y="800"/>
                  </a:cubicBezTo>
                  <a:close/>
                  <a:moveTo>
                    <a:pt x="859" y="814"/>
                  </a:moveTo>
                  <a:cubicBezTo>
                    <a:pt x="861" y="808"/>
                    <a:pt x="865" y="804"/>
                    <a:pt x="867" y="799"/>
                  </a:cubicBezTo>
                  <a:cubicBezTo>
                    <a:pt x="861" y="798"/>
                    <a:pt x="852" y="799"/>
                    <a:pt x="844" y="798"/>
                  </a:cubicBezTo>
                  <a:cubicBezTo>
                    <a:pt x="848" y="804"/>
                    <a:pt x="853" y="810"/>
                    <a:pt x="859" y="814"/>
                  </a:cubicBezTo>
                  <a:close/>
                  <a:moveTo>
                    <a:pt x="787" y="800"/>
                  </a:moveTo>
                  <a:cubicBezTo>
                    <a:pt x="786" y="804"/>
                    <a:pt x="790" y="809"/>
                    <a:pt x="795" y="809"/>
                  </a:cubicBezTo>
                  <a:cubicBezTo>
                    <a:pt x="798" y="806"/>
                    <a:pt x="802" y="804"/>
                    <a:pt x="804" y="799"/>
                  </a:cubicBezTo>
                  <a:cubicBezTo>
                    <a:pt x="798" y="799"/>
                    <a:pt x="790" y="799"/>
                    <a:pt x="787" y="800"/>
                  </a:cubicBezTo>
                  <a:close/>
                  <a:moveTo>
                    <a:pt x="839" y="799"/>
                  </a:moveTo>
                  <a:cubicBezTo>
                    <a:pt x="837" y="801"/>
                    <a:pt x="835" y="802"/>
                    <a:pt x="834" y="805"/>
                  </a:cubicBezTo>
                  <a:cubicBezTo>
                    <a:pt x="840" y="813"/>
                    <a:pt x="844" y="821"/>
                    <a:pt x="853" y="825"/>
                  </a:cubicBezTo>
                  <a:cubicBezTo>
                    <a:pt x="852" y="823"/>
                    <a:pt x="857" y="821"/>
                    <a:pt x="856" y="816"/>
                  </a:cubicBezTo>
                  <a:cubicBezTo>
                    <a:pt x="850" y="811"/>
                    <a:pt x="846" y="804"/>
                    <a:pt x="839" y="799"/>
                  </a:cubicBezTo>
                  <a:close/>
                  <a:moveTo>
                    <a:pt x="1186" y="805"/>
                  </a:moveTo>
                  <a:cubicBezTo>
                    <a:pt x="1185" y="804"/>
                    <a:pt x="1187" y="804"/>
                    <a:pt x="1186" y="802"/>
                  </a:cubicBezTo>
                  <a:cubicBezTo>
                    <a:pt x="1185" y="802"/>
                    <a:pt x="1185" y="801"/>
                    <a:pt x="1184" y="801"/>
                  </a:cubicBezTo>
                  <a:cubicBezTo>
                    <a:pt x="1184" y="803"/>
                    <a:pt x="1183" y="806"/>
                    <a:pt x="1186" y="805"/>
                  </a:cubicBezTo>
                  <a:close/>
                  <a:moveTo>
                    <a:pt x="1194" y="805"/>
                  </a:moveTo>
                  <a:cubicBezTo>
                    <a:pt x="1195" y="804"/>
                    <a:pt x="1195" y="803"/>
                    <a:pt x="1194" y="801"/>
                  </a:cubicBezTo>
                  <a:cubicBezTo>
                    <a:pt x="1193" y="802"/>
                    <a:pt x="1191" y="800"/>
                    <a:pt x="1191" y="802"/>
                  </a:cubicBezTo>
                  <a:cubicBezTo>
                    <a:pt x="1193" y="802"/>
                    <a:pt x="1191" y="805"/>
                    <a:pt x="1194" y="805"/>
                  </a:cubicBezTo>
                  <a:close/>
                  <a:moveTo>
                    <a:pt x="898" y="815"/>
                  </a:moveTo>
                  <a:cubicBezTo>
                    <a:pt x="899" y="809"/>
                    <a:pt x="896" y="807"/>
                    <a:pt x="896" y="802"/>
                  </a:cubicBezTo>
                  <a:cubicBezTo>
                    <a:pt x="895" y="802"/>
                    <a:pt x="895" y="802"/>
                    <a:pt x="894" y="802"/>
                  </a:cubicBezTo>
                  <a:cubicBezTo>
                    <a:pt x="892" y="807"/>
                    <a:pt x="894" y="813"/>
                    <a:pt x="898" y="815"/>
                  </a:cubicBezTo>
                  <a:close/>
                  <a:moveTo>
                    <a:pt x="788" y="808"/>
                  </a:moveTo>
                  <a:cubicBezTo>
                    <a:pt x="788" y="806"/>
                    <a:pt x="786" y="805"/>
                    <a:pt x="785" y="805"/>
                  </a:cubicBezTo>
                  <a:cubicBezTo>
                    <a:pt x="783" y="807"/>
                    <a:pt x="786" y="810"/>
                    <a:pt x="788" y="808"/>
                  </a:cubicBezTo>
                  <a:close/>
                  <a:moveTo>
                    <a:pt x="1185" y="807"/>
                  </a:moveTo>
                  <a:cubicBezTo>
                    <a:pt x="1186" y="810"/>
                    <a:pt x="1191" y="810"/>
                    <a:pt x="1193" y="808"/>
                  </a:cubicBezTo>
                  <a:cubicBezTo>
                    <a:pt x="1193" y="804"/>
                    <a:pt x="1186" y="803"/>
                    <a:pt x="1185" y="807"/>
                  </a:cubicBezTo>
                  <a:close/>
                  <a:moveTo>
                    <a:pt x="832" y="808"/>
                  </a:moveTo>
                  <a:cubicBezTo>
                    <a:pt x="824" y="819"/>
                    <a:pt x="814" y="828"/>
                    <a:pt x="808" y="839"/>
                  </a:cubicBezTo>
                  <a:cubicBezTo>
                    <a:pt x="802" y="843"/>
                    <a:pt x="799" y="848"/>
                    <a:pt x="796" y="854"/>
                  </a:cubicBezTo>
                  <a:cubicBezTo>
                    <a:pt x="792" y="857"/>
                    <a:pt x="786" y="863"/>
                    <a:pt x="785" y="868"/>
                  </a:cubicBezTo>
                  <a:cubicBezTo>
                    <a:pt x="817" y="866"/>
                    <a:pt x="855" y="868"/>
                    <a:pt x="884" y="867"/>
                  </a:cubicBezTo>
                  <a:cubicBezTo>
                    <a:pt x="867" y="847"/>
                    <a:pt x="850" y="827"/>
                    <a:pt x="832" y="808"/>
                  </a:cubicBezTo>
                  <a:close/>
                  <a:moveTo>
                    <a:pt x="1192" y="812"/>
                  </a:moveTo>
                  <a:cubicBezTo>
                    <a:pt x="1194" y="812"/>
                    <a:pt x="1195" y="812"/>
                    <a:pt x="1195" y="811"/>
                  </a:cubicBezTo>
                  <a:cubicBezTo>
                    <a:pt x="1194" y="811"/>
                    <a:pt x="1194" y="810"/>
                    <a:pt x="1193" y="809"/>
                  </a:cubicBezTo>
                  <a:cubicBezTo>
                    <a:pt x="1193" y="810"/>
                    <a:pt x="1192" y="811"/>
                    <a:pt x="1192" y="812"/>
                  </a:cubicBezTo>
                  <a:close/>
                  <a:moveTo>
                    <a:pt x="774" y="816"/>
                  </a:moveTo>
                  <a:cubicBezTo>
                    <a:pt x="777" y="816"/>
                    <a:pt x="777" y="814"/>
                    <a:pt x="779" y="816"/>
                  </a:cubicBezTo>
                  <a:cubicBezTo>
                    <a:pt x="780" y="814"/>
                    <a:pt x="779" y="814"/>
                    <a:pt x="779" y="811"/>
                  </a:cubicBezTo>
                  <a:cubicBezTo>
                    <a:pt x="777" y="811"/>
                    <a:pt x="776" y="809"/>
                    <a:pt x="774" y="810"/>
                  </a:cubicBezTo>
                  <a:cubicBezTo>
                    <a:pt x="772" y="812"/>
                    <a:pt x="773" y="814"/>
                    <a:pt x="774" y="816"/>
                  </a:cubicBezTo>
                  <a:close/>
                  <a:moveTo>
                    <a:pt x="784" y="823"/>
                  </a:moveTo>
                  <a:cubicBezTo>
                    <a:pt x="786" y="819"/>
                    <a:pt x="789" y="817"/>
                    <a:pt x="791" y="813"/>
                  </a:cubicBezTo>
                  <a:cubicBezTo>
                    <a:pt x="792" y="811"/>
                    <a:pt x="789" y="812"/>
                    <a:pt x="789" y="810"/>
                  </a:cubicBezTo>
                  <a:cubicBezTo>
                    <a:pt x="788" y="810"/>
                    <a:pt x="786" y="810"/>
                    <a:pt x="785" y="810"/>
                  </a:cubicBezTo>
                  <a:cubicBezTo>
                    <a:pt x="785" y="816"/>
                    <a:pt x="783" y="819"/>
                    <a:pt x="784" y="823"/>
                  </a:cubicBezTo>
                  <a:close/>
                  <a:moveTo>
                    <a:pt x="890" y="833"/>
                  </a:moveTo>
                  <a:cubicBezTo>
                    <a:pt x="894" y="832"/>
                    <a:pt x="894" y="832"/>
                    <a:pt x="897" y="832"/>
                  </a:cubicBezTo>
                  <a:cubicBezTo>
                    <a:pt x="897" y="828"/>
                    <a:pt x="894" y="827"/>
                    <a:pt x="893" y="824"/>
                  </a:cubicBezTo>
                  <a:cubicBezTo>
                    <a:pt x="894" y="822"/>
                    <a:pt x="895" y="822"/>
                    <a:pt x="895" y="820"/>
                  </a:cubicBezTo>
                  <a:cubicBezTo>
                    <a:pt x="891" y="818"/>
                    <a:pt x="892" y="813"/>
                    <a:pt x="890" y="810"/>
                  </a:cubicBezTo>
                  <a:cubicBezTo>
                    <a:pt x="891" y="816"/>
                    <a:pt x="888" y="825"/>
                    <a:pt x="890" y="833"/>
                  </a:cubicBezTo>
                  <a:close/>
                  <a:moveTo>
                    <a:pt x="1184" y="813"/>
                  </a:moveTo>
                  <a:cubicBezTo>
                    <a:pt x="1186" y="813"/>
                    <a:pt x="1186" y="810"/>
                    <a:pt x="1184" y="810"/>
                  </a:cubicBezTo>
                  <a:cubicBezTo>
                    <a:pt x="1184" y="811"/>
                    <a:pt x="1184" y="812"/>
                    <a:pt x="1184" y="813"/>
                  </a:cubicBezTo>
                  <a:close/>
                  <a:moveTo>
                    <a:pt x="759" y="819"/>
                  </a:moveTo>
                  <a:cubicBezTo>
                    <a:pt x="761" y="817"/>
                    <a:pt x="760" y="813"/>
                    <a:pt x="761" y="811"/>
                  </a:cubicBezTo>
                  <a:cubicBezTo>
                    <a:pt x="758" y="810"/>
                    <a:pt x="756" y="817"/>
                    <a:pt x="759" y="819"/>
                  </a:cubicBezTo>
                  <a:close/>
                  <a:moveTo>
                    <a:pt x="761" y="829"/>
                  </a:moveTo>
                  <a:cubicBezTo>
                    <a:pt x="764" y="828"/>
                    <a:pt x="767" y="829"/>
                    <a:pt x="769" y="829"/>
                  </a:cubicBezTo>
                  <a:cubicBezTo>
                    <a:pt x="770" y="825"/>
                    <a:pt x="770" y="816"/>
                    <a:pt x="768" y="813"/>
                  </a:cubicBezTo>
                  <a:cubicBezTo>
                    <a:pt x="764" y="814"/>
                    <a:pt x="762" y="822"/>
                    <a:pt x="761" y="829"/>
                  </a:cubicBezTo>
                  <a:close/>
                  <a:moveTo>
                    <a:pt x="1184" y="814"/>
                  </a:moveTo>
                  <a:cubicBezTo>
                    <a:pt x="1184" y="817"/>
                    <a:pt x="1187" y="816"/>
                    <a:pt x="1186" y="818"/>
                  </a:cubicBezTo>
                  <a:cubicBezTo>
                    <a:pt x="1188" y="817"/>
                    <a:pt x="1192" y="818"/>
                    <a:pt x="1192" y="815"/>
                  </a:cubicBezTo>
                  <a:cubicBezTo>
                    <a:pt x="1191" y="815"/>
                    <a:pt x="1190" y="815"/>
                    <a:pt x="1190" y="813"/>
                  </a:cubicBezTo>
                  <a:cubicBezTo>
                    <a:pt x="1188" y="813"/>
                    <a:pt x="1187" y="815"/>
                    <a:pt x="1184" y="814"/>
                  </a:cubicBezTo>
                  <a:close/>
                  <a:moveTo>
                    <a:pt x="898" y="821"/>
                  </a:moveTo>
                  <a:cubicBezTo>
                    <a:pt x="898" y="819"/>
                    <a:pt x="899" y="817"/>
                    <a:pt x="897" y="816"/>
                  </a:cubicBezTo>
                  <a:cubicBezTo>
                    <a:pt x="896" y="817"/>
                    <a:pt x="896" y="821"/>
                    <a:pt x="898" y="821"/>
                  </a:cubicBezTo>
                  <a:close/>
                  <a:moveTo>
                    <a:pt x="756" y="823"/>
                  </a:moveTo>
                  <a:cubicBezTo>
                    <a:pt x="756" y="822"/>
                    <a:pt x="758" y="818"/>
                    <a:pt x="756" y="817"/>
                  </a:cubicBezTo>
                  <a:cubicBezTo>
                    <a:pt x="755" y="819"/>
                    <a:pt x="754" y="821"/>
                    <a:pt x="756" y="823"/>
                  </a:cubicBezTo>
                  <a:close/>
                  <a:moveTo>
                    <a:pt x="1182" y="820"/>
                  </a:moveTo>
                  <a:cubicBezTo>
                    <a:pt x="1184" y="823"/>
                    <a:pt x="1185" y="827"/>
                    <a:pt x="1182" y="829"/>
                  </a:cubicBezTo>
                  <a:cubicBezTo>
                    <a:pt x="1183" y="830"/>
                    <a:pt x="1184" y="830"/>
                    <a:pt x="1186" y="831"/>
                  </a:cubicBezTo>
                  <a:cubicBezTo>
                    <a:pt x="1185" y="828"/>
                    <a:pt x="1190" y="830"/>
                    <a:pt x="1192" y="829"/>
                  </a:cubicBezTo>
                  <a:cubicBezTo>
                    <a:pt x="1191" y="826"/>
                    <a:pt x="1194" y="827"/>
                    <a:pt x="1194" y="826"/>
                  </a:cubicBezTo>
                  <a:cubicBezTo>
                    <a:pt x="1194" y="825"/>
                    <a:pt x="1194" y="824"/>
                    <a:pt x="1194" y="823"/>
                  </a:cubicBezTo>
                  <a:cubicBezTo>
                    <a:pt x="1193" y="823"/>
                    <a:pt x="1189" y="821"/>
                    <a:pt x="1186" y="822"/>
                  </a:cubicBezTo>
                  <a:cubicBezTo>
                    <a:pt x="1186" y="821"/>
                    <a:pt x="1186" y="820"/>
                    <a:pt x="1186" y="818"/>
                  </a:cubicBezTo>
                  <a:cubicBezTo>
                    <a:pt x="1184" y="818"/>
                    <a:pt x="1183" y="819"/>
                    <a:pt x="1182" y="820"/>
                  </a:cubicBezTo>
                  <a:close/>
                  <a:moveTo>
                    <a:pt x="1194" y="822"/>
                  </a:moveTo>
                  <a:cubicBezTo>
                    <a:pt x="1194" y="821"/>
                    <a:pt x="1194" y="819"/>
                    <a:pt x="1194" y="818"/>
                  </a:cubicBezTo>
                  <a:cubicBezTo>
                    <a:pt x="1194" y="818"/>
                    <a:pt x="1193" y="818"/>
                    <a:pt x="1192" y="818"/>
                  </a:cubicBezTo>
                  <a:cubicBezTo>
                    <a:pt x="1193" y="820"/>
                    <a:pt x="1193" y="821"/>
                    <a:pt x="1194" y="822"/>
                  </a:cubicBezTo>
                  <a:close/>
                  <a:moveTo>
                    <a:pt x="855" y="826"/>
                  </a:moveTo>
                  <a:cubicBezTo>
                    <a:pt x="858" y="826"/>
                    <a:pt x="861" y="827"/>
                    <a:pt x="864" y="826"/>
                  </a:cubicBezTo>
                  <a:cubicBezTo>
                    <a:pt x="863" y="823"/>
                    <a:pt x="860" y="820"/>
                    <a:pt x="857" y="819"/>
                  </a:cubicBezTo>
                  <a:cubicBezTo>
                    <a:pt x="858" y="823"/>
                    <a:pt x="853" y="823"/>
                    <a:pt x="855" y="826"/>
                  </a:cubicBezTo>
                  <a:close/>
                  <a:moveTo>
                    <a:pt x="773" y="826"/>
                  </a:moveTo>
                  <a:cubicBezTo>
                    <a:pt x="775" y="827"/>
                    <a:pt x="775" y="820"/>
                    <a:pt x="773" y="820"/>
                  </a:cubicBezTo>
                  <a:cubicBezTo>
                    <a:pt x="772" y="822"/>
                    <a:pt x="774" y="825"/>
                    <a:pt x="773" y="826"/>
                  </a:cubicBezTo>
                  <a:close/>
                  <a:moveTo>
                    <a:pt x="886" y="827"/>
                  </a:moveTo>
                  <a:cubicBezTo>
                    <a:pt x="886" y="825"/>
                    <a:pt x="885" y="823"/>
                    <a:pt x="884" y="822"/>
                  </a:cubicBezTo>
                  <a:cubicBezTo>
                    <a:pt x="883" y="824"/>
                    <a:pt x="883" y="827"/>
                    <a:pt x="886" y="827"/>
                  </a:cubicBezTo>
                  <a:close/>
                  <a:moveTo>
                    <a:pt x="1186" y="837"/>
                  </a:moveTo>
                  <a:cubicBezTo>
                    <a:pt x="1189" y="839"/>
                    <a:pt x="1193" y="838"/>
                    <a:pt x="1197" y="837"/>
                  </a:cubicBezTo>
                  <a:cubicBezTo>
                    <a:pt x="1196" y="833"/>
                    <a:pt x="1197" y="829"/>
                    <a:pt x="1195" y="828"/>
                  </a:cubicBezTo>
                  <a:cubicBezTo>
                    <a:pt x="1196" y="832"/>
                    <a:pt x="1193" y="832"/>
                    <a:pt x="1192" y="834"/>
                  </a:cubicBezTo>
                  <a:cubicBezTo>
                    <a:pt x="1193" y="834"/>
                    <a:pt x="1194" y="834"/>
                    <a:pt x="1194" y="835"/>
                  </a:cubicBezTo>
                  <a:cubicBezTo>
                    <a:pt x="1191" y="833"/>
                    <a:pt x="1186" y="834"/>
                    <a:pt x="1186" y="837"/>
                  </a:cubicBezTo>
                  <a:close/>
                  <a:moveTo>
                    <a:pt x="856" y="829"/>
                  </a:moveTo>
                  <a:cubicBezTo>
                    <a:pt x="860" y="836"/>
                    <a:pt x="864" y="843"/>
                    <a:pt x="871" y="846"/>
                  </a:cubicBezTo>
                  <a:cubicBezTo>
                    <a:pt x="874" y="853"/>
                    <a:pt x="878" y="857"/>
                    <a:pt x="884" y="861"/>
                  </a:cubicBezTo>
                  <a:cubicBezTo>
                    <a:pt x="883" y="854"/>
                    <a:pt x="880" y="848"/>
                    <a:pt x="881" y="843"/>
                  </a:cubicBezTo>
                  <a:cubicBezTo>
                    <a:pt x="873" y="837"/>
                    <a:pt x="871" y="825"/>
                    <a:pt x="856" y="829"/>
                  </a:cubicBezTo>
                  <a:close/>
                  <a:moveTo>
                    <a:pt x="873" y="831"/>
                  </a:moveTo>
                  <a:cubicBezTo>
                    <a:pt x="874" y="835"/>
                    <a:pt x="878" y="832"/>
                    <a:pt x="880" y="834"/>
                  </a:cubicBezTo>
                  <a:cubicBezTo>
                    <a:pt x="880" y="831"/>
                    <a:pt x="876" y="829"/>
                    <a:pt x="873" y="831"/>
                  </a:cubicBezTo>
                  <a:close/>
                  <a:moveTo>
                    <a:pt x="886" y="833"/>
                  </a:moveTo>
                  <a:cubicBezTo>
                    <a:pt x="887" y="832"/>
                    <a:pt x="886" y="830"/>
                    <a:pt x="884" y="830"/>
                  </a:cubicBezTo>
                  <a:cubicBezTo>
                    <a:pt x="883" y="832"/>
                    <a:pt x="884" y="833"/>
                    <a:pt x="886" y="833"/>
                  </a:cubicBezTo>
                  <a:close/>
                  <a:moveTo>
                    <a:pt x="761" y="848"/>
                  </a:moveTo>
                  <a:cubicBezTo>
                    <a:pt x="766" y="844"/>
                    <a:pt x="774" y="838"/>
                    <a:pt x="769" y="831"/>
                  </a:cubicBezTo>
                  <a:cubicBezTo>
                    <a:pt x="768" y="833"/>
                    <a:pt x="763" y="832"/>
                    <a:pt x="759" y="832"/>
                  </a:cubicBezTo>
                  <a:cubicBezTo>
                    <a:pt x="759" y="835"/>
                    <a:pt x="755" y="838"/>
                    <a:pt x="757" y="841"/>
                  </a:cubicBezTo>
                  <a:cubicBezTo>
                    <a:pt x="753" y="841"/>
                    <a:pt x="754" y="848"/>
                    <a:pt x="753" y="851"/>
                  </a:cubicBezTo>
                  <a:cubicBezTo>
                    <a:pt x="751" y="856"/>
                    <a:pt x="747" y="860"/>
                    <a:pt x="748" y="863"/>
                  </a:cubicBezTo>
                  <a:cubicBezTo>
                    <a:pt x="752" y="858"/>
                    <a:pt x="761" y="852"/>
                    <a:pt x="759" y="845"/>
                  </a:cubicBezTo>
                  <a:cubicBezTo>
                    <a:pt x="761" y="845"/>
                    <a:pt x="759" y="849"/>
                    <a:pt x="761" y="848"/>
                  </a:cubicBezTo>
                  <a:close/>
                  <a:moveTo>
                    <a:pt x="774" y="833"/>
                  </a:moveTo>
                  <a:cubicBezTo>
                    <a:pt x="776" y="833"/>
                    <a:pt x="777" y="832"/>
                    <a:pt x="776" y="831"/>
                  </a:cubicBezTo>
                  <a:cubicBezTo>
                    <a:pt x="775" y="830"/>
                    <a:pt x="774" y="831"/>
                    <a:pt x="774" y="833"/>
                  </a:cubicBezTo>
                  <a:close/>
                  <a:moveTo>
                    <a:pt x="1184" y="837"/>
                  </a:moveTo>
                  <a:cubicBezTo>
                    <a:pt x="1183" y="836"/>
                    <a:pt x="1184" y="833"/>
                    <a:pt x="1182" y="833"/>
                  </a:cubicBezTo>
                  <a:cubicBezTo>
                    <a:pt x="1182" y="836"/>
                    <a:pt x="1181" y="837"/>
                    <a:pt x="1184" y="837"/>
                  </a:cubicBezTo>
                  <a:close/>
                  <a:moveTo>
                    <a:pt x="1201" y="837"/>
                  </a:moveTo>
                  <a:cubicBezTo>
                    <a:pt x="1203" y="838"/>
                    <a:pt x="1210" y="839"/>
                    <a:pt x="1214" y="837"/>
                  </a:cubicBezTo>
                  <a:cubicBezTo>
                    <a:pt x="1209" y="836"/>
                    <a:pt x="1205" y="835"/>
                    <a:pt x="1201" y="833"/>
                  </a:cubicBezTo>
                  <a:cubicBezTo>
                    <a:pt x="1201" y="834"/>
                    <a:pt x="1200" y="835"/>
                    <a:pt x="1201" y="837"/>
                  </a:cubicBezTo>
                  <a:close/>
                  <a:moveTo>
                    <a:pt x="1168" y="837"/>
                  </a:moveTo>
                  <a:cubicBezTo>
                    <a:pt x="1171" y="838"/>
                    <a:pt x="1179" y="840"/>
                    <a:pt x="1178" y="834"/>
                  </a:cubicBezTo>
                  <a:cubicBezTo>
                    <a:pt x="1175" y="835"/>
                    <a:pt x="1171" y="836"/>
                    <a:pt x="1168" y="837"/>
                  </a:cubicBezTo>
                  <a:close/>
                  <a:moveTo>
                    <a:pt x="752" y="841"/>
                  </a:moveTo>
                  <a:cubicBezTo>
                    <a:pt x="751" y="838"/>
                    <a:pt x="755" y="837"/>
                    <a:pt x="752" y="835"/>
                  </a:cubicBezTo>
                  <a:cubicBezTo>
                    <a:pt x="753" y="838"/>
                    <a:pt x="749" y="839"/>
                    <a:pt x="752" y="841"/>
                  </a:cubicBezTo>
                  <a:close/>
                  <a:moveTo>
                    <a:pt x="889" y="837"/>
                  </a:moveTo>
                  <a:cubicBezTo>
                    <a:pt x="887" y="850"/>
                    <a:pt x="894" y="854"/>
                    <a:pt x="902" y="856"/>
                  </a:cubicBezTo>
                  <a:cubicBezTo>
                    <a:pt x="900" y="856"/>
                    <a:pt x="898" y="854"/>
                    <a:pt x="897" y="857"/>
                  </a:cubicBezTo>
                  <a:cubicBezTo>
                    <a:pt x="900" y="861"/>
                    <a:pt x="905" y="864"/>
                    <a:pt x="908" y="869"/>
                  </a:cubicBezTo>
                  <a:cubicBezTo>
                    <a:pt x="908" y="860"/>
                    <a:pt x="902" y="854"/>
                    <a:pt x="902" y="846"/>
                  </a:cubicBezTo>
                  <a:cubicBezTo>
                    <a:pt x="901" y="844"/>
                    <a:pt x="900" y="847"/>
                    <a:pt x="899" y="845"/>
                  </a:cubicBezTo>
                  <a:cubicBezTo>
                    <a:pt x="901" y="843"/>
                    <a:pt x="900" y="838"/>
                    <a:pt x="899" y="837"/>
                  </a:cubicBezTo>
                  <a:cubicBezTo>
                    <a:pt x="896" y="837"/>
                    <a:pt x="891" y="836"/>
                    <a:pt x="889" y="837"/>
                  </a:cubicBezTo>
                  <a:close/>
                  <a:moveTo>
                    <a:pt x="776" y="851"/>
                  </a:moveTo>
                  <a:cubicBezTo>
                    <a:pt x="775" y="845"/>
                    <a:pt x="778" y="843"/>
                    <a:pt x="777" y="838"/>
                  </a:cubicBezTo>
                  <a:cubicBezTo>
                    <a:pt x="776" y="838"/>
                    <a:pt x="775" y="838"/>
                    <a:pt x="774" y="838"/>
                  </a:cubicBezTo>
                  <a:cubicBezTo>
                    <a:pt x="775" y="842"/>
                    <a:pt x="773" y="849"/>
                    <a:pt x="776" y="851"/>
                  </a:cubicBezTo>
                  <a:close/>
                  <a:moveTo>
                    <a:pt x="782" y="839"/>
                  </a:moveTo>
                  <a:cubicBezTo>
                    <a:pt x="780" y="849"/>
                    <a:pt x="780" y="858"/>
                    <a:pt x="778" y="868"/>
                  </a:cubicBezTo>
                  <a:cubicBezTo>
                    <a:pt x="783" y="868"/>
                    <a:pt x="787" y="861"/>
                    <a:pt x="789" y="856"/>
                  </a:cubicBezTo>
                  <a:cubicBezTo>
                    <a:pt x="796" y="852"/>
                    <a:pt x="799" y="845"/>
                    <a:pt x="804" y="839"/>
                  </a:cubicBezTo>
                  <a:cubicBezTo>
                    <a:pt x="797" y="837"/>
                    <a:pt x="790" y="840"/>
                    <a:pt x="782" y="839"/>
                  </a:cubicBezTo>
                  <a:close/>
                  <a:moveTo>
                    <a:pt x="1183" y="848"/>
                  </a:moveTo>
                  <a:cubicBezTo>
                    <a:pt x="1184" y="847"/>
                    <a:pt x="1183" y="845"/>
                    <a:pt x="1185" y="846"/>
                  </a:cubicBezTo>
                  <a:cubicBezTo>
                    <a:pt x="1185" y="846"/>
                    <a:pt x="1185" y="846"/>
                    <a:pt x="1186" y="847"/>
                  </a:cubicBezTo>
                  <a:cubicBezTo>
                    <a:pt x="1185" y="850"/>
                    <a:pt x="1184" y="848"/>
                    <a:pt x="1182" y="849"/>
                  </a:cubicBezTo>
                  <a:cubicBezTo>
                    <a:pt x="1182" y="852"/>
                    <a:pt x="1182" y="853"/>
                    <a:pt x="1182" y="856"/>
                  </a:cubicBezTo>
                  <a:cubicBezTo>
                    <a:pt x="1189" y="856"/>
                    <a:pt x="1194" y="853"/>
                    <a:pt x="1198" y="856"/>
                  </a:cubicBezTo>
                  <a:cubicBezTo>
                    <a:pt x="1199" y="848"/>
                    <a:pt x="1192" y="849"/>
                    <a:pt x="1191" y="843"/>
                  </a:cubicBezTo>
                  <a:cubicBezTo>
                    <a:pt x="1187" y="844"/>
                    <a:pt x="1186" y="841"/>
                    <a:pt x="1183" y="841"/>
                  </a:cubicBezTo>
                  <a:cubicBezTo>
                    <a:pt x="1182" y="842"/>
                    <a:pt x="1182" y="847"/>
                    <a:pt x="1183" y="848"/>
                  </a:cubicBezTo>
                  <a:close/>
                  <a:moveTo>
                    <a:pt x="1198" y="846"/>
                  </a:moveTo>
                  <a:cubicBezTo>
                    <a:pt x="1198" y="844"/>
                    <a:pt x="1197" y="842"/>
                    <a:pt x="1197" y="841"/>
                  </a:cubicBezTo>
                  <a:cubicBezTo>
                    <a:pt x="1195" y="841"/>
                    <a:pt x="1194" y="841"/>
                    <a:pt x="1192" y="841"/>
                  </a:cubicBezTo>
                  <a:cubicBezTo>
                    <a:pt x="1192" y="845"/>
                    <a:pt x="1196" y="845"/>
                    <a:pt x="1198" y="846"/>
                  </a:cubicBezTo>
                  <a:close/>
                  <a:moveTo>
                    <a:pt x="769" y="843"/>
                  </a:moveTo>
                  <a:cubicBezTo>
                    <a:pt x="763" y="853"/>
                    <a:pt x="752" y="861"/>
                    <a:pt x="748" y="869"/>
                  </a:cubicBezTo>
                  <a:cubicBezTo>
                    <a:pt x="753" y="868"/>
                    <a:pt x="762" y="869"/>
                    <a:pt x="772" y="869"/>
                  </a:cubicBezTo>
                  <a:cubicBezTo>
                    <a:pt x="772" y="859"/>
                    <a:pt x="771" y="852"/>
                    <a:pt x="771" y="843"/>
                  </a:cubicBezTo>
                  <a:cubicBezTo>
                    <a:pt x="770" y="843"/>
                    <a:pt x="769" y="843"/>
                    <a:pt x="769" y="843"/>
                  </a:cubicBezTo>
                  <a:close/>
                  <a:moveTo>
                    <a:pt x="889" y="867"/>
                  </a:moveTo>
                  <a:cubicBezTo>
                    <a:pt x="895" y="868"/>
                    <a:pt x="899" y="871"/>
                    <a:pt x="906" y="872"/>
                  </a:cubicBezTo>
                  <a:cubicBezTo>
                    <a:pt x="901" y="865"/>
                    <a:pt x="896" y="858"/>
                    <a:pt x="889" y="853"/>
                  </a:cubicBezTo>
                  <a:cubicBezTo>
                    <a:pt x="889" y="858"/>
                    <a:pt x="889" y="862"/>
                    <a:pt x="889" y="867"/>
                  </a:cubicBezTo>
                  <a:close/>
                  <a:moveTo>
                    <a:pt x="1180" y="869"/>
                  </a:moveTo>
                  <a:cubicBezTo>
                    <a:pt x="1183" y="868"/>
                    <a:pt x="1183" y="870"/>
                    <a:pt x="1183" y="872"/>
                  </a:cubicBezTo>
                  <a:cubicBezTo>
                    <a:pt x="1181" y="872"/>
                    <a:pt x="1180" y="872"/>
                    <a:pt x="1179" y="873"/>
                  </a:cubicBezTo>
                  <a:cubicBezTo>
                    <a:pt x="1179" y="874"/>
                    <a:pt x="1179" y="875"/>
                    <a:pt x="1179" y="876"/>
                  </a:cubicBezTo>
                  <a:cubicBezTo>
                    <a:pt x="1184" y="878"/>
                    <a:pt x="1195" y="876"/>
                    <a:pt x="1201" y="874"/>
                  </a:cubicBezTo>
                  <a:cubicBezTo>
                    <a:pt x="1198" y="869"/>
                    <a:pt x="1194" y="864"/>
                    <a:pt x="1191" y="859"/>
                  </a:cubicBezTo>
                  <a:cubicBezTo>
                    <a:pt x="1182" y="854"/>
                    <a:pt x="1179" y="859"/>
                    <a:pt x="1180" y="869"/>
                  </a:cubicBezTo>
                  <a:close/>
                  <a:moveTo>
                    <a:pt x="1199" y="861"/>
                  </a:moveTo>
                  <a:cubicBezTo>
                    <a:pt x="1199" y="856"/>
                    <a:pt x="1196" y="858"/>
                    <a:pt x="1192" y="857"/>
                  </a:cubicBezTo>
                  <a:cubicBezTo>
                    <a:pt x="1192" y="861"/>
                    <a:pt x="1196" y="862"/>
                    <a:pt x="1199" y="861"/>
                  </a:cubicBezTo>
                  <a:close/>
                  <a:moveTo>
                    <a:pt x="1201" y="869"/>
                  </a:moveTo>
                  <a:cubicBezTo>
                    <a:pt x="1201" y="866"/>
                    <a:pt x="1201" y="863"/>
                    <a:pt x="1198" y="864"/>
                  </a:cubicBezTo>
                  <a:cubicBezTo>
                    <a:pt x="1198" y="867"/>
                    <a:pt x="1198" y="869"/>
                    <a:pt x="1201" y="869"/>
                  </a:cubicBezTo>
                  <a:close/>
                  <a:moveTo>
                    <a:pt x="819" y="872"/>
                  </a:moveTo>
                  <a:cubicBezTo>
                    <a:pt x="823" y="877"/>
                    <a:pt x="831" y="875"/>
                    <a:pt x="837" y="875"/>
                  </a:cubicBezTo>
                  <a:cubicBezTo>
                    <a:pt x="843" y="875"/>
                    <a:pt x="850" y="875"/>
                    <a:pt x="856" y="874"/>
                  </a:cubicBezTo>
                  <a:cubicBezTo>
                    <a:pt x="866" y="874"/>
                    <a:pt x="878" y="876"/>
                    <a:pt x="884" y="871"/>
                  </a:cubicBezTo>
                  <a:cubicBezTo>
                    <a:pt x="865" y="869"/>
                    <a:pt x="840" y="870"/>
                    <a:pt x="819" y="872"/>
                  </a:cubicBezTo>
                  <a:close/>
                  <a:moveTo>
                    <a:pt x="895" y="872"/>
                  </a:moveTo>
                  <a:cubicBezTo>
                    <a:pt x="893" y="872"/>
                    <a:pt x="892" y="871"/>
                    <a:pt x="890" y="871"/>
                  </a:cubicBezTo>
                  <a:cubicBezTo>
                    <a:pt x="889" y="874"/>
                    <a:pt x="894" y="873"/>
                    <a:pt x="895" y="872"/>
                  </a:cubicBezTo>
                  <a:close/>
                  <a:moveTo>
                    <a:pt x="779" y="874"/>
                  </a:moveTo>
                  <a:cubicBezTo>
                    <a:pt x="787" y="874"/>
                    <a:pt x="803" y="878"/>
                    <a:pt x="810" y="872"/>
                  </a:cubicBezTo>
                  <a:cubicBezTo>
                    <a:pt x="799" y="872"/>
                    <a:pt x="784" y="870"/>
                    <a:pt x="779" y="874"/>
                  </a:cubicBezTo>
                  <a:close/>
                  <a:moveTo>
                    <a:pt x="772" y="872"/>
                  </a:moveTo>
                  <a:cubicBezTo>
                    <a:pt x="769" y="872"/>
                    <a:pt x="765" y="872"/>
                    <a:pt x="762" y="872"/>
                  </a:cubicBezTo>
                  <a:cubicBezTo>
                    <a:pt x="763" y="874"/>
                    <a:pt x="772" y="876"/>
                    <a:pt x="772" y="872"/>
                  </a:cubicBezTo>
                  <a:close/>
                  <a:moveTo>
                    <a:pt x="812" y="875"/>
                  </a:moveTo>
                  <a:cubicBezTo>
                    <a:pt x="813" y="875"/>
                    <a:pt x="817" y="876"/>
                    <a:pt x="818" y="874"/>
                  </a:cubicBezTo>
                  <a:cubicBezTo>
                    <a:pt x="817" y="871"/>
                    <a:pt x="812" y="872"/>
                    <a:pt x="812" y="875"/>
                  </a:cubicBezTo>
                  <a:close/>
                  <a:moveTo>
                    <a:pt x="752" y="884"/>
                  </a:moveTo>
                  <a:cubicBezTo>
                    <a:pt x="755" y="882"/>
                    <a:pt x="756" y="879"/>
                    <a:pt x="757" y="876"/>
                  </a:cubicBezTo>
                  <a:cubicBezTo>
                    <a:pt x="754" y="874"/>
                    <a:pt x="749" y="873"/>
                    <a:pt x="746" y="874"/>
                  </a:cubicBezTo>
                  <a:cubicBezTo>
                    <a:pt x="744" y="878"/>
                    <a:pt x="744" y="884"/>
                    <a:pt x="744" y="889"/>
                  </a:cubicBezTo>
                  <a:cubicBezTo>
                    <a:pt x="747" y="891"/>
                    <a:pt x="753" y="891"/>
                    <a:pt x="753" y="886"/>
                  </a:cubicBezTo>
                  <a:cubicBezTo>
                    <a:pt x="752" y="883"/>
                    <a:pt x="748" y="881"/>
                    <a:pt x="748" y="877"/>
                  </a:cubicBezTo>
                  <a:cubicBezTo>
                    <a:pt x="750" y="879"/>
                    <a:pt x="751" y="881"/>
                    <a:pt x="752" y="884"/>
                  </a:cubicBezTo>
                  <a:close/>
                  <a:moveTo>
                    <a:pt x="763" y="876"/>
                  </a:moveTo>
                  <a:cubicBezTo>
                    <a:pt x="761" y="881"/>
                    <a:pt x="761" y="896"/>
                    <a:pt x="766" y="900"/>
                  </a:cubicBezTo>
                  <a:cubicBezTo>
                    <a:pt x="767" y="892"/>
                    <a:pt x="772" y="888"/>
                    <a:pt x="772" y="878"/>
                  </a:cubicBezTo>
                  <a:cubicBezTo>
                    <a:pt x="768" y="878"/>
                    <a:pt x="766" y="876"/>
                    <a:pt x="763" y="876"/>
                  </a:cubicBezTo>
                  <a:close/>
                  <a:moveTo>
                    <a:pt x="908" y="882"/>
                  </a:moveTo>
                  <a:cubicBezTo>
                    <a:pt x="906" y="887"/>
                    <a:pt x="908" y="892"/>
                    <a:pt x="911" y="893"/>
                  </a:cubicBezTo>
                  <a:cubicBezTo>
                    <a:pt x="915" y="888"/>
                    <a:pt x="909" y="882"/>
                    <a:pt x="910" y="876"/>
                  </a:cubicBezTo>
                  <a:cubicBezTo>
                    <a:pt x="907" y="877"/>
                    <a:pt x="906" y="876"/>
                    <a:pt x="903" y="876"/>
                  </a:cubicBezTo>
                  <a:cubicBezTo>
                    <a:pt x="904" y="880"/>
                    <a:pt x="905" y="882"/>
                    <a:pt x="908" y="882"/>
                  </a:cubicBezTo>
                  <a:close/>
                  <a:moveTo>
                    <a:pt x="874" y="892"/>
                  </a:moveTo>
                  <a:cubicBezTo>
                    <a:pt x="873" y="892"/>
                    <a:pt x="873" y="890"/>
                    <a:pt x="871" y="891"/>
                  </a:cubicBezTo>
                  <a:cubicBezTo>
                    <a:pt x="870" y="893"/>
                    <a:pt x="869" y="895"/>
                    <a:pt x="867" y="897"/>
                  </a:cubicBezTo>
                  <a:cubicBezTo>
                    <a:pt x="874" y="901"/>
                    <a:pt x="877" y="911"/>
                    <a:pt x="889" y="908"/>
                  </a:cubicBezTo>
                  <a:cubicBezTo>
                    <a:pt x="890" y="895"/>
                    <a:pt x="887" y="887"/>
                    <a:pt x="886" y="876"/>
                  </a:cubicBezTo>
                  <a:cubicBezTo>
                    <a:pt x="878" y="878"/>
                    <a:pt x="875" y="886"/>
                    <a:pt x="874" y="892"/>
                  </a:cubicBezTo>
                  <a:close/>
                  <a:moveTo>
                    <a:pt x="898" y="895"/>
                  </a:moveTo>
                  <a:cubicBezTo>
                    <a:pt x="898" y="889"/>
                    <a:pt x="899" y="881"/>
                    <a:pt x="898" y="876"/>
                  </a:cubicBezTo>
                  <a:cubicBezTo>
                    <a:pt x="896" y="876"/>
                    <a:pt x="894" y="876"/>
                    <a:pt x="892" y="876"/>
                  </a:cubicBezTo>
                  <a:cubicBezTo>
                    <a:pt x="893" y="883"/>
                    <a:pt x="894" y="891"/>
                    <a:pt x="898" y="895"/>
                  </a:cubicBezTo>
                  <a:close/>
                  <a:moveTo>
                    <a:pt x="847" y="878"/>
                  </a:moveTo>
                  <a:cubicBezTo>
                    <a:pt x="853" y="884"/>
                    <a:pt x="859" y="890"/>
                    <a:pt x="867" y="895"/>
                  </a:cubicBezTo>
                  <a:cubicBezTo>
                    <a:pt x="869" y="888"/>
                    <a:pt x="877" y="883"/>
                    <a:pt x="878" y="877"/>
                  </a:cubicBezTo>
                  <a:cubicBezTo>
                    <a:pt x="868" y="877"/>
                    <a:pt x="858" y="878"/>
                    <a:pt x="847" y="878"/>
                  </a:cubicBezTo>
                  <a:close/>
                  <a:moveTo>
                    <a:pt x="790" y="898"/>
                  </a:moveTo>
                  <a:cubicBezTo>
                    <a:pt x="784" y="902"/>
                    <a:pt x="779" y="907"/>
                    <a:pt x="775" y="913"/>
                  </a:cubicBezTo>
                  <a:cubicBezTo>
                    <a:pt x="784" y="917"/>
                    <a:pt x="800" y="912"/>
                    <a:pt x="806" y="913"/>
                  </a:cubicBezTo>
                  <a:cubicBezTo>
                    <a:pt x="813" y="904"/>
                    <a:pt x="823" y="897"/>
                    <a:pt x="830" y="887"/>
                  </a:cubicBezTo>
                  <a:cubicBezTo>
                    <a:pt x="828" y="881"/>
                    <a:pt x="819" y="875"/>
                    <a:pt x="808" y="878"/>
                  </a:cubicBezTo>
                  <a:cubicBezTo>
                    <a:pt x="802" y="884"/>
                    <a:pt x="796" y="889"/>
                    <a:pt x="791" y="895"/>
                  </a:cubicBezTo>
                  <a:cubicBezTo>
                    <a:pt x="790" y="900"/>
                    <a:pt x="796" y="901"/>
                    <a:pt x="795" y="904"/>
                  </a:cubicBezTo>
                  <a:cubicBezTo>
                    <a:pt x="792" y="904"/>
                    <a:pt x="793" y="900"/>
                    <a:pt x="790" y="898"/>
                  </a:cubicBezTo>
                  <a:close/>
                  <a:moveTo>
                    <a:pt x="833" y="885"/>
                  </a:moveTo>
                  <a:cubicBezTo>
                    <a:pt x="836" y="883"/>
                    <a:pt x="836" y="880"/>
                    <a:pt x="840" y="880"/>
                  </a:cubicBezTo>
                  <a:cubicBezTo>
                    <a:pt x="839" y="883"/>
                    <a:pt x="835" y="883"/>
                    <a:pt x="835" y="887"/>
                  </a:cubicBezTo>
                  <a:cubicBezTo>
                    <a:pt x="842" y="894"/>
                    <a:pt x="849" y="901"/>
                    <a:pt x="856" y="907"/>
                  </a:cubicBezTo>
                  <a:cubicBezTo>
                    <a:pt x="860" y="905"/>
                    <a:pt x="861" y="901"/>
                    <a:pt x="864" y="898"/>
                  </a:cubicBezTo>
                  <a:cubicBezTo>
                    <a:pt x="854" y="889"/>
                    <a:pt x="848" y="875"/>
                    <a:pt x="826" y="878"/>
                  </a:cubicBezTo>
                  <a:cubicBezTo>
                    <a:pt x="827" y="881"/>
                    <a:pt x="830" y="883"/>
                    <a:pt x="833" y="885"/>
                  </a:cubicBezTo>
                  <a:close/>
                  <a:moveTo>
                    <a:pt x="789" y="893"/>
                  </a:moveTo>
                  <a:cubicBezTo>
                    <a:pt x="793" y="888"/>
                    <a:pt x="799" y="884"/>
                    <a:pt x="803" y="878"/>
                  </a:cubicBezTo>
                  <a:cubicBezTo>
                    <a:pt x="794" y="878"/>
                    <a:pt x="787" y="879"/>
                    <a:pt x="779" y="879"/>
                  </a:cubicBezTo>
                  <a:cubicBezTo>
                    <a:pt x="774" y="885"/>
                    <a:pt x="777" y="898"/>
                    <a:pt x="774" y="906"/>
                  </a:cubicBezTo>
                  <a:cubicBezTo>
                    <a:pt x="779" y="903"/>
                    <a:pt x="784" y="899"/>
                    <a:pt x="787" y="893"/>
                  </a:cubicBezTo>
                  <a:cubicBezTo>
                    <a:pt x="784" y="890"/>
                    <a:pt x="780" y="887"/>
                    <a:pt x="778" y="882"/>
                  </a:cubicBezTo>
                  <a:cubicBezTo>
                    <a:pt x="784" y="884"/>
                    <a:pt x="783" y="891"/>
                    <a:pt x="789" y="893"/>
                  </a:cubicBezTo>
                  <a:close/>
                  <a:moveTo>
                    <a:pt x="1193" y="880"/>
                  </a:moveTo>
                  <a:cubicBezTo>
                    <a:pt x="1188" y="881"/>
                    <a:pt x="1186" y="878"/>
                    <a:pt x="1180" y="879"/>
                  </a:cubicBezTo>
                  <a:cubicBezTo>
                    <a:pt x="1179" y="881"/>
                    <a:pt x="1177" y="884"/>
                    <a:pt x="1179" y="886"/>
                  </a:cubicBezTo>
                  <a:cubicBezTo>
                    <a:pt x="1181" y="885"/>
                    <a:pt x="1181" y="882"/>
                    <a:pt x="1185" y="883"/>
                  </a:cubicBezTo>
                  <a:cubicBezTo>
                    <a:pt x="1185" y="885"/>
                    <a:pt x="1186" y="887"/>
                    <a:pt x="1185" y="888"/>
                  </a:cubicBezTo>
                  <a:cubicBezTo>
                    <a:pt x="1183" y="887"/>
                    <a:pt x="1180" y="887"/>
                    <a:pt x="1178" y="888"/>
                  </a:cubicBezTo>
                  <a:cubicBezTo>
                    <a:pt x="1178" y="892"/>
                    <a:pt x="1183" y="891"/>
                    <a:pt x="1182" y="895"/>
                  </a:cubicBezTo>
                  <a:cubicBezTo>
                    <a:pt x="1180" y="897"/>
                    <a:pt x="1180" y="896"/>
                    <a:pt x="1178" y="895"/>
                  </a:cubicBezTo>
                  <a:cubicBezTo>
                    <a:pt x="1178" y="897"/>
                    <a:pt x="1177" y="900"/>
                    <a:pt x="1178" y="901"/>
                  </a:cubicBezTo>
                  <a:cubicBezTo>
                    <a:pt x="1188" y="899"/>
                    <a:pt x="1195" y="901"/>
                    <a:pt x="1204" y="900"/>
                  </a:cubicBezTo>
                  <a:cubicBezTo>
                    <a:pt x="1205" y="895"/>
                    <a:pt x="1199" y="895"/>
                    <a:pt x="1199" y="890"/>
                  </a:cubicBezTo>
                  <a:cubicBezTo>
                    <a:pt x="1202" y="890"/>
                    <a:pt x="1202" y="892"/>
                    <a:pt x="1204" y="892"/>
                  </a:cubicBezTo>
                  <a:cubicBezTo>
                    <a:pt x="1205" y="889"/>
                    <a:pt x="1202" y="888"/>
                    <a:pt x="1201" y="886"/>
                  </a:cubicBezTo>
                  <a:cubicBezTo>
                    <a:pt x="1202" y="885"/>
                    <a:pt x="1203" y="883"/>
                    <a:pt x="1203" y="880"/>
                  </a:cubicBezTo>
                  <a:cubicBezTo>
                    <a:pt x="1200" y="880"/>
                    <a:pt x="1194" y="876"/>
                    <a:pt x="1193" y="880"/>
                  </a:cubicBezTo>
                  <a:close/>
                  <a:moveTo>
                    <a:pt x="757" y="889"/>
                  </a:moveTo>
                  <a:cubicBezTo>
                    <a:pt x="760" y="891"/>
                    <a:pt x="759" y="886"/>
                    <a:pt x="757" y="886"/>
                  </a:cubicBezTo>
                  <a:cubicBezTo>
                    <a:pt x="757" y="888"/>
                    <a:pt x="756" y="887"/>
                    <a:pt x="757" y="889"/>
                  </a:cubicBezTo>
                  <a:close/>
                  <a:moveTo>
                    <a:pt x="832" y="889"/>
                  </a:moveTo>
                  <a:cubicBezTo>
                    <a:pt x="812" y="909"/>
                    <a:pt x="793" y="930"/>
                    <a:pt x="774" y="950"/>
                  </a:cubicBezTo>
                  <a:cubicBezTo>
                    <a:pt x="810" y="948"/>
                    <a:pt x="851" y="950"/>
                    <a:pt x="895" y="948"/>
                  </a:cubicBezTo>
                  <a:cubicBezTo>
                    <a:pt x="873" y="929"/>
                    <a:pt x="854" y="908"/>
                    <a:pt x="832" y="889"/>
                  </a:cubicBezTo>
                  <a:close/>
                  <a:moveTo>
                    <a:pt x="904" y="894"/>
                  </a:moveTo>
                  <a:cubicBezTo>
                    <a:pt x="905" y="893"/>
                    <a:pt x="905" y="889"/>
                    <a:pt x="903" y="889"/>
                  </a:cubicBezTo>
                  <a:cubicBezTo>
                    <a:pt x="902" y="891"/>
                    <a:pt x="901" y="894"/>
                    <a:pt x="904" y="894"/>
                  </a:cubicBezTo>
                  <a:close/>
                  <a:moveTo>
                    <a:pt x="744" y="901"/>
                  </a:moveTo>
                  <a:cubicBezTo>
                    <a:pt x="748" y="900"/>
                    <a:pt x="750" y="897"/>
                    <a:pt x="750" y="891"/>
                  </a:cubicBezTo>
                  <a:cubicBezTo>
                    <a:pt x="743" y="889"/>
                    <a:pt x="744" y="898"/>
                    <a:pt x="744" y="901"/>
                  </a:cubicBezTo>
                  <a:close/>
                  <a:moveTo>
                    <a:pt x="772" y="896"/>
                  </a:moveTo>
                  <a:cubicBezTo>
                    <a:pt x="771" y="895"/>
                    <a:pt x="773" y="891"/>
                    <a:pt x="770" y="892"/>
                  </a:cubicBezTo>
                  <a:cubicBezTo>
                    <a:pt x="771" y="893"/>
                    <a:pt x="769" y="897"/>
                    <a:pt x="772" y="896"/>
                  </a:cubicBezTo>
                  <a:close/>
                  <a:moveTo>
                    <a:pt x="748" y="910"/>
                  </a:moveTo>
                  <a:cubicBezTo>
                    <a:pt x="752" y="911"/>
                    <a:pt x="755" y="909"/>
                    <a:pt x="759" y="910"/>
                  </a:cubicBezTo>
                  <a:cubicBezTo>
                    <a:pt x="761" y="905"/>
                    <a:pt x="760" y="896"/>
                    <a:pt x="758" y="893"/>
                  </a:cubicBezTo>
                  <a:cubicBezTo>
                    <a:pt x="752" y="895"/>
                    <a:pt x="751" y="904"/>
                    <a:pt x="748" y="910"/>
                  </a:cubicBezTo>
                  <a:close/>
                  <a:moveTo>
                    <a:pt x="1267" y="893"/>
                  </a:moveTo>
                  <a:cubicBezTo>
                    <a:pt x="1268" y="897"/>
                    <a:pt x="1265" y="900"/>
                    <a:pt x="1270" y="900"/>
                  </a:cubicBezTo>
                  <a:cubicBezTo>
                    <a:pt x="1271" y="898"/>
                    <a:pt x="1269" y="895"/>
                    <a:pt x="1268" y="893"/>
                  </a:cubicBezTo>
                  <a:cubicBezTo>
                    <a:pt x="1268" y="893"/>
                    <a:pt x="1268" y="894"/>
                    <a:pt x="1267" y="893"/>
                  </a:cubicBezTo>
                  <a:close/>
                  <a:moveTo>
                    <a:pt x="893" y="898"/>
                  </a:moveTo>
                  <a:cubicBezTo>
                    <a:pt x="895" y="899"/>
                    <a:pt x="895" y="894"/>
                    <a:pt x="893" y="895"/>
                  </a:cubicBezTo>
                  <a:cubicBezTo>
                    <a:pt x="893" y="896"/>
                    <a:pt x="893" y="897"/>
                    <a:pt x="893" y="898"/>
                  </a:cubicBezTo>
                  <a:close/>
                  <a:moveTo>
                    <a:pt x="904" y="900"/>
                  </a:moveTo>
                  <a:cubicBezTo>
                    <a:pt x="900" y="900"/>
                    <a:pt x="902" y="908"/>
                    <a:pt x="901" y="912"/>
                  </a:cubicBezTo>
                  <a:cubicBezTo>
                    <a:pt x="904" y="913"/>
                    <a:pt x="911" y="914"/>
                    <a:pt x="911" y="910"/>
                  </a:cubicBezTo>
                  <a:cubicBezTo>
                    <a:pt x="909" y="907"/>
                    <a:pt x="907" y="904"/>
                    <a:pt x="905" y="900"/>
                  </a:cubicBezTo>
                  <a:cubicBezTo>
                    <a:pt x="906" y="900"/>
                    <a:pt x="907" y="902"/>
                    <a:pt x="908" y="900"/>
                  </a:cubicBezTo>
                  <a:cubicBezTo>
                    <a:pt x="905" y="900"/>
                    <a:pt x="906" y="896"/>
                    <a:pt x="905" y="895"/>
                  </a:cubicBezTo>
                  <a:cubicBezTo>
                    <a:pt x="904" y="895"/>
                    <a:pt x="903" y="895"/>
                    <a:pt x="903" y="895"/>
                  </a:cubicBezTo>
                  <a:cubicBezTo>
                    <a:pt x="902" y="897"/>
                    <a:pt x="903" y="899"/>
                    <a:pt x="904" y="900"/>
                  </a:cubicBezTo>
                  <a:close/>
                  <a:moveTo>
                    <a:pt x="912" y="901"/>
                  </a:moveTo>
                  <a:cubicBezTo>
                    <a:pt x="912" y="899"/>
                    <a:pt x="913" y="895"/>
                    <a:pt x="910" y="895"/>
                  </a:cubicBezTo>
                  <a:cubicBezTo>
                    <a:pt x="910" y="898"/>
                    <a:pt x="910" y="901"/>
                    <a:pt x="912" y="901"/>
                  </a:cubicBezTo>
                  <a:close/>
                  <a:moveTo>
                    <a:pt x="769" y="905"/>
                  </a:moveTo>
                  <a:cubicBezTo>
                    <a:pt x="770" y="904"/>
                    <a:pt x="771" y="899"/>
                    <a:pt x="769" y="900"/>
                  </a:cubicBezTo>
                  <a:cubicBezTo>
                    <a:pt x="769" y="901"/>
                    <a:pt x="768" y="905"/>
                    <a:pt x="769" y="905"/>
                  </a:cubicBezTo>
                  <a:close/>
                  <a:moveTo>
                    <a:pt x="860" y="908"/>
                  </a:moveTo>
                  <a:cubicBezTo>
                    <a:pt x="864" y="909"/>
                    <a:pt x="869" y="909"/>
                    <a:pt x="875" y="909"/>
                  </a:cubicBezTo>
                  <a:cubicBezTo>
                    <a:pt x="873" y="904"/>
                    <a:pt x="869" y="902"/>
                    <a:pt x="865" y="900"/>
                  </a:cubicBezTo>
                  <a:cubicBezTo>
                    <a:pt x="864" y="903"/>
                    <a:pt x="860" y="904"/>
                    <a:pt x="860" y="908"/>
                  </a:cubicBezTo>
                  <a:close/>
                  <a:moveTo>
                    <a:pt x="741" y="905"/>
                  </a:moveTo>
                  <a:cubicBezTo>
                    <a:pt x="743" y="906"/>
                    <a:pt x="744" y="900"/>
                    <a:pt x="741" y="900"/>
                  </a:cubicBezTo>
                  <a:cubicBezTo>
                    <a:pt x="741" y="902"/>
                    <a:pt x="740" y="903"/>
                    <a:pt x="741" y="905"/>
                  </a:cubicBezTo>
                  <a:close/>
                  <a:moveTo>
                    <a:pt x="897" y="909"/>
                  </a:moveTo>
                  <a:cubicBezTo>
                    <a:pt x="899" y="907"/>
                    <a:pt x="897" y="902"/>
                    <a:pt x="895" y="901"/>
                  </a:cubicBezTo>
                  <a:cubicBezTo>
                    <a:pt x="894" y="903"/>
                    <a:pt x="893" y="910"/>
                    <a:pt x="897" y="909"/>
                  </a:cubicBezTo>
                  <a:close/>
                  <a:moveTo>
                    <a:pt x="1203" y="921"/>
                  </a:moveTo>
                  <a:cubicBezTo>
                    <a:pt x="1200" y="914"/>
                    <a:pt x="1196" y="909"/>
                    <a:pt x="1190" y="904"/>
                  </a:cubicBezTo>
                  <a:cubicBezTo>
                    <a:pt x="1186" y="906"/>
                    <a:pt x="1182" y="902"/>
                    <a:pt x="1177" y="904"/>
                  </a:cubicBezTo>
                  <a:cubicBezTo>
                    <a:pt x="1177" y="905"/>
                    <a:pt x="1177" y="907"/>
                    <a:pt x="1177" y="908"/>
                  </a:cubicBezTo>
                  <a:cubicBezTo>
                    <a:pt x="1180" y="909"/>
                    <a:pt x="1186" y="907"/>
                    <a:pt x="1186" y="910"/>
                  </a:cubicBezTo>
                  <a:cubicBezTo>
                    <a:pt x="1183" y="912"/>
                    <a:pt x="1176" y="907"/>
                    <a:pt x="1175" y="913"/>
                  </a:cubicBezTo>
                  <a:cubicBezTo>
                    <a:pt x="1177" y="913"/>
                    <a:pt x="1181" y="912"/>
                    <a:pt x="1182" y="915"/>
                  </a:cubicBezTo>
                  <a:cubicBezTo>
                    <a:pt x="1182" y="917"/>
                    <a:pt x="1182" y="919"/>
                    <a:pt x="1181" y="920"/>
                  </a:cubicBezTo>
                  <a:cubicBezTo>
                    <a:pt x="1180" y="918"/>
                    <a:pt x="1177" y="916"/>
                    <a:pt x="1175" y="918"/>
                  </a:cubicBezTo>
                  <a:cubicBezTo>
                    <a:pt x="1175" y="920"/>
                    <a:pt x="1177" y="920"/>
                    <a:pt x="1177" y="923"/>
                  </a:cubicBezTo>
                  <a:cubicBezTo>
                    <a:pt x="1175" y="923"/>
                    <a:pt x="1174" y="925"/>
                    <a:pt x="1174" y="928"/>
                  </a:cubicBezTo>
                  <a:cubicBezTo>
                    <a:pt x="1185" y="929"/>
                    <a:pt x="1198" y="929"/>
                    <a:pt x="1208" y="928"/>
                  </a:cubicBezTo>
                  <a:cubicBezTo>
                    <a:pt x="1208" y="924"/>
                    <a:pt x="1204" y="924"/>
                    <a:pt x="1203" y="921"/>
                  </a:cubicBezTo>
                  <a:close/>
                  <a:moveTo>
                    <a:pt x="1195" y="904"/>
                  </a:moveTo>
                  <a:cubicBezTo>
                    <a:pt x="1197" y="908"/>
                    <a:pt x="1202" y="916"/>
                    <a:pt x="1207" y="912"/>
                  </a:cubicBezTo>
                  <a:cubicBezTo>
                    <a:pt x="1206" y="912"/>
                    <a:pt x="1206" y="911"/>
                    <a:pt x="1206" y="910"/>
                  </a:cubicBezTo>
                  <a:cubicBezTo>
                    <a:pt x="1203" y="911"/>
                    <a:pt x="1202" y="910"/>
                    <a:pt x="1201" y="908"/>
                  </a:cubicBezTo>
                  <a:cubicBezTo>
                    <a:pt x="1202" y="907"/>
                    <a:pt x="1204" y="907"/>
                    <a:pt x="1206" y="907"/>
                  </a:cubicBezTo>
                  <a:cubicBezTo>
                    <a:pt x="1207" y="902"/>
                    <a:pt x="1198" y="903"/>
                    <a:pt x="1195" y="904"/>
                  </a:cubicBezTo>
                  <a:close/>
                  <a:moveTo>
                    <a:pt x="767" y="910"/>
                  </a:moveTo>
                  <a:cubicBezTo>
                    <a:pt x="767" y="909"/>
                    <a:pt x="768" y="909"/>
                    <a:pt x="769" y="908"/>
                  </a:cubicBezTo>
                  <a:cubicBezTo>
                    <a:pt x="769" y="903"/>
                    <a:pt x="763" y="908"/>
                    <a:pt x="767" y="910"/>
                  </a:cubicBezTo>
                  <a:close/>
                  <a:moveTo>
                    <a:pt x="740" y="910"/>
                  </a:moveTo>
                  <a:cubicBezTo>
                    <a:pt x="743" y="911"/>
                    <a:pt x="743" y="909"/>
                    <a:pt x="743" y="907"/>
                  </a:cubicBezTo>
                  <a:cubicBezTo>
                    <a:pt x="742" y="907"/>
                    <a:pt x="741" y="907"/>
                    <a:pt x="741" y="907"/>
                  </a:cubicBezTo>
                  <a:cubicBezTo>
                    <a:pt x="741" y="909"/>
                    <a:pt x="740" y="909"/>
                    <a:pt x="740" y="910"/>
                  </a:cubicBezTo>
                  <a:close/>
                  <a:moveTo>
                    <a:pt x="884" y="917"/>
                  </a:moveTo>
                  <a:cubicBezTo>
                    <a:pt x="884" y="910"/>
                    <a:pt x="870" y="910"/>
                    <a:pt x="860" y="912"/>
                  </a:cubicBezTo>
                  <a:cubicBezTo>
                    <a:pt x="866" y="917"/>
                    <a:pt x="871" y="924"/>
                    <a:pt x="878" y="928"/>
                  </a:cubicBezTo>
                  <a:cubicBezTo>
                    <a:pt x="880" y="923"/>
                    <a:pt x="885" y="922"/>
                    <a:pt x="884" y="917"/>
                  </a:cubicBezTo>
                  <a:close/>
                  <a:moveTo>
                    <a:pt x="741" y="932"/>
                  </a:moveTo>
                  <a:cubicBezTo>
                    <a:pt x="736" y="935"/>
                    <a:pt x="736" y="941"/>
                    <a:pt x="734" y="945"/>
                  </a:cubicBezTo>
                  <a:cubicBezTo>
                    <a:pt x="743" y="937"/>
                    <a:pt x="751" y="928"/>
                    <a:pt x="761" y="920"/>
                  </a:cubicBezTo>
                  <a:cubicBezTo>
                    <a:pt x="761" y="917"/>
                    <a:pt x="761" y="915"/>
                    <a:pt x="760" y="913"/>
                  </a:cubicBezTo>
                  <a:cubicBezTo>
                    <a:pt x="758" y="913"/>
                    <a:pt x="753" y="913"/>
                    <a:pt x="748" y="913"/>
                  </a:cubicBezTo>
                  <a:cubicBezTo>
                    <a:pt x="745" y="919"/>
                    <a:pt x="741" y="924"/>
                    <a:pt x="741" y="932"/>
                  </a:cubicBezTo>
                  <a:close/>
                  <a:moveTo>
                    <a:pt x="737" y="926"/>
                  </a:moveTo>
                  <a:cubicBezTo>
                    <a:pt x="740" y="924"/>
                    <a:pt x="740" y="917"/>
                    <a:pt x="742" y="914"/>
                  </a:cubicBezTo>
                  <a:cubicBezTo>
                    <a:pt x="741" y="914"/>
                    <a:pt x="741" y="914"/>
                    <a:pt x="740" y="913"/>
                  </a:cubicBezTo>
                  <a:cubicBezTo>
                    <a:pt x="737" y="916"/>
                    <a:pt x="736" y="920"/>
                    <a:pt x="737" y="926"/>
                  </a:cubicBezTo>
                  <a:close/>
                  <a:moveTo>
                    <a:pt x="902" y="916"/>
                  </a:moveTo>
                  <a:cubicBezTo>
                    <a:pt x="901" y="922"/>
                    <a:pt x="900" y="933"/>
                    <a:pt x="908" y="932"/>
                  </a:cubicBezTo>
                  <a:cubicBezTo>
                    <a:pt x="911" y="938"/>
                    <a:pt x="918" y="945"/>
                    <a:pt x="923" y="947"/>
                  </a:cubicBezTo>
                  <a:cubicBezTo>
                    <a:pt x="918" y="937"/>
                    <a:pt x="916" y="925"/>
                    <a:pt x="912" y="915"/>
                  </a:cubicBezTo>
                  <a:cubicBezTo>
                    <a:pt x="908" y="916"/>
                    <a:pt x="906" y="915"/>
                    <a:pt x="902" y="916"/>
                  </a:cubicBezTo>
                  <a:close/>
                  <a:moveTo>
                    <a:pt x="1267" y="921"/>
                  </a:moveTo>
                  <a:cubicBezTo>
                    <a:pt x="1268" y="922"/>
                    <a:pt x="1270" y="921"/>
                    <a:pt x="1270" y="922"/>
                  </a:cubicBezTo>
                  <a:cubicBezTo>
                    <a:pt x="1270" y="924"/>
                    <a:pt x="1269" y="924"/>
                    <a:pt x="1268" y="923"/>
                  </a:cubicBezTo>
                  <a:cubicBezTo>
                    <a:pt x="1268" y="924"/>
                    <a:pt x="1267" y="927"/>
                    <a:pt x="1268" y="927"/>
                  </a:cubicBezTo>
                  <a:cubicBezTo>
                    <a:pt x="1268" y="925"/>
                    <a:pt x="1271" y="927"/>
                    <a:pt x="1272" y="926"/>
                  </a:cubicBezTo>
                  <a:cubicBezTo>
                    <a:pt x="1270" y="922"/>
                    <a:pt x="1273" y="919"/>
                    <a:pt x="1270" y="917"/>
                  </a:cubicBezTo>
                  <a:cubicBezTo>
                    <a:pt x="1270" y="918"/>
                    <a:pt x="1270" y="918"/>
                    <a:pt x="1268" y="918"/>
                  </a:cubicBezTo>
                  <a:cubicBezTo>
                    <a:pt x="1269" y="917"/>
                    <a:pt x="1269" y="915"/>
                    <a:pt x="1268" y="915"/>
                  </a:cubicBezTo>
                  <a:cubicBezTo>
                    <a:pt x="1267" y="917"/>
                    <a:pt x="1268" y="918"/>
                    <a:pt x="1267" y="921"/>
                  </a:cubicBezTo>
                  <a:close/>
                  <a:moveTo>
                    <a:pt x="1205" y="917"/>
                  </a:moveTo>
                  <a:cubicBezTo>
                    <a:pt x="1205" y="919"/>
                    <a:pt x="1206" y="921"/>
                    <a:pt x="1208" y="921"/>
                  </a:cubicBezTo>
                  <a:cubicBezTo>
                    <a:pt x="1210" y="919"/>
                    <a:pt x="1207" y="915"/>
                    <a:pt x="1205" y="917"/>
                  </a:cubicBezTo>
                  <a:close/>
                  <a:moveTo>
                    <a:pt x="775" y="918"/>
                  </a:moveTo>
                  <a:cubicBezTo>
                    <a:pt x="776" y="924"/>
                    <a:pt x="783" y="927"/>
                    <a:pt x="782" y="932"/>
                  </a:cubicBezTo>
                  <a:cubicBezTo>
                    <a:pt x="777" y="930"/>
                    <a:pt x="778" y="923"/>
                    <a:pt x="773" y="920"/>
                  </a:cubicBezTo>
                  <a:cubicBezTo>
                    <a:pt x="772" y="925"/>
                    <a:pt x="771" y="933"/>
                    <a:pt x="773" y="936"/>
                  </a:cubicBezTo>
                  <a:cubicBezTo>
                    <a:pt x="769" y="938"/>
                    <a:pt x="770" y="947"/>
                    <a:pt x="770" y="950"/>
                  </a:cubicBezTo>
                  <a:cubicBezTo>
                    <a:pt x="775" y="945"/>
                    <a:pt x="783" y="940"/>
                    <a:pt x="783" y="932"/>
                  </a:cubicBezTo>
                  <a:cubicBezTo>
                    <a:pt x="784" y="933"/>
                    <a:pt x="786" y="933"/>
                    <a:pt x="787" y="933"/>
                  </a:cubicBezTo>
                  <a:cubicBezTo>
                    <a:pt x="791" y="927"/>
                    <a:pt x="797" y="923"/>
                    <a:pt x="801" y="918"/>
                  </a:cubicBezTo>
                  <a:cubicBezTo>
                    <a:pt x="792" y="917"/>
                    <a:pt x="787" y="918"/>
                    <a:pt x="775" y="918"/>
                  </a:cubicBezTo>
                  <a:close/>
                  <a:moveTo>
                    <a:pt x="767" y="926"/>
                  </a:moveTo>
                  <a:cubicBezTo>
                    <a:pt x="768" y="924"/>
                    <a:pt x="767" y="920"/>
                    <a:pt x="768" y="918"/>
                  </a:cubicBezTo>
                  <a:cubicBezTo>
                    <a:pt x="767" y="918"/>
                    <a:pt x="766" y="918"/>
                    <a:pt x="765" y="918"/>
                  </a:cubicBezTo>
                  <a:cubicBezTo>
                    <a:pt x="765" y="921"/>
                    <a:pt x="764" y="924"/>
                    <a:pt x="767" y="926"/>
                  </a:cubicBezTo>
                  <a:close/>
                  <a:moveTo>
                    <a:pt x="880" y="930"/>
                  </a:moveTo>
                  <a:cubicBezTo>
                    <a:pt x="884" y="929"/>
                    <a:pt x="888" y="929"/>
                    <a:pt x="892" y="929"/>
                  </a:cubicBezTo>
                  <a:cubicBezTo>
                    <a:pt x="893" y="923"/>
                    <a:pt x="890" y="920"/>
                    <a:pt x="885" y="919"/>
                  </a:cubicBezTo>
                  <a:cubicBezTo>
                    <a:pt x="885" y="924"/>
                    <a:pt x="880" y="926"/>
                    <a:pt x="880" y="930"/>
                  </a:cubicBezTo>
                  <a:close/>
                  <a:moveTo>
                    <a:pt x="1306" y="926"/>
                  </a:moveTo>
                  <a:cubicBezTo>
                    <a:pt x="1307" y="924"/>
                    <a:pt x="1303" y="922"/>
                    <a:pt x="1302" y="924"/>
                  </a:cubicBezTo>
                  <a:cubicBezTo>
                    <a:pt x="1304" y="925"/>
                    <a:pt x="1304" y="926"/>
                    <a:pt x="1306" y="926"/>
                  </a:cubicBezTo>
                  <a:close/>
                  <a:moveTo>
                    <a:pt x="733" y="951"/>
                  </a:moveTo>
                  <a:cubicBezTo>
                    <a:pt x="740" y="951"/>
                    <a:pt x="754" y="952"/>
                    <a:pt x="764" y="951"/>
                  </a:cubicBezTo>
                  <a:cubicBezTo>
                    <a:pt x="763" y="942"/>
                    <a:pt x="763" y="932"/>
                    <a:pt x="761" y="924"/>
                  </a:cubicBezTo>
                  <a:cubicBezTo>
                    <a:pt x="752" y="933"/>
                    <a:pt x="742" y="942"/>
                    <a:pt x="733" y="951"/>
                  </a:cubicBezTo>
                  <a:close/>
                  <a:moveTo>
                    <a:pt x="1266" y="933"/>
                  </a:moveTo>
                  <a:cubicBezTo>
                    <a:pt x="1270" y="933"/>
                    <a:pt x="1273" y="933"/>
                    <a:pt x="1272" y="930"/>
                  </a:cubicBezTo>
                  <a:cubicBezTo>
                    <a:pt x="1270" y="928"/>
                    <a:pt x="1265" y="929"/>
                    <a:pt x="1266" y="933"/>
                  </a:cubicBezTo>
                  <a:close/>
                  <a:moveTo>
                    <a:pt x="1302" y="934"/>
                  </a:moveTo>
                  <a:cubicBezTo>
                    <a:pt x="1304" y="934"/>
                    <a:pt x="1305" y="935"/>
                    <a:pt x="1305" y="935"/>
                  </a:cubicBezTo>
                  <a:cubicBezTo>
                    <a:pt x="1306" y="934"/>
                    <a:pt x="1307" y="933"/>
                    <a:pt x="1307" y="931"/>
                  </a:cubicBezTo>
                  <a:cubicBezTo>
                    <a:pt x="1306" y="930"/>
                    <a:pt x="1305" y="930"/>
                    <a:pt x="1303" y="930"/>
                  </a:cubicBezTo>
                  <a:cubicBezTo>
                    <a:pt x="1302" y="931"/>
                    <a:pt x="1302" y="933"/>
                    <a:pt x="1302" y="934"/>
                  </a:cubicBezTo>
                  <a:close/>
                  <a:moveTo>
                    <a:pt x="895" y="945"/>
                  </a:moveTo>
                  <a:cubicBezTo>
                    <a:pt x="895" y="940"/>
                    <a:pt x="895" y="935"/>
                    <a:pt x="893" y="931"/>
                  </a:cubicBezTo>
                  <a:cubicBezTo>
                    <a:pt x="889" y="931"/>
                    <a:pt x="885" y="931"/>
                    <a:pt x="882" y="931"/>
                  </a:cubicBezTo>
                  <a:cubicBezTo>
                    <a:pt x="885" y="937"/>
                    <a:pt x="890" y="941"/>
                    <a:pt x="895" y="945"/>
                  </a:cubicBezTo>
                  <a:close/>
                  <a:moveTo>
                    <a:pt x="1194" y="934"/>
                  </a:moveTo>
                  <a:cubicBezTo>
                    <a:pt x="1187" y="932"/>
                    <a:pt x="1178" y="928"/>
                    <a:pt x="1173" y="934"/>
                  </a:cubicBezTo>
                  <a:cubicBezTo>
                    <a:pt x="1173" y="937"/>
                    <a:pt x="1177" y="935"/>
                    <a:pt x="1177" y="938"/>
                  </a:cubicBezTo>
                  <a:cubicBezTo>
                    <a:pt x="1177" y="941"/>
                    <a:pt x="1174" y="937"/>
                    <a:pt x="1172" y="939"/>
                  </a:cubicBezTo>
                  <a:cubicBezTo>
                    <a:pt x="1172" y="940"/>
                    <a:pt x="1172" y="941"/>
                    <a:pt x="1172" y="943"/>
                  </a:cubicBezTo>
                  <a:cubicBezTo>
                    <a:pt x="1176" y="943"/>
                    <a:pt x="1179" y="941"/>
                    <a:pt x="1181" y="943"/>
                  </a:cubicBezTo>
                  <a:cubicBezTo>
                    <a:pt x="1181" y="947"/>
                    <a:pt x="1176" y="947"/>
                    <a:pt x="1173" y="946"/>
                  </a:cubicBezTo>
                  <a:cubicBezTo>
                    <a:pt x="1172" y="949"/>
                    <a:pt x="1172" y="954"/>
                    <a:pt x="1170" y="956"/>
                  </a:cubicBezTo>
                  <a:cubicBezTo>
                    <a:pt x="1182" y="958"/>
                    <a:pt x="1201" y="957"/>
                    <a:pt x="1214" y="955"/>
                  </a:cubicBezTo>
                  <a:cubicBezTo>
                    <a:pt x="1206" y="949"/>
                    <a:pt x="1199" y="943"/>
                    <a:pt x="1194" y="934"/>
                  </a:cubicBezTo>
                  <a:close/>
                  <a:moveTo>
                    <a:pt x="1201" y="937"/>
                  </a:moveTo>
                  <a:cubicBezTo>
                    <a:pt x="1204" y="939"/>
                    <a:pt x="1206" y="945"/>
                    <a:pt x="1212" y="942"/>
                  </a:cubicBezTo>
                  <a:cubicBezTo>
                    <a:pt x="1213" y="937"/>
                    <a:pt x="1206" y="940"/>
                    <a:pt x="1205" y="937"/>
                  </a:cubicBezTo>
                  <a:cubicBezTo>
                    <a:pt x="1205" y="935"/>
                    <a:pt x="1209" y="936"/>
                    <a:pt x="1210" y="936"/>
                  </a:cubicBezTo>
                  <a:cubicBezTo>
                    <a:pt x="1211" y="935"/>
                    <a:pt x="1211" y="934"/>
                    <a:pt x="1210" y="932"/>
                  </a:cubicBezTo>
                  <a:cubicBezTo>
                    <a:pt x="1207" y="930"/>
                    <a:pt x="1201" y="931"/>
                    <a:pt x="1196" y="931"/>
                  </a:cubicBezTo>
                  <a:cubicBezTo>
                    <a:pt x="1194" y="935"/>
                    <a:pt x="1199" y="935"/>
                    <a:pt x="1201" y="937"/>
                  </a:cubicBezTo>
                  <a:close/>
                  <a:moveTo>
                    <a:pt x="901" y="949"/>
                  </a:moveTo>
                  <a:cubicBezTo>
                    <a:pt x="909" y="950"/>
                    <a:pt x="915" y="952"/>
                    <a:pt x="923" y="952"/>
                  </a:cubicBezTo>
                  <a:cubicBezTo>
                    <a:pt x="916" y="946"/>
                    <a:pt x="909" y="939"/>
                    <a:pt x="901" y="933"/>
                  </a:cubicBezTo>
                  <a:cubicBezTo>
                    <a:pt x="901" y="936"/>
                    <a:pt x="901" y="946"/>
                    <a:pt x="901" y="949"/>
                  </a:cubicBezTo>
                  <a:close/>
                  <a:moveTo>
                    <a:pt x="1267" y="939"/>
                  </a:moveTo>
                  <a:cubicBezTo>
                    <a:pt x="1269" y="938"/>
                    <a:pt x="1272" y="939"/>
                    <a:pt x="1273" y="937"/>
                  </a:cubicBezTo>
                  <a:cubicBezTo>
                    <a:pt x="1272" y="935"/>
                    <a:pt x="1267" y="935"/>
                    <a:pt x="1267" y="939"/>
                  </a:cubicBezTo>
                  <a:close/>
                  <a:moveTo>
                    <a:pt x="1277" y="941"/>
                  </a:moveTo>
                  <a:cubicBezTo>
                    <a:pt x="1280" y="958"/>
                    <a:pt x="1281" y="980"/>
                    <a:pt x="1287" y="996"/>
                  </a:cubicBezTo>
                  <a:cubicBezTo>
                    <a:pt x="1289" y="996"/>
                    <a:pt x="1290" y="996"/>
                    <a:pt x="1292" y="996"/>
                  </a:cubicBezTo>
                  <a:cubicBezTo>
                    <a:pt x="1296" y="976"/>
                    <a:pt x="1297" y="957"/>
                    <a:pt x="1299" y="941"/>
                  </a:cubicBezTo>
                  <a:cubicBezTo>
                    <a:pt x="1293" y="941"/>
                    <a:pt x="1285" y="940"/>
                    <a:pt x="1277" y="941"/>
                  </a:cubicBezTo>
                  <a:close/>
                  <a:moveTo>
                    <a:pt x="1266" y="941"/>
                  </a:moveTo>
                  <a:cubicBezTo>
                    <a:pt x="1270" y="945"/>
                    <a:pt x="1261" y="951"/>
                    <a:pt x="1268" y="953"/>
                  </a:cubicBezTo>
                  <a:cubicBezTo>
                    <a:pt x="1268" y="952"/>
                    <a:pt x="1267" y="949"/>
                    <a:pt x="1268" y="949"/>
                  </a:cubicBezTo>
                  <a:cubicBezTo>
                    <a:pt x="1275" y="948"/>
                    <a:pt x="1271" y="952"/>
                    <a:pt x="1275" y="954"/>
                  </a:cubicBezTo>
                  <a:cubicBezTo>
                    <a:pt x="1275" y="948"/>
                    <a:pt x="1271" y="946"/>
                    <a:pt x="1274" y="941"/>
                  </a:cubicBezTo>
                  <a:cubicBezTo>
                    <a:pt x="1272" y="942"/>
                    <a:pt x="1268" y="941"/>
                    <a:pt x="1266" y="941"/>
                  </a:cubicBezTo>
                  <a:close/>
                  <a:moveTo>
                    <a:pt x="1310" y="943"/>
                  </a:moveTo>
                  <a:cubicBezTo>
                    <a:pt x="1313" y="953"/>
                    <a:pt x="1312" y="959"/>
                    <a:pt x="1314" y="970"/>
                  </a:cubicBezTo>
                  <a:cubicBezTo>
                    <a:pt x="1317" y="967"/>
                    <a:pt x="1318" y="957"/>
                    <a:pt x="1314" y="954"/>
                  </a:cubicBezTo>
                  <a:cubicBezTo>
                    <a:pt x="1318" y="953"/>
                    <a:pt x="1320" y="943"/>
                    <a:pt x="1317" y="941"/>
                  </a:cubicBezTo>
                  <a:cubicBezTo>
                    <a:pt x="1313" y="940"/>
                    <a:pt x="1312" y="941"/>
                    <a:pt x="1310" y="943"/>
                  </a:cubicBezTo>
                  <a:close/>
                  <a:moveTo>
                    <a:pt x="1301" y="969"/>
                  </a:moveTo>
                  <a:cubicBezTo>
                    <a:pt x="1304" y="967"/>
                    <a:pt x="1306" y="965"/>
                    <a:pt x="1310" y="964"/>
                  </a:cubicBezTo>
                  <a:cubicBezTo>
                    <a:pt x="1309" y="960"/>
                    <a:pt x="1304" y="959"/>
                    <a:pt x="1305" y="955"/>
                  </a:cubicBezTo>
                  <a:cubicBezTo>
                    <a:pt x="1307" y="955"/>
                    <a:pt x="1307" y="957"/>
                    <a:pt x="1309" y="957"/>
                  </a:cubicBezTo>
                  <a:cubicBezTo>
                    <a:pt x="1310" y="953"/>
                    <a:pt x="1307" y="950"/>
                    <a:pt x="1304" y="948"/>
                  </a:cubicBezTo>
                  <a:cubicBezTo>
                    <a:pt x="1305" y="948"/>
                    <a:pt x="1305" y="947"/>
                    <a:pt x="1304" y="946"/>
                  </a:cubicBezTo>
                  <a:cubicBezTo>
                    <a:pt x="1306" y="946"/>
                    <a:pt x="1306" y="947"/>
                    <a:pt x="1307" y="946"/>
                  </a:cubicBezTo>
                  <a:cubicBezTo>
                    <a:pt x="1307" y="945"/>
                    <a:pt x="1307" y="944"/>
                    <a:pt x="1307" y="943"/>
                  </a:cubicBezTo>
                  <a:cubicBezTo>
                    <a:pt x="1305" y="943"/>
                    <a:pt x="1304" y="942"/>
                    <a:pt x="1302" y="942"/>
                  </a:cubicBezTo>
                  <a:cubicBezTo>
                    <a:pt x="1304" y="949"/>
                    <a:pt x="1299" y="959"/>
                    <a:pt x="1301" y="969"/>
                  </a:cubicBezTo>
                  <a:close/>
                  <a:moveTo>
                    <a:pt x="1212" y="949"/>
                  </a:moveTo>
                  <a:cubicBezTo>
                    <a:pt x="1213" y="947"/>
                    <a:pt x="1212" y="945"/>
                    <a:pt x="1209" y="945"/>
                  </a:cubicBezTo>
                  <a:cubicBezTo>
                    <a:pt x="1208" y="948"/>
                    <a:pt x="1210" y="949"/>
                    <a:pt x="1212" y="949"/>
                  </a:cubicBezTo>
                  <a:close/>
                  <a:moveTo>
                    <a:pt x="1321" y="962"/>
                  </a:moveTo>
                  <a:cubicBezTo>
                    <a:pt x="1325" y="960"/>
                    <a:pt x="1321" y="952"/>
                    <a:pt x="1320" y="949"/>
                  </a:cubicBezTo>
                  <a:cubicBezTo>
                    <a:pt x="1320" y="955"/>
                    <a:pt x="1320" y="958"/>
                    <a:pt x="1321" y="962"/>
                  </a:cubicBezTo>
                  <a:close/>
                  <a:moveTo>
                    <a:pt x="1274" y="956"/>
                  </a:moveTo>
                  <a:cubicBezTo>
                    <a:pt x="1272" y="955"/>
                    <a:pt x="1268" y="952"/>
                    <a:pt x="1265" y="956"/>
                  </a:cubicBezTo>
                  <a:cubicBezTo>
                    <a:pt x="1266" y="960"/>
                    <a:pt x="1261" y="964"/>
                    <a:pt x="1264" y="967"/>
                  </a:cubicBezTo>
                  <a:cubicBezTo>
                    <a:pt x="1264" y="966"/>
                    <a:pt x="1268" y="966"/>
                    <a:pt x="1267" y="968"/>
                  </a:cubicBezTo>
                  <a:cubicBezTo>
                    <a:pt x="1266" y="970"/>
                    <a:pt x="1264" y="967"/>
                    <a:pt x="1263" y="969"/>
                  </a:cubicBezTo>
                  <a:cubicBezTo>
                    <a:pt x="1263" y="975"/>
                    <a:pt x="1263" y="981"/>
                    <a:pt x="1261" y="985"/>
                  </a:cubicBezTo>
                  <a:cubicBezTo>
                    <a:pt x="1263" y="985"/>
                    <a:pt x="1265" y="982"/>
                    <a:pt x="1266" y="985"/>
                  </a:cubicBezTo>
                  <a:cubicBezTo>
                    <a:pt x="1265" y="987"/>
                    <a:pt x="1264" y="988"/>
                    <a:pt x="1261" y="987"/>
                  </a:cubicBezTo>
                  <a:cubicBezTo>
                    <a:pt x="1262" y="990"/>
                    <a:pt x="1261" y="992"/>
                    <a:pt x="1261" y="995"/>
                  </a:cubicBezTo>
                  <a:cubicBezTo>
                    <a:pt x="1269" y="993"/>
                    <a:pt x="1274" y="995"/>
                    <a:pt x="1281" y="994"/>
                  </a:cubicBezTo>
                  <a:cubicBezTo>
                    <a:pt x="1279" y="991"/>
                    <a:pt x="1279" y="989"/>
                    <a:pt x="1279" y="986"/>
                  </a:cubicBezTo>
                  <a:cubicBezTo>
                    <a:pt x="1277" y="989"/>
                    <a:pt x="1273" y="983"/>
                    <a:pt x="1272" y="980"/>
                  </a:cubicBezTo>
                  <a:cubicBezTo>
                    <a:pt x="1269" y="980"/>
                    <a:pt x="1267" y="980"/>
                    <a:pt x="1268" y="977"/>
                  </a:cubicBezTo>
                  <a:cubicBezTo>
                    <a:pt x="1270" y="976"/>
                    <a:pt x="1273" y="976"/>
                    <a:pt x="1276" y="977"/>
                  </a:cubicBezTo>
                  <a:cubicBezTo>
                    <a:pt x="1275" y="979"/>
                    <a:pt x="1272" y="978"/>
                    <a:pt x="1272" y="980"/>
                  </a:cubicBezTo>
                  <a:cubicBezTo>
                    <a:pt x="1275" y="981"/>
                    <a:pt x="1276" y="984"/>
                    <a:pt x="1279" y="984"/>
                  </a:cubicBezTo>
                  <a:cubicBezTo>
                    <a:pt x="1280" y="982"/>
                    <a:pt x="1277" y="984"/>
                    <a:pt x="1277" y="982"/>
                  </a:cubicBezTo>
                  <a:cubicBezTo>
                    <a:pt x="1281" y="977"/>
                    <a:pt x="1275" y="972"/>
                    <a:pt x="1273" y="968"/>
                  </a:cubicBezTo>
                  <a:cubicBezTo>
                    <a:pt x="1273" y="967"/>
                    <a:pt x="1274" y="966"/>
                    <a:pt x="1274" y="966"/>
                  </a:cubicBezTo>
                  <a:cubicBezTo>
                    <a:pt x="1276" y="966"/>
                    <a:pt x="1276" y="967"/>
                    <a:pt x="1277" y="967"/>
                  </a:cubicBezTo>
                  <a:cubicBezTo>
                    <a:pt x="1275" y="964"/>
                    <a:pt x="1276" y="957"/>
                    <a:pt x="1274" y="956"/>
                  </a:cubicBezTo>
                  <a:close/>
                  <a:moveTo>
                    <a:pt x="731" y="957"/>
                  </a:moveTo>
                  <a:cubicBezTo>
                    <a:pt x="730" y="964"/>
                    <a:pt x="732" y="968"/>
                    <a:pt x="733" y="972"/>
                  </a:cubicBezTo>
                  <a:cubicBezTo>
                    <a:pt x="737" y="972"/>
                    <a:pt x="736" y="972"/>
                    <a:pt x="739" y="972"/>
                  </a:cubicBezTo>
                  <a:cubicBezTo>
                    <a:pt x="740" y="970"/>
                    <a:pt x="742" y="969"/>
                    <a:pt x="741" y="965"/>
                  </a:cubicBezTo>
                  <a:cubicBezTo>
                    <a:pt x="739" y="962"/>
                    <a:pt x="733" y="960"/>
                    <a:pt x="733" y="957"/>
                  </a:cubicBezTo>
                  <a:cubicBezTo>
                    <a:pt x="739" y="957"/>
                    <a:pt x="738" y="962"/>
                    <a:pt x="743" y="962"/>
                  </a:cubicBezTo>
                  <a:cubicBezTo>
                    <a:pt x="744" y="960"/>
                    <a:pt x="745" y="959"/>
                    <a:pt x="745" y="956"/>
                  </a:cubicBezTo>
                  <a:cubicBezTo>
                    <a:pt x="741" y="955"/>
                    <a:pt x="732" y="954"/>
                    <a:pt x="731" y="957"/>
                  </a:cubicBezTo>
                  <a:close/>
                  <a:moveTo>
                    <a:pt x="903" y="956"/>
                  </a:moveTo>
                  <a:cubicBezTo>
                    <a:pt x="903" y="962"/>
                    <a:pt x="908" y="963"/>
                    <a:pt x="907" y="969"/>
                  </a:cubicBezTo>
                  <a:cubicBezTo>
                    <a:pt x="914" y="969"/>
                    <a:pt x="913" y="959"/>
                    <a:pt x="911" y="956"/>
                  </a:cubicBezTo>
                  <a:cubicBezTo>
                    <a:pt x="907" y="956"/>
                    <a:pt x="905" y="956"/>
                    <a:pt x="903" y="956"/>
                  </a:cubicBezTo>
                  <a:close/>
                  <a:moveTo>
                    <a:pt x="920" y="960"/>
                  </a:moveTo>
                  <a:cubicBezTo>
                    <a:pt x="920" y="958"/>
                    <a:pt x="923" y="959"/>
                    <a:pt x="923" y="956"/>
                  </a:cubicBezTo>
                  <a:cubicBezTo>
                    <a:pt x="921" y="956"/>
                    <a:pt x="919" y="956"/>
                    <a:pt x="917" y="956"/>
                  </a:cubicBezTo>
                  <a:cubicBezTo>
                    <a:pt x="917" y="958"/>
                    <a:pt x="917" y="960"/>
                    <a:pt x="920" y="960"/>
                  </a:cubicBezTo>
                  <a:close/>
                  <a:moveTo>
                    <a:pt x="757" y="974"/>
                  </a:moveTo>
                  <a:cubicBezTo>
                    <a:pt x="759" y="969"/>
                    <a:pt x="760" y="962"/>
                    <a:pt x="764" y="958"/>
                  </a:cubicBezTo>
                  <a:cubicBezTo>
                    <a:pt x="761" y="956"/>
                    <a:pt x="755" y="957"/>
                    <a:pt x="751" y="956"/>
                  </a:cubicBezTo>
                  <a:cubicBezTo>
                    <a:pt x="751" y="962"/>
                    <a:pt x="750" y="973"/>
                    <a:pt x="757" y="974"/>
                  </a:cubicBezTo>
                  <a:close/>
                  <a:moveTo>
                    <a:pt x="832" y="971"/>
                  </a:moveTo>
                  <a:cubicBezTo>
                    <a:pt x="835" y="966"/>
                    <a:pt x="840" y="961"/>
                    <a:pt x="842" y="957"/>
                  </a:cubicBezTo>
                  <a:cubicBezTo>
                    <a:pt x="835" y="957"/>
                    <a:pt x="826" y="958"/>
                    <a:pt x="820" y="956"/>
                  </a:cubicBezTo>
                  <a:cubicBezTo>
                    <a:pt x="823" y="962"/>
                    <a:pt x="827" y="967"/>
                    <a:pt x="832" y="971"/>
                  </a:cubicBezTo>
                  <a:close/>
                  <a:moveTo>
                    <a:pt x="851" y="957"/>
                  </a:moveTo>
                  <a:cubicBezTo>
                    <a:pt x="856" y="963"/>
                    <a:pt x="861" y="969"/>
                    <a:pt x="867" y="975"/>
                  </a:cubicBezTo>
                  <a:cubicBezTo>
                    <a:pt x="875" y="969"/>
                    <a:pt x="882" y="963"/>
                    <a:pt x="889" y="957"/>
                  </a:cubicBezTo>
                  <a:cubicBezTo>
                    <a:pt x="878" y="956"/>
                    <a:pt x="863" y="957"/>
                    <a:pt x="851" y="957"/>
                  </a:cubicBezTo>
                  <a:close/>
                  <a:moveTo>
                    <a:pt x="878" y="971"/>
                  </a:moveTo>
                  <a:cubicBezTo>
                    <a:pt x="885" y="971"/>
                    <a:pt x="892" y="971"/>
                    <a:pt x="899" y="971"/>
                  </a:cubicBezTo>
                  <a:cubicBezTo>
                    <a:pt x="898" y="966"/>
                    <a:pt x="898" y="960"/>
                    <a:pt x="897" y="956"/>
                  </a:cubicBezTo>
                  <a:cubicBezTo>
                    <a:pt x="889" y="959"/>
                    <a:pt x="884" y="965"/>
                    <a:pt x="878" y="971"/>
                  </a:cubicBezTo>
                  <a:close/>
                  <a:moveTo>
                    <a:pt x="770" y="958"/>
                  </a:moveTo>
                  <a:cubicBezTo>
                    <a:pt x="779" y="962"/>
                    <a:pt x="783" y="970"/>
                    <a:pt x="793" y="973"/>
                  </a:cubicBezTo>
                  <a:cubicBezTo>
                    <a:pt x="797" y="968"/>
                    <a:pt x="802" y="963"/>
                    <a:pt x="806" y="957"/>
                  </a:cubicBezTo>
                  <a:cubicBezTo>
                    <a:pt x="795" y="958"/>
                    <a:pt x="780" y="955"/>
                    <a:pt x="770" y="958"/>
                  </a:cubicBezTo>
                  <a:close/>
                  <a:moveTo>
                    <a:pt x="810" y="957"/>
                  </a:moveTo>
                  <a:cubicBezTo>
                    <a:pt x="805" y="962"/>
                    <a:pt x="799" y="971"/>
                    <a:pt x="795" y="977"/>
                  </a:cubicBezTo>
                  <a:cubicBezTo>
                    <a:pt x="802" y="982"/>
                    <a:pt x="808" y="987"/>
                    <a:pt x="815" y="992"/>
                  </a:cubicBezTo>
                  <a:cubicBezTo>
                    <a:pt x="820" y="985"/>
                    <a:pt x="826" y="981"/>
                    <a:pt x="829" y="973"/>
                  </a:cubicBezTo>
                  <a:cubicBezTo>
                    <a:pt x="825" y="968"/>
                    <a:pt x="820" y="963"/>
                    <a:pt x="816" y="957"/>
                  </a:cubicBezTo>
                  <a:cubicBezTo>
                    <a:pt x="814" y="957"/>
                    <a:pt x="811" y="957"/>
                    <a:pt x="810" y="957"/>
                  </a:cubicBezTo>
                  <a:close/>
                  <a:moveTo>
                    <a:pt x="846" y="958"/>
                  </a:moveTo>
                  <a:cubicBezTo>
                    <a:pt x="843" y="963"/>
                    <a:pt x="833" y="968"/>
                    <a:pt x="834" y="974"/>
                  </a:cubicBezTo>
                  <a:cubicBezTo>
                    <a:pt x="834" y="981"/>
                    <a:pt x="844" y="985"/>
                    <a:pt x="847" y="990"/>
                  </a:cubicBezTo>
                  <a:cubicBezTo>
                    <a:pt x="853" y="986"/>
                    <a:pt x="859" y="982"/>
                    <a:pt x="864" y="977"/>
                  </a:cubicBezTo>
                  <a:cubicBezTo>
                    <a:pt x="858" y="971"/>
                    <a:pt x="853" y="963"/>
                    <a:pt x="846" y="958"/>
                  </a:cubicBezTo>
                  <a:close/>
                  <a:moveTo>
                    <a:pt x="920" y="962"/>
                  </a:moveTo>
                  <a:cubicBezTo>
                    <a:pt x="920" y="966"/>
                    <a:pt x="920" y="970"/>
                    <a:pt x="922" y="973"/>
                  </a:cubicBezTo>
                  <a:cubicBezTo>
                    <a:pt x="924" y="973"/>
                    <a:pt x="925" y="972"/>
                    <a:pt x="927" y="972"/>
                  </a:cubicBezTo>
                  <a:cubicBezTo>
                    <a:pt x="925" y="968"/>
                    <a:pt x="928" y="959"/>
                    <a:pt x="924" y="958"/>
                  </a:cubicBezTo>
                  <a:cubicBezTo>
                    <a:pt x="925" y="961"/>
                    <a:pt x="921" y="960"/>
                    <a:pt x="920" y="962"/>
                  </a:cubicBezTo>
                  <a:close/>
                  <a:moveTo>
                    <a:pt x="767" y="973"/>
                  </a:moveTo>
                  <a:cubicBezTo>
                    <a:pt x="772" y="974"/>
                    <a:pt x="783" y="975"/>
                    <a:pt x="786" y="973"/>
                  </a:cubicBezTo>
                  <a:cubicBezTo>
                    <a:pt x="781" y="968"/>
                    <a:pt x="775" y="964"/>
                    <a:pt x="769" y="960"/>
                  </a:cubicBezTo>
                  <a:cubicBezTo>
                    <a:pt x="768" y="964"/>
                    <a:pt x="768" y="969"/>
                    <a:pt x="767" y="973"/>
                  </a:cubicBezTo>
                  <a:close/>
                  <a:moveTo>
                    <a:pt x="1194" y="962"/>
                  </a:moveTo>
                  <a:cubicBezTo>
                    <a:pt x="1188" y="961"/>
                    <a:pt x="1177" y="959"/>
                    <a:pt x="1169" y="962"/>
                  </a:cubicBezTo>
                  <a:cubicBezTo>
                    <a:pt x="1168" y="965"/>
                    <a:pt x="1171" y="964"/>
                    <a:pt x="1171" y="967"/>
                  </a:cubicBezTo>
                  <a:cubicBezTo>
                    <a:pt x="1168" y="967"/>
                    <a:pt x="1167" y="969"/>
                    <a:pt x="1169" y="971"/>
                  </a:cubicBezTo>
                  <a:cubicBezTo>
                    <a:pt x="1172" y="973"/>
                    <a:pt x="1180" y="968"/>
                    <a:pt x="1180" y="973"/>
                  </a:cubicBezTo>
                  <a:cubicBezTo>
                    <a:pt x="1176" y="975"/>
                    <a:pt x="1173" y="976"/>
                    <a:pt x="1169" y="975"/>
                  </a:cubicBezTo>
                  <a:cubicBezTo>
                    <a:pt x="1168" y="978"/>
                    <a:pt x="1168" y="983"/>
                    <a:pt x="1168" y="985"/>
                  </a:cubicBezTo>
                  <a:cubicBezTo>
                    <a:pt x="1177" y="986"/>
                    <a:pt x="1188" y="985"/>
                    <a:pt x="1199" y="985"/>
                  </a:cubicBezTo>
                  <a:cubicBezTo>
                    <a:pt x="1206" y="985"/>
                    <a:pt x="1214" y="987"/>
                    <a:pt x="1218" y="983"/>
                  </a:cubicBezTo>
                  <a:cubicBezTo>
                    <a:pt x="1215" y="981"/>
                    <a:pt x="1210" y="981"/>
                    <a:pt x="1210" y="975"/>
                  </a:cubicBezTo>
                  <a:cubicBezTo>
                    <a:pt x="1203" y="974"/>
                    <a:pt x="1200" y="966"/>
                    <a:pt x="1197" y="963"/>
                  </a:cubicBezTo>
                  <a:cubicBezTo>
                    <a:pt x="1202" y="965"/>
                    <a:pt x="1209" y="975"/>
                    <a:pt x="1216" y="969"/>
                  </a:cubicBezTo>
                  <a:cubicBezTo>
                    <a:pt x="1215" y="966"/>
                    <a:pt x="1211" y="969"/>
                    <a:pt x="1211" y="965"/>
                  </a:cubicBezTo>
                  <a:cubicBezTo>
                    <a:pt x="1211" y="962"/>
                    <a:pt x="1216" y="966"/>
                    <a:pt x="1216" y="962"/>
                  </a:cubicBezTo>
                  <a:cubicBezTo>
                    <a:pt x="1211" y="959"/>
                    <a:pt x="1199" y="959"/>
                    <a:pt x="1194" y="962"/>
                  </a:cubicBezTo>
                  <a:close/>
                  <a:moveTo>
                    <a:pt x="1320" y="968"/>
                  </a:moveTo>
                  <a:cubicBezTo>
                    <a:pt x="1321" y="969"/>
                    <a:pt x="1323" y="970"/>
                    <a:pt x="1325" y="971"/>
                  </a:cubicBezTo>
                  <a:cubicBezTo>
                    <a:pt x="1326" y="967"/>
                    <a:pt x="1324" y="964"/>
                    <a:pt x="1320" y="964"/>
                  </a:cubicBezTo>
                  <a:cubicBezTo>
                    <a:pt x="1320" y="965"/>
                    <a:pt x="1319" y="966"/>
                    <a:pt x="1320" y="968"/>
                  </a:cubicBezTo>
                  <a:close/>
                  <a:moveTo>
                    <a:pt x="762" y="975"/>
                  </a:moveTo>
                  <a:cubicBezTo>
                    <a:pt x="764" y="973"/>
                    <a:pt x="766" y="966"/>
                    <a:pt x="763" y="964"/>
                  </a:cubicBezTo>
                  <a:cubicBezTo>
                    <a:pt x="763" y="968"/>
                    <a:pt x="758" y="972"/>
                    <a:pt x="762" y="975"/>
                  </a:cubicBezTo>
                  <a:close/>
                  <a:moveTo>
                    <a:pt x="904" y="971"/>
                  </a:moveTo>
                  <a:cubicBezTo>
                    <a:pt x="905" y="970"/>
                    <a:pt x="905" y="966"/>
                    <a:pt x="903" y="966"/>
                  </a:cubicBezTo>
                  <a:cubicBezTo>
                    <a:pt x="903" y="968"/>
                    <a:pt x="903" y="971"/>
                    <a:pt x="904" y="971"/>
                  </a:cubicBezTo>
                  <a:close/>
                  <a:moveTo>
                    <a:pt x="1313" y="977"/>
                  </a:moveTo>
                  <a:cubicBezTo>
                    <a:pt x="1308" y="978"/>
                    <a:pt x="1308" y="972"/>
                    <a:pt x="1309" y="969"/>
                  </a:cubicBezTo>
                  <a:cubicBezTo>
                    <a:pt x="1307" y="970"/>
                    <a:pt x="1307" y="968"/>
                    <a:pt x="1304" y="969"/>
                  </a:cubicBezTo>
                  <a:cubicBezTo>
                    <a:pt x="1304" y="972"/>
                    <a:pt x="1302" y="973"/>
                    <a:pt x="1299" y="973"/>
                  </a:cubicBezTo>
                  <a:cubicBezTo>
                    <a:pt x="1299" y="982"/>
                    <a:pt x="1296" y="988"/>
                    <a:pt x="1298" y="996"/>
                  </a:cubicBezTo>
                  <a:cubicBezTo>
                    <a:pt x="1303" y="996"/>
                    <a:pt x="1307" y="995"/>
                    <a:pt x="1311" y="996"/>
                  </a:cubicBezTo>
                  <a:cubicBezTo>
                    <a:pt x="1314" y="990"/>
                    <a:pt x="1312" y="984"/>
                    <a:pt x="1313" y="977"/>
                  </a:cubicBezTo>
                  <a:close/>
                  <a:moveTo>
                    <a:pt x="909" y="971"/>
                  </a:moveTo>
                  <a:cubicBezTo>
                    <a:pt x="910" y="973"/>
                    <a:pt x="909" y="977"/>
                    <a:pt x="912" y="977"/>
                  </a:cubicBezTo>
                  <a:cubicBezTo>
                    <a:pt x="911" y="974"/>
                    <a:pt x="914" y="971"/>
                    <a:pt x="911" y="969"/>
                  </a:cubicBezTo>
                  <a:cubicBezTo>
                    <a:pt x="911" y="970"/>
                    <a:pt x="910" y="971"/>
                    <a:pt x="909" y="971"/>
                  </a:cubicBezTo>
                  <a:close/>
                  <a:moveTo>
                    <a:pt x="1421" y="971"/>
                  </a:moveTo>
                  <a:cubicBezTo>
                    <a:pt x="1421" y="973"/>
                    <a:pt x="1423" y="973"/>
                    <a:pt x="1423" y="975"/>
                  </a:cubicBezTo>
                  <a:cubicBezTo>
                    <a:pt x="1419" y="978"/>
                    <a:pt x="1419" y="986"/>
                    <a:pt x="1420" y="991"/>
                  </a:cubicBezTo>
                  <a:cubicBezTo>
                    <a:pt x="1422" y="991"/>
                    <a:pt x="1422" y="992"/>
                    <a:pt x="1423" y="992"/>
                  </a:cubicBezTo>
                  <a:cubicBezTo>
                    <a:pt x="1424" y="989"/>
                    <a:pt x="1425" y="987"/>
                    <a:pt x="1429" y="988"/>
                  </a:cubicBezTo>
                  <a:cubicBezTo>
                    <a:pt x="1425" y="983"/>
                    <a:pt x="1427" y="977"/>
                    <a:pt x="1427" y="969"/>
                  </a:cubicBezTo>
                  <a:cubicBezTo>
                    <a:pt x="1424" y="969"/>
                    <a:pt x="1422" y="970"/>
                    <a:pt x="1421" y="971"/>
                  </a:cubicBezTo>
                  <a:close/>
                  <a:moveTo>
                    <a:pt x="1320" y="988"/>
                  </a:moveTo>
                  <a:cubicBezTo>
                    <a:pt x="1323" y="985"/>
                    <a:pt x="1324" y="982"/>
                    <a:pt x="1321" y="978"/>
                  </a:cubicBezTo>
                  <a:cubicBezTo>
                    <a:pt x="1323" y="978"/>
                    <a:pt x="1324" y="977"/>
                    <a:pt x="1325" y="979"/>
                  </a:cubicBezTo>
                  <a:cubicBezTo>
                    <a:pt x="1326" y="973"/>
                    <a:pt x="1322" y="972"/>
                    <a:pt x="1319" y="971"/>
                  </a:cubicBezTo>
                  <a:cubicBezTo>
                    <a:pt x="1318" y="978"/>
                    <a:pt x="1316" y="984"/>
                    <a:pt x="1320" y="988"/>
                  </a:cubicBezTo>
                  <a:close/>
                  <a:moveTo>
                    <a:pt x="879" y="973"/>
                  </a:moveTo>
                  <a:cubicBezTo>
                    <a:pt x="882" y="977"/>
                    <a:pt x="887" y="980"/>
                    <a:pt x="892" y="982"/>
                  </a:cubicBezTo>
                  <a:cubicBezTo>
                    <a:pt x="895" y="982"/>
                    <a:pt x="896" y="977"/>
                    <a:pt x="899" y="979"/>
                  </a:cubicBezTo>
                  <a:cubicBezTo>
                    <a:pt x="902" y="967"/>
                    <a:pt x="887" y="975"/>
                    <a:pt x="879" y="973"/>
                  </a:cubicBezTo>
                  <a:close/>
                  <a:moveTo>
                    <a:pt x="726" y="988"/>
                  </a:moveTo>
                  <a:cubicBezTo>
                    <a:pt x="730" y="988"/>
                    <a:pt x="729" y="984"/>
                    <a:pt x="732" y="986"/>
                  </a:cubicBezTo>
                  <a:cubicBezTo>
                    <a:pt x="732" y="984"/>
                    <a:pt x="732" y="982"/>
                    <a:pt x="733" y="982"/>
                  </a:cubicBezTo>
                  <a:cubicBezTo>
                    <a:pt x="735" y="982"/>
                    <a:pt x="734" y="984"/>
                    <a:pt x="735" y="984"/>
                  </a:cubicBezTo>
                  <a:cubicBezTo>
                    <a:pt x="736" y="981"/>
                    <a:pt x="739" y="979"/>
                    <a:pt x="739" y="975"/>
                  </a:cubicBezTo>
                  <a:cubicBezTo>
                    <a:pt x="737" y="975"/>
                    <a:pt x="736" y="974"/>
                    <a:pt x="734" y="974"/>
                  </a:cubicBezTo>
                  <a:cubicBezTo>
                    <a:pt x="734" y="981"/>
                    <a:pt x="728" y="982"/>
                    <a:pt x="726" y="988"/>
                  </a:cubicBezTo>
                  <a:close/>
                  <a:moveTo>
                    <a:pt x="744" y="978"/>
                  </a:moveTo>
                  <a:cubicBezTo>
                    <a:pt x="744" y="977"/>
                    <a:pt x="747" y="977"/>
                    <a:pt x="746" y="975"/>
                  </a:cubicBezTo>
                  <a:cubicBezTo>
                    <a:pt x="744" y="972"/>
                    <a:pt x="741" y="977"/>
                    <a:pt x="744" y="978"/>
                  </a:cubicBezTo>
                  <a:close/>
                  <a:moveTo>
                    <a:pt x="920" y="982"/>
                  </a:moveTo>
                  <a:cubicBezTo>
                    <a:pt x="919" y="979"/>
                    <a:pt x="919" y="975"/>
                    <a:pt x="917" y="974"/>
                  </a:cubicBezTo>
                  <a:cubicBezTo>
                    <a:pt x="915" y="977"/>
                    <a:pt x="916" y="982"/>
                    <a:pt x="920" y="982"/>
                  </a:cubicBezTo>
                  <a:close/>
                  <a:moveTo>
                    <a:pt x="927" y="984"/>
                  </a:moveTo>
                  <a:cubicBezTo>
                    <a:pt x="926" y="981"/>
                    <a:pt x="926" y="977"/>
                    <a:pt x="925" y="975"/>
                  </a:cubicBezTo>
                  <a:cubicBezTo>
                    <a:pt x="924" y="975"/>
                    <a:pt x="924" y="974"/>
                    <a:pt x="923" y="974"/>
                  </a:cubicBezTo>
                  <a:cubicBezTo>
                    <a:pt x="924" y="978"/>
                    <a:pt x="923" y="983"/>
                    <a:pt x="927" y="984"/>
                  </a:cubicBezTo>
                  <a:close/>
                  <a:moveTo>
                    <a:pt x="729" y="980"/>
                  </a:moveTo>
                  <a:cubicBezTo>
                    <a:pt x="728" y="977"/>
                    <a:pt x="730" y="977"/>
                    <a:pt x="729" y="975"/>
                  </a:cubicBezTo>
                  <a:cubicBezTo>
                    <a:pt x="729" y="975"/>
                    <a:pt x="728" y="975"/>
                    <a:pt x="727" y="975"/>
                  </a:cubicBezTo>
                  <a:cubicBezTo>
                    <a:pt x="727" y="977"/>
                    <a:pt x="725" y="979"/>
                    <a:pt x="729" y="980"/>
                  </a:cubicBezTo>
                  <a:close/>
                  <a:moveTo>
                    <a:pt x="877" y="975"/>
                  </a:moveTo>
                  <a:cubicBezTo>
                    <a:pt x="873" y="975"/>
                    <a:pt x="871" y="975"/>
                    <a:pt x="869" y="977"/>
                  </a:cubicBezTo>
                  <a:cubicBezTo>
                    <a:pt x="872" y="982"/>
                    <a:pt x="876" y="987"/>
                    <a:pt x="882" y="991"/>
                  </a:cubicBezTo>
                  <a:cubicBezTo>
                    <a:pt x="884" y="989"/>
                    <a:pt x="887" y="987"/>
                    <a:pt x="889" y="985"/>
                  </a:cubicBezTo>
                  <a:cubicBezTo>
                    <a:pt x="887" y="979"/>
                    <a:pt x="879" y="980"/>
                    <a:pt x="877" y="975"/>
                  </a:cubicBezTo>
                  <a:close/>
                  <a:moveTo>
                    <a:pt x="1211" y="976"/>
                  </a:moveTo>
                  <a:cubicBezTo>
                    <a:pt x="1213" y="977"/>
                    <a:pt x="1215" y="977"/>
                    <a:pt x="1218" y="978"/>
                  </a:cubicBezTo>
                  <a:cubicBezTo>
                    <a:pt x="1219" y="973"/>
                    <a:pt x="1212" y="974"/>
                    <a:pt x="1211" y="976"/>
                  </a:cubicBezTo>
                  <a:close/>
                  <a:moveTo>
                    <a:pt x="752" y="992"/>
                  </a:moveTo>
                  <a:cubicBezTo>
                    <a:pt x="757" y="992"/>
                    <a:pt x="755" y="986"/>
                    <a:pt x="758" y="984"/>
                  </a:cubicBezTo>
                  <a:cubicBezTo>
                    <a:pt x="758" y="987"/>
                    <a:pt x="755" y="992"/>
                    <a:pt x="760" y="992"/>
                  </a:cubicBezTo>
                  <a:cubicBezTo>
                    <a:pt x="760" y="990"/>
                    <a:pt x="761" y="987"/>
                    <a:pt x="761" y="982"/>
                  </a:cubicBezTo>
                  <a:cubicBezTo>
                    <a:pt x="758" y="983"/>
                    <a:pt x="759" y="981"/>
                    <a:pt x="757" y="980"/>
                  </a:cubicBezTo>
                  <a:cubicBezTo>
                    <a:pt x="756" y="981"/>
                    <a:pt x="757" y="983"/>
                    <a:pt x="754" y="983"/>
                  </a:cubicBezTo>
                  <a:cubicBezTo>
                    <a:pt x="752" y="981"/>
                    <a:pt x="755" y="979"/>
                    <a:pt x="755" y="976"/>
                  </a:cubicBezTo>
                  <a:cubicBezTo>
                    <a:pt x="754" y="976"/>
                    <a:pt x="754" y="975"/>
                    <a:pt x="753" y="975"/>
                  </a:cubicBezTo>
                  <a:cubicBezTo>
                    <a:pt x="751" y="981"/>
                    <a:pt x="755" y="986"/>
                    <a:pt x="752" y="992"/>
                  </a:cubicBezTo>
                  <a:close/>
                  <a:moveTo>
                    <a:pt x="761" y="979"/>
                  </a:moveTo>
                  <a:cubicBezTo>
                    <a:pt x="763" y="979"/>
                    <a:pt x="763" y="976"/>
                    <a:pt x="761" y="976"/>
                  </a:cubicBezTo>
                  <a:cubicBezTo>
                    <a:pt x="761" y="977"/>
                    <a:pt x="761" y="978"/>
                    <a:pt x="761" y="979"/>
                  </a:cubicBezTo>
                  <a:close/>
                  <a:moveTo>
                    <a:pt x="767" y="986"/>
                  </a:moveTo>
                  <a:cubicBezTo>
                    <a:pt x="766" y="986"/>
                    <a:pt x="765" y="987"/>
                    <a:pt x="765" y="989"/>
                  </a:cubicBezTo>
                  <a:cubicBezTo>
                    <a:pt x="766" y="991"/>
                    <a:pt x="772" y="993"/>
                    <a:pt x="772" y="990"/>
                  </a:cubicBezTo>
                  <a:cubicBezTo>
                    <a:pt x="770" y="989"/>
                    <a:pt x="769" y="991"/>
                    <a:pt x="768" y="990"/>
                  </a:cubicBezTo>
                  <a:cubicBezTo>
                    <a:pt x="769" y="988"/>
                    <a:pt x="767" y="985"/>
                    <a:pt x="769" y="985"/>
                  </a:cubicBezTo>
                  <a:cubicBezTo>
                    <a:pt x="775" y="989"/>
                    <a:pt x="779" y="977"/>
                    <a:pt x="785" y="979"/>
                  </a:cubicBezTo>
                  <a:cubicBezTo>
                    <a:pt x="782" y="982"/>
                    <a:pt x="778" y="985"/>
                    <a:pt x="774" y="987"/>
                  </a:cubicBezTo>
                  <a:cubicBezTo>
                    <a:pt x="774" y="989"/>
                    <a:pt x="775" y="991"/>
                    <a:pt x="778" y="991"/>
                  </a:cubicBezTo>
                  <a:cubicBezTo>
                    <a:pt x="781" y="987"/>
                    <a:pt x="786" y="983"/>
                    <a:pt x="789" y="977"/>
                  </a:cubicBezTo>
                  <a:cubicBezTo>
                    <a:pt x="783" y="976"/>
                    <a:pt x="775" y="976"/>
                    <a:pt x="767" y="976"/>
                  </a:cubicBezTo>
                  <a:cubicBezTo>
                    <a:pt x="766" y="979"/>
                    <a:pt x="766" y="982"/>
                    <a:pt x="767" y="986"/>
                  </a:cubicBezTo>
                  <a:close/>
                  <a:moveTo>
                    <a:pt x="782" y="992"/>
                  </a:moveTo>
                  <a:cubicBezTo>
                    <a:pt x="791" y="991"/>
                    <a:pt x="803" y="994"/>
                    <a:pt x="810" y="990"/>
                  </a:cubicBezTo>
                  <a:cubicBezTo>
                    <a:pt x="803" y="987"/>
                    <a:pt x="799" y="982"/>
                    <a:pt x="793" y="978"/>
                  </a:cubicBezTo>
                  <a:cubicBezTo>
                    <a:pt x="790" y="984"/>
                    <a:pt x="784" y="986"/>
                    <a:pt x="782" y="992"/>
                  </a:cubicBezTo>
                  <a:close/>
                  <a:moveTo>
                    <a:pt x="738" y="991"/>
                  </a:moveTo>
                  <a:cubicBezTo>
                    <a:pt x="740" y="992"/>
                    <a:pt x="744" y="992"/>
                    <a:pt x="747" y="992"/>
                  </a:cubicBezTo>
                  <a:cubicBezTo>
                    <a:pt x="748" y="989"/>
                    <a:pt x="746" y="985"/>
                    <a:pt x="746" y="979"/>
                  </a:cubicBezTo>
                  <a:cubicBezTo>
                    <a:pt x="740" y="980"/>
                    <a:pt x="740" y="987"/>
                    <a:pt x="738" y="991"/>
                  </a:cubicBezTo>
                  <a:close/>
                  <a:moveTo>
                    <a:pt x="907" y="990"/>
                  </a:moveTo>
                  <a:cubicBezTo>
                    <a:pt x="909" y="990"/>
                    <a:pt x="911" y="991"/>
                    <a:pt x="912" y="990"/>
                  </a:cubicBezTo>
                  <a:cubicBezTo>
                    <a:pt x="912" y="985"/>
                    <a:pt x="908" y="982"/>
                    <a:pt x="907" y="979"/>
                  </a:cubicBezTo>
                  <a:cubicBezTo>
                    <a:pt x="905" y="982"/>
                    <a:pt x="907" y="988"/>
                    <a:pt x="907" y="990"/>
                  </a:cubicBezTo>
                  <a:close/>
                  <a:moveTo>
                    <a:pt x="865" y="980"/>
                  </a:moveTo>
                  <a:cubicBezTo>
                    <a:pt x="862" y="983"/>
                    <a:pt x="856" y="985"/>
                    <a:pt x="854" y="990"/>
                  </a:cubicBezTo>
                  <a:cubicBezTo>
                    <a:pt x="860" y="990"/>
                    <a:pt x="868" y="991"/>
                    <a:pt x="873" y="990"/>
                  </a:cubicBezTo>
                  <a:cubicBezTo>
                    <a:pt x="872" y="984"/>
                    <a:pt x="868" y="983"/>
                    <a:pt x="865" y="980"/>
                  </a:cubicBezTo>
                  <a:close/>
                  <a:moveTo>
                    <a:pt x="895" y="984"/>
                  </a:moveTo>
                  <a:cubicBezTo>
                    <a:pt x="897" y="985"/>
                    <a:pt x="898" y="988"/>
                    <a:pt x="901" y="988"/>
                  </a:cubicBezTo>
                  <a:cubicBezTo>
                    <a:pt x="902" y="980"/>
                    <a:pt x="897" y="978"/>
                    <a:pt x="895" y="984"/>
                  </a:cubicBezTo>
                  <a:close/>
                  <a:moveTo>
                    <a:pt x="1350" y="984"/>
                  </a:moveTo>
                  <a:cubicBezTo>
                    <a:pt x="1349" y="982"/>
                    <a:pt x="1350" y="980"/>
                    <a:pt x="1348" y="980"/>
                  </a:cubicBezTo>
                  <a:cubicBezTo>
                    <a:pt x="1349" y="983"/>
                    <a:pt x="1347" y="984"/>
                    <a:pt x="1350" y="984"/>
                  </a:cubicBezTo>
                  <a:close/>
                  <a:moveTo>
                    <a:pt x="1162" y="986"/>
                  </a:moveTo>
                  <a:cubicBezTo>
                    <a:pt x="1163" y="985"/>
                    <a:pt x="1164" y="980"/>
                    <a:pt x="1162" y="981"/>
                  </a:cubicBezTo>
                  <a:cubicBezTo>
                    <a:pt x="1162" y="982"/>
                    <a:pt x="1161" y="985"/>
                    <a:pt x="1162" y="986"/>
                  </a:cubicBezTo>
                  <a:close/>
                  <a:moveTo>
                    <a:pt x="918" y="992"/>
                  </a:moveTo>
                  <a:cubicBezTo>
                    <a:pt x="919" y="990"/>
                    <a:pt x="922" y="992"/>
                    <a:pt x="923" y="990"/>
                  </a:cubicBezTo>
                  <a:cubicBezTo>
                    <a:pt x="923" y="986"/>
                    <a:pt x="920" y="985"/>
                    <a:pt x="917" y="984"/>
                  </a:cubicBezTo>
                  <a:cubicBezTo>
                    <a:pt x="916" y="986"/>
                    <a:pt x="916" y="991"/>
                    <a:pt x="918" y="992"/>
                  </a:cubicBezTo>
                  <a:close/>
                  <a:moveTo>
                    <a:pt x="886" y="988"/>
                  </a:moveTo>
                  <a:cubicBezTo>
                    <a:pt x="887" y="994"/>
                    <a:pt x="895" y="989"/>
                    <a:pt x="899" y="991"/>
                  </a:cubicBezTo>
                  <a:cubicBezTo>
                    <a:pt x="897" y="985"/>
                    <a:pt x="891" y="986"/>
                    <a:pt x="886" y="988"/>
                  </a:cubicBezTo>
                  <a:close/>
                  <a:moveTo>
                    <a:pt x="729" y="991"/>
                  </a:moveTo>
                  <a:cubicBezTo>
                    <a:pt x="730" y="992"/>
                    <a:pt x="731" y="992"/>
                    <a:pt x="733" y="992"/>
                  </a:cubicBezTo>
                  <a:cubicBezTo>
                    <a:pt x="733" y="991"/>
                    <a:pt x="733" y="990"/>
                    <a:pt x="733" y="989"/>
                  </a:cubicBezTo>
                  <a:cubicBezTo>
                    <a:pt x="732" y="989"/>
                    <a:pt x="732" y="988"/>
                    <a:pt x="731" y="988"/>
                  </a:cubicBezTo>
                  <a:cubicBezTo>
                    <a:pt x="730" y="989"/>
                    <a:pt x="730" y="990"/>
                    <a:pt x="729" y="991"/>
                  </a:cubicBezTo>
                  <a:close/>
                  <a:moveTo>
                    <a:pt x="1194" y="990"/>
                  </a:moveTo>
                  <a:cubicBezTo>
                    <a:pt x="1187" y="990"/>
                    <a:pt x="1171" y="984"/>
                    <a:pt x="1166" y="992"/>
                  </a:cubicBezTo>
                  <a:cubicBezTo>
                    <a:pt x="1170" y="988"/>
                    <a:pt x="1173" y="994"/>
                    <a:pt x="1175" y="996"/>
                  </a:cubicBezTo>
                  <a:cubicBezTo>
                    <a:pt x="1178" y="994"/>
                    <a:pt x="1184" y="992"/>
                    <a:pt x="1186" y="995"/>
                  </a:cubicBezTo>
                  <a:cubicBezTo>
                    <a:pt x="1187" y="993"/>
                    <a:pt x="1185" y="991"/>
                    <a:pt x="1186" y="991"/>
                  </a:cubicBezTo>
                  <a:cubicBezTo>
                    <a:pt x="1190" y="991"/>
                    <a:pt x="1190" y="995"/>
                    <a:pt x="1193" y="995"/>
                  </a:cubicBezTo>
                  <a:cubicBezTo>
                    <a:pt x="1197" y="993"/>
                    <a:pt x="1200" y="993"/>
                    <a:pt x="1204" y="994"/>
                  </a:cubicBezTo>
                  <a:cubicBezTo>
                    <a:pt x="1206" y="994"/>
                    <a:pt x="1205" y="991"/>
                    <a:pt x="1207" y="991"/>
                  </a:cubicBezTo>
                  <a:cubicBezTo>
                    <a:pt x="1211" y="994"/>
                    <a:pt x="1216" y="992"/>
                    <a:pt x="1220" y="990"/>
                  </a:cubicBezTo>
                  <a:cubicBezTo>
                    <a:pt x="1212" y="986"/>
                    <a:pt x="1203" y="990"/>
                    <a:pt x="1194" y="990"/>
                  </a:cubicBezTo>
                  <a:close/>
                  <a:moveTo>
                    <a:pt x="1321" y="995"/>
                  </a:moveTo>
                  <a:cubicBezTo>
                    <a:pt x="1323" y="995"/>
                    <a:pt x="1322" y="993"/>
                    <a:pt x="1324" y="995"/>
                  </a:cubicBezTo>
                  <a:cubicBezTo>
                    <a:pt x="1324" y="993"/>
                    <a:pt x="1322" y="990"/>
                    <a:pt x="1320" y="992"/>
                  </a:cubicBezTo>
                  <a:cubicBezTo>
                    <a:pt x="1322" y="992"/>
                    <a:pt x="1321" y="994"/>
                    <a:pt x="1321" y="995"/>
                  </a:cubicBezTo>
                  <a:close/>
                  <a:moveTo>
                    <a:pt x="1133" y="998"/>
                  </a:moveTo>
                  <a:cubicBezTo>
                    <a:pt x="1136" y="998"/>
                    <a:pt x="1135" y="1000"/>
                    <a:pt x="1134" y="1001"/>
                  </a:cubicBezTo>
                  <a:cubicBezTo>
                    <a:pt x="1136" y="1001"/>
                    <a:pt x="1139" y="1004"/>
                    <a:pt x="1141" y="1001"/>
                  </a:cubicBezTo>
                  <a:cubicBezTo>
                    <a:pt x="1141" y="1002"/>
                    <a:pt x="1142" y="1003"/>
                    <a:pt x="1142" y="1003"/>
                  </a:cubicBezTo>
                  <a:cubicBezTo>
                    <a:pt x="1144" y="1002"/>
                    <a:pt x="1148" y="1003"/>
                    <a:pt x="1149" y="1001"/>
                  </a:cubicBezTo>
                  <a:cubicBezTo>
                    <a:pt x="1146" y="999"/>
                    <a:pt x="1140" y="1000"/>
                    <a:pt x="1138" y="997"/>
                  </a:cubicBezTo>
                  <a:cubicBezTo>
                    <a:pt x="1136" y="997"/>
                    <a:pt x="1133" y="996"/>
                    <a:pt x="1133" y="998"/>
                  </a:cubicBezTo>
                  <a:close/>
                  <a:moveTo>
                    <a:pt x="1102" y="1003"/>
                  </a:moveTo>
                  <a:cubicBezTo>
                    <a:pt x="1104" y="1005"/>
                    <a:pt x="1107" y="1003"/>
                    <a:pt x="1109" y="1004"/>
                  </a:cubicBezTo>
                  <a:cubicBezTo>
                    <a:pt x="1108" y="1002"/>
                    <a:pt x="1109" y="999"/>
                    <a:pt x="1106" y="999"/>
                  </a:cubicBezTo>
                  <a:cubicBezTo>
                    <a:pt x="1106" y="1002"/>
                    <a:pt x="1102" y="1000"/>
                    <a:pt x="1102" y="1003"/>
                  </a:cubicBezTo>
                  <a:close/>
                  <a:moveTo>
                    <a:pt x="1125" y="1004"/>
                  </a:moveTo>
                  <a:cubicBezTo>
                    <a:pt x="1125" y="1001"/>
                    <a:pt x="1124" y="999"/>
                    <a:pt x="1121" y="999"/>
                  </a:cubicBezTo>
                  <a:cubicBezTo>
                    <a:pt x="1122" y="1001"/>
                    <a:pt x="1122" y="1005"/>
                    <a:pt x="1125" y="1004"/>
                  </a:cubicBezTo>
                  <a:close/>
                  <a:moveTo>
                    <a:pt x="1095" y="1003"/>
                  </a:moveTo>
                  <a:cubicBezTo>
                    <a:pt x="1096" y="1003"/>
                    <a:pt x="1097" y="1004"/>
                    <a:pt x="1098" y="1003"/>
                  </a:cubicBezTo>
                  <a:cubicBezTo>
                    <a:pt x="1099" y="1002"/>
                    <a:pt x="1098" y="1002"/>
                    <a:pt x="1099" y="1000"/>
                  </a:cubicBezTo>
                  <a:cubicBezTo>
                    <a:pt x="1096" y="999"/>
                    <a:pt x="1096" y="1001"/>
                    <a:pt x="1095" y="1003"/>
                  </a:cubicBezTo>
                  <a:close/>
                  <a:moveTo>
                    <a:pt x="1177" y="1003"/>
                  </a:moveTo>
                  <a:cubicBezTo>
                    <a:pt x="1178" y="1003"/>
                    <a:pt x="1179" y="1003"/>
                    <a:pt x="1179" y="1003"/>
                  </a:cubicBezTo>
                  <a:cubicBezTo>
                    <a:pt x="1180" y="1002"/>
                    <a:pt x="1179" y="1001"/>
                    <a:pt x="1178" y="1001"/>
                  </a:cubicBezTo>
                  <a:cubicBezTo>
                    <a:pt x="1178" y="1002"/>
                    <a:pt x="1176" y="1002"/>
                    <a:pt x="1177" y="1003"/>
                  </a:cubicBezTo>
                  <a:close/>
                  <a:moveTo>
                    <a:pt x="1128" y="1002"/>
                  </a:moveTo>
                  <a:cubicBezTo>
                    <a:pt x="1128" y="1005"/>
                    <a:pt x="1133" y="1004"/>
                    <a:pt x="1133" y="1001"/>
                  </a:cubicBezTo>
                  <a:cubicBezTo>
                    <a:pt x="1131" y="1001"/>
                    <a:pt x="1130" y="1002"/>
                    <a:pt x="1128" y="1002"/>
                  </a:cubicBezTo>
                  <a:close/>
                  <a:moveTo>
                    <a:pt x="1208" y="1006"/>
                  </a:moveTo>
                  <a:cubicBezTo>
                    <a:pt x="1207" y="1004"/>
                    <a:pt x="1211" y="1005"/>
                    <a:pt x="1210" y="1003"/>
                  </a:cubicBezTo>
                  <a:cubicBezTo>
                    <a:pt x="1209" y="1003"/>
                    <a:pt x="1205" y="1002"/>
                    <a:pt x="1205" y="1003"/>
                  </a:cubicBezTo>
                  <a:cubicBezTo>
                    <a:pt x="1206" y="1004"/>
                    <a:pt x="1207" y="1006"/>
                    <a:pt x="1208" y="1006"/>
                  </a:cubicBezTo>
                  <a:close/>
                  <a:moveTo>
                    <a:pt x="889" y="1008"/>
                  </a:moveTo>
                  <a:cubicBezTo>
                    <a:pt x="889" y="1011"/>
                    <a:pt x="891" y="1010"/>
                    <a:pt x="893" y="1010"/>
                  </a:cubicBezTo>
                  <a:cubicBezTo>
                    <a:pt x="893" y="1008"/>
                    <a:pt x="890" y="1007"/>
                    <a:pt x="889" y="1008"/>
                  </a:cubicBezTo>
                  <a:close/>
                  <a:moveTo>
                    <a:pt x="994" y="1015"/>
                  </a:moveTo>
                  <a:cubicBezTo>
                    <a:pt x="997" y="1011"/>
                    <a:pt x="989" y="1007"/>
                    <a:pt x="988" y="1009"/>
                  </a:cubicBezTo>
                  <a:cubicBezTo>
                    <a:pt x="991" y="1010"/>
                    <a:pt x="992" y="1013"/>
                    <a:pt x="994" y="1015"/>
                  </a:cubicBezTo>
                  <a:close/>
                  <a:moveTo>
                    <a:pt x="1054" y="1010"/>
                  </a:moveTo>
                  <a:cubicBezTo>
                    <a:pt x="1054" y="1007"/>
                    <a:pt x="1052" y="1007"/>
                    <a:pt x="1050" y="1008"/>
                  </a:cubicBezTo>
                  <a:cubicBezTo>
                    <a:pt x="1050" y="1009"/>
                    <a:pt x="1052" y="1009"/>
                    <a:pt x="1054" y="1010"/>
                  </a:cubicBezTo>
                  <a:close/>
                  <a:moveTo>
                    <a:pt x="842" y="1015"/>
                  </a:moveTo>
                  <a:cubicBezTo>
                    <a:pt x="845" y="1018"/>
                    <a:pt x="847" y="1013"/>
                    <a:pt x="851" y="1014"/>
                  </a:cubicBezTo>
                  <a:cubicBezTo>
                    <a:pt x="849" y="1007"/>
                    <a:pt x="844" y="1011"/>
                    <a:pt x="842" y="1015"/>
                  </a:cubicBezTo>
                  <a:close/>
                  <a:moveTo>
                    <a:pt x="1002" y="1011"/>
                  </a:moveTo>
                  <a:cubicBezTo>
                    <a:pt x="1004" y="1011"/>
                    <a:pt x="1006" y="1012"/>
                    <a:pt x="1007" y="1010"/>
                  </a:cubicBezTo>
                  <a:cubicBezTo>
                    <a:pt x="1005" y="1010"/>
                    <a:pt x="1002" y="1008"/>
                    <a:pt x="1002" y="1011"/>
                  </a:cubicBezTo>
                  <a:close/>
                  <a:moveTo>
                    <a:pt x="1104" y="1012"/>
                  </a:moveTo>
                  <a:cubicBezTo>
                    <a:pt x="1105" y="1010"/>
                    <a:pt x="1103" y="1009"/>
                    <a:pt x="1102" y="1010"/>
                  </a:cubicBezTo>
                  <a:cubicBezTo>
                    <a:pt x="1101" y="1012"/>
                    <a:pt x="1103" y="1013"/>
                    <a:pt x="1104" y="1012"/>
                  </a:cubicBezTo>
                  <a:close/>
                  <a:moveTo>
                    <a:pt x="901" y="1013"/>
                  </a:moveTo>
                  <a:cubicBezTo>
                    <a:pt x="901" y="1014"/>
                    <a:pt x="904" y="1015"/>
                    <a:pt x="905" y="1014"/>
                  </a:cubicBezTo>
                  <a:cubicBezTo>
                    <a:pt x="905" y="1012"/>
                    <a:pt x="905" y="1011"/>
                    <a:pt x="903" y="1010"/>
                  </a:cubicBezTo>
                  <a:cubicBezTo>
                    <a:pt x="903" y="1012"/>
                    <a:pt x="900" y="1010"/>
                    <a:pt x="901" y="1013"/>
                  </a:cubicBezTo>
                  <a:close/>
                  <a:moveTo>
                    <a:pt x="927" y="1014"/>
                  </a:moveTo>
                  <a:cubicBezTo>
                    <a:pt x="930" y="1015"/>
                    <a:pt x="930" y="1009"/>
                    <a:pt x="927" y="1010"/>
                  </a:cubicBezTo>
                  <a:cubicBezTo>
                    <a:pt x="926" y="1011"/>
                    <a:pt x="928" y="1012"/>
                    <a:pt x="927" y="1014"/>
                  </a:cubicBezTo>
                  <a:close/>
                  <a:moveTo>
                    <a:pt x="869" y="1016"/>
                  </a:moveTo>
                  <a:cubicBezTo>
                    <a:pt x="873" y="1018"/>
                    <a:pt x="875" y="1018"/>
                    <a:pt x="880" y="1016"/>
                  </a:cubicBezTo>
                  <a:cubicBezTo>
                    <a:pt x="880" y="1018"/>
                    <a:pt x="879" y="1018"/>
                    <a:pt x="880" y="1020"/>
                  </a:cubicBezTo>
                  <a:cubicBezTo>
                    <a:pt x="881" y="1020"/>
                    <a:pt x="884" y="1022"/>
                    <a:pt x="886" y="1021"/>
                  </a:cubicBezTo>
                  <a:cubicBezTo>
                    <a:pt x="884" y="1020"/>
                    <a:pt x="883" y="1020"/>
                    <a:pt x="882" y="1019"/>
                  </a:cubicBezTo>
                  <a:cubicBezTo>
                    <a:pt x="885" y="1017"/>
                    <a:pt x="888" y="1015"/>
                    <a:pt x="892" y="1014"/>
                  </a:cubicBezTo>
                  <a:cubicBezTo>
                    <a:pt x="895" y="1016"/>
                    <a:pt x="895" y="1016"/>
                    <a:pt x="894" y="1019"/>
                  </a:cubicBezTo>
                  <a:cubicBezTo>
                    <a:pt x="900" y="1020"/>
                    <a:pt x="901" y="1019"/>
                    <a:pt x="903" y="1021"/>
                  </a:cubicBezTo>
                  <a:cubicBezTo>
                    <a:pt x="908" y="1015"/>
                    <a:pt x="894" y="1016"/>
                    <a:pt x="892" y="1012"/>
                  </a:cubicBezTo>
                  <a:cubicBezTo>
                    <a:pt x="886" y="1014"/>
                    <a:pt x="881" y="1014"/>
                    <a:pt x="875" y="1016"/>
                  </a:cubicBezTo>
                  <a:cubicBezTo>
                    <a:pt x="875" y="1015"/>
                    <a:pt x="875" y="1015"/>
                    <a:pt x="875" y="1014"/>
                  </a:cubicBezTo>
                  <a:cubicBezTo>
                    <a:pt x="877" y="1015"/>
                    <a:pt x="876" y="1013"/>
                    <a:pt x="876" y="1012"/>
                  </a:cubicBezTo>
                  <a:cubicBezTo>
                    <a:pt x="874" y="1012"/>
                    <a:pt x="873" y="1011"/>
                    <a:pt x="871" y="1011"/>
                  </a:cubicBezTo>
                  <a:cubicBezTo>
                    <a:pt x="873" y="1015"/>
                    <a:pt x="868" y="1013"/>
                    <a:pt x="869" y="1016"/>
                  </a:cubicBezTo>
                  <a:close/>
                  <a:moveTo>
                    <a:pt x="949" y="1012"/>
                  </a:moveTo>
                  <a:cubicBezTo>
                    <a:pt x="948" y="1015"/>
                    <a:pt x="951" y="1014"/>
                    <a:pt x="951" y="1016"/>
                  </a:cubicBezTo>
                  <a:cubicBezTo>
                    <a:pt x="953" y="1016"/>
                    <a:pt x="953" y="1014"/>
                    <a:pt x="955" y="1014"/>
                  </a:cubicBezTo>
                  <a:cubicBezTo>
                    <a:pt x="957" y="1015"/>
                    <a:pt x="958" y="1017"/>
                    <a:pt x="959" y="1018"/>
                  </a:cubicBezTo>
                  <a:cubicBezTo>
                    <a:pt x="960" y="1014"/>
                    <a:pt x="964" y="1018"/>
                    <a:pt x="965" y="1014"/>
                  </a:cubicBezTo>
                  <a:cubicBezTo>
                    <a:pt x="958" y="1013"/>
                    <a:pt x="955" y="1011"/>
                    <a:pt x="949" y="1012"/>
                  </a:cubicBezTo>
                  <a:close/>
                  <a:moveTo>
                    <a:pt x="918" y="1013"/>
                  </a:moveTo>
                  <a:cubicBezTo>
                    <a:pt x="918" y="1012"/>
                    <a:pt x="916" y="1012"/>
                    <a:pt x="914" y="1012"/>
                  </a:cubicBezTo>
                  <a:cubicBezTo>
                    <a:pt x="913" y="1014"/>
                    <a:pt x="918" y="1014"/>
                    <a:pt x="918" y="1013"/>
                  </a:cubicBezTo>
                  <a:close/>
                  <a:moveTo>
                    <a:pt x="1020" y="1018"/>
                  </a:moveTo>
                  <a:cubicBezTo>
                    <a:pt x="1018" y="1017"/>
                    <a:pt x="1017" y="1015"/>
                    <a:pt x="1015" y="1014"/>
                  </a:cubicBezTo>
                  <a:cubicBezTo>
                    <a:pt x="1014" y="1015"/>
                    <a:pt x="1018" y="1019"/>
                    <a:pt x="1020" y="1018"/>
                  </a:cubicBezTo>
                  <a:close/>
                  <a:moveTo>
                    <a:pt x="942" y="1019"/>
                  </a:moveTo>
                  <a:cubicBezTo>
                    <a:pt x="944" y="1019"/>
                    <a:pt x="946" y="1019"/>
                    <a:pt x="948" y="1019"/>
                  </a:cubicBezTo>
                  <a:cubicBezTo>
                    <a:pt x="946" y="1017"/>
                    <a:pt x="945" y="1015"/>
                    <a:pt x="942" y="1015"/>
                  </a:cubicBezTo>
                  <a:cubicBezTo>
                    <a:pt x="940" y="1018"/>
                    <a:pt x="943" y="1016"/>
                    <a:pt x="942" y="1019"/>
                  </a:cubicBezTo>
                  <a:close/>
                  <a:moveTo>
                    <a:pt x="866" y="1018"/>
                  </a:moveTo>
                  <a:cubicBezTo>
                    <a:pt x="865" y="1016"/>
                    <a:pt x="861" y="1015"/>
                    <a:pt x="859" y="1017"/>
                  </a:cubicBezTo>
                  <a:cubicBezTo>
                    <a:pt x="860" y="1019"/>
                    <a:pt x="865" y="1023"/>
                    <a:pt x="866" y="1018"/>
                  </a:cubicBezTo>
                  <a:close/>
                  <a:moveTo>
                    <a:pt x="1009" y="1018"/>
                  </a:moveTo>
                  <a:cubicBezTo>
                    <a:pt x="1009" y="1017"/>
                    <a:pt x="1005" y="1018"/>
                    <a:pt x="1004" y="1018"/>
                  </a:cubicBezTo>
                  <a:cubicBezTo>
                    <a:pt x="1004" y="1019"/>
                    <a:pt x="1009" y="1021"/>
                    <a:pt x="1009" y="1018"/>
                  </a:cubicBezTo>
                  <a:close/>
                  <a:moveTo>
                    <a:pt x="1035" y="1022"/>
                  </a:moveTo>
                  <a:cubicBezTo>
                    <a:pt x="1036" y="1020"/>
                    <a:pt x="1035" y="1019"/>
                    <a:pt x="1033" y="1018"/>
                  </a:cubicBezTo>
                  <a:cubicBezTo>
                    <a:pt x="1033" y="1020"/>
                    <a:pt x="1033" y="1022"/>
                    <a:pt x="1035" y="1022"/>
                  </a:cubicBezTo>
                  <a:close/>
                  <a:moveTo>
                    <a:pt x="1052" y="1020"/>
                  </a:moveTo>
                  <a:cubicBezTo>
                    <a:pt x="1050" y="1020"/>
                    <a:pt x="1050" y="1018"/>
                    <a:pt x="1048" y="1018"/>
                  </a:cubicBezTo>
                  <a:cubicBezTo>
                    <a:pt x="1048" y="1020"/>
                    <a:pt x="1051" y="1021"/>
                    <a:pt x="1052" y="1020"/>
                  </a:cubicBezTo>
                  <a:close/>
                  <a:moveTo>
                    <a:pt x="836" y="1022"/>
                  </a:moveTo>
                  <a:cubicBezTo>
                    <a:pt x="839" y="1021"/>
                    <a:pt x="840" y="1022"/>
                    <a:pt x="841" y="1023"/>
                  </a:cubicBezTo>
                  <a:cubicBezTo>
                    <a:pt x="841" y="1020"/>
                    <a:pt x="839" y="1020"/>
                    <a:pt x="836" y="1019"/>
                  </a:cubicBezTo>
                  <a:cubicBezTo>
                    <a:pt x="836" y="1020"/>
                    <a:pt x="836" y="1021"/>
                    <a:pt x="836" y="1022"/>
                  </a:cubicBezTo>
                  <a:close/>
                  <a:moveTo>
                    <a:pt x="961" y="1025"/>
                  </a:moveTo>
                  <a:cubicBezTo>
                    <a:pt x="961" y="1024"/>
                    <a:pt x="961" y="1023"/>
                    <a:pt x="961" y="1022"/>
                  </a:cubicBezTo>
                  <a:cubicBezTo>
                    <a:pt x="958" y="1021"/>
                    <a:pt x="959" y="1024"/>
                    <a:pt x="956" y="1023"/>
                  </a:cubicBezTo>
                  <a:cubicBezTo>
                    <a:pt x="957" y="1020"/>
                    <a:pt x="953" y="1021"/>
                    <a:pt x="953" y="1020"/>
                  </a:cubicBezTo>
                  <a:cubicBezTo>
                    <a:pt x="951" y="1025"/>
                    <a:pt x="956" y="1025"/>
                    <a:pt x="961" y="1025"/>
                  </a:cubicBezTo>
                  <a:close/>
                  <a:moveTo>
                    <a:pt x="855" y="1025"/>
                  </a:moveTo>
                  <a:cubicBezTo>
                    <a:pt x="855" y="1024"/>
                    <a:pt x="856" y="1023"/>
                    <a:pt x="856" y="1022"/>
                  </a:cubicBezTo>
                  <a:cubicBezTo>
                    <a:pt x="853" y="1023"/>
                    <a:pt x="854" y="1020"/>
                    <a:pt x="851" y="1021"/>
                  </a:cubicBezTo>
                  <a:cubicBezTo>
                    <a:pt x="851" y="1024"/>
                    <a:pt x="854" y="1023"/>
                    <a:pt x="855" y="1025"/>
                  </a:cubicBezTo>
                  <a:close/>
                  <a:moveTo>
                    <a:pt x="866" y="1024"/>
                  </a:moveTo>
                  <a:cubicBezTo>
                    <a:pt x="866" y="1023"/>
                    <a:pt x="866" y="1022"/>
                    <a:pt x="866" y="1021"/>
                  </a:cubicBezTo>
                  <a:cubicBezTo>
                    <a:pt x="865" y="1021"/>
                    <a:pt x="864" y="1021"/>
                    <a:pt x="862" y="1021"/>
                  </a:cubicBezTo>
                  <a:cubicBezTo>
                    <a:pt x="862" y="1024"/>
                    <a:pt x="864" y="1024"/>
                    <a:pt x="866" y="1024"/>
                  </a:cubicBezTo>
                  <a:close/>
                  <a:moveTo>
                    <a:pt x="1071" y="1025"/>
                  </a:moveTo>
                  <a:cubicBezTo>
                    <a:pt x="1072" y="1025"/>
                    <a:pt x="1074" y="1025"/>
                    <a:pt x="1075" y="1025"/>
                  </a:cubicBezTo>
                  <a:cubicBezTo>
                    <a:pt x="1075" y="1023"/>
                    <a:pt x="1074" y="1022"/>
                    <a:pt x="1073" y="1021"/>
                  </a:cubicBezTo>
                  <a:cubicBezTo>
                    <a:pt x="1072" y="1023"/>
                    <a:pt x="1071" y="1023"/>
                    <a:pt x="1071" y="1025"/>
                  </a:cubicBezTo>
                  <a:close/>
                  <a:moveTo>
                    <a:pt x="911" y="1024"/>
                  </a:moveTo>
                  <a:cubicBezTo>
                    <a:pt x="913" y="1025"/>
                    <a:pt x="917" y="1025"/>
                    <a:pt x="917" y="1023"/>
                  </a:cubicBezTo>
                  <a:cubicBezTo>
                    <a:pt x="917" y="1023"/>
                    <a:pt x="916" y="1023"/>
                    <a:pt x="916" y="1022"/>
                  </a:cubicBezTo>
                  <a:cubicBezTo>
                    <a:pt x="914" y="1023"/>
                    <a:pt x="912" y="1021"/>
                    <a:pt x="911" y="1024"/>
                  </a:cubicBezTo>
                  <a:close/>
                  <a:moveTo>
                    <a:pt x="678" y="1026"/>
                  </a:moveTo>
                  <a:cubicBezTo>
                    <a:pt x="680" y="1027"/>
                    <a:pt x="680" y="1029"/>
                    <a:pt x="683" y="1029"/>
                  </a:cubicBezTo>
                  <a:cubicBezTo>
                    <a:pt x="682" y="1027"/>
                    <a:pt x="685" y="1028"/>
                    <a:pt x="685" y="1027"/>
                  </a:cubicBezTo>
                  <a:cubicBezTo>
                    <a:pt x="684" y="1026"/>
                    <a:pt x="684" y="1025"/>
                    <a:pt x="683" y="1024"/>
                  </a:cubicBezTo>
                  <a:cubicBezTo>
                    <a:pt x="681" y="1024"/>
                    <a:pt x="679" y="1024"/>
                    <a:pt x="678" y="1026"/>
                  </a:cubicBezTo>
                  <a:close/>
                  <a:moveTo>
                    <a:pt x="892" y="1025"/>
                  </a:moveTo>
                  <a:cubicBezTo>
                    <a:pt x="892" y="1028"/>
                    <a:pt x="894" y="1025"/>
                    <a:pt x="897" y="1027"/>
                  </a:cubicBezTo>
                  <a:cubicBezTo>
                    <a:pt x="897" y="1023"/>
                    <a:pt x="894" y="1024"/>
                    <a:pt x="892" y="1025"/>
                  </a:cubicBezTo>
                  <a:close/>
                  <a:moveTo>
                    <a:pt x="1339" y="1033"/>
                  </a:moveTo>
                  <a:cubicBezTo>
                    <a:pt x="1336" y="1033"/>
                    <a:pt x="1332" y="1032"/>
                    <a:pt x="1330" y="1033"/>
                  </a:cubicBezTo>
                  <a:cubicBezTo>
                    <a:pt x="1333" y="1033"/>
                    <a:pt x="1337" y="1034"/>
                    <a:pt x="1339" y="1033"/>
                  </a:cubicBezTo>
                  <a:close/>
                  <a:moveTo>
                    <a:pt x="1159" y="1036"/>
                  </a:moveTo>
                  <a:cubicBezTo>
                    <a:pt x="1163" y="1036"/>
                    <a:pt x="1167" y="1036"/>
                    <a:pt x="1169" y="1036"/>
                  </a:cubicBezTo>
                  <a:cubicBezTo>
                    <a:pt x="1167" y="1034"/>
                    <a:pt x="1161" y="1034"/>
                    <a:pt x="1159" y="1036"/>
                  </a:cubicBezTo>
                  <a:close/>
                  <a:moveTo>
                    <a:pt x="1199" y="1041"/>
                  </a:moveTo>
                  <a:cubicBezTo>
                    <a:pt x="1198" y="1038"/>
                    <a:pt x="1193" y="1039"/>
                    <a:pt x="1194" y="1035"/>
                  </a:cubicBezTo>
                  <a:cubicBezTo>
                    <a:pt x="1192" y="1035"/>
                    <a:pt x="1188" y="1034"/>
                    <a:pt x="1187" y="1036"/>
                  </a:cubicBezTo>
                  <a:cubicBezTo>
                    <a:pt x="1190" y="1036"/>
                    <a:pt x="1191" y="1039"/>
                    <a:pt x="1194" y="1037"/>
                  </a:cubicBezTo>
                  <a:cubicBezTo>
                    <a:pt x="1194" y="1039"/>
                    <a:pt x="1195" y="1043"/>
                    <a:pt x="1199" y="1041"/>
                  </a:cubicBezTo>
                  <a:close/>
                  <a:moveTo>
                    <a:pt x="1210" y="1041"/>
                  </a:moveTo>
                  <a:cubicBezTo>
                    <a:pt x="1210" y="1039"/>
                    <a:pt x="1208" y="1038"/>
                    <a:pt x="1207" y="1036"/>
                  </a:cubicBezTo>
                  <a:cubicBezTo>
                    <a:pt x="1207" y="1036"/>
                    <a:pt x="1206" y="1036"/>
                    <a:pt x="1205" y="1036"/>
                  </a:cubicBezTo>
                  <a:cubicBezTo>
                    <a:pt x="1206" y="1038"/>
                    <a:pt x="1207" y="1041"/>
                    <a:pt x="1210" y="1041"/>
                  </a:cubicBezTo>
                  <a:close/>
                  <a:moveTo>
                    <a:pt x="1211" y="1038"/>
                  </a:moveTo>
                  <a:cubicBezTo>
                    <a:pt x="1213" y="1039"/>
                    <a:pt x="1213" y="1038"/>
                    <a:pt x="1216" y="1038"/>
                  </a:cubicBezTo>
                  <a:cubicBezTo>
                    <a:pt x="1216" y="1036"/>
                    <a:pt x="1214" y="1036"/>
                    <a:pt x="1212" y="1036"/>
                  </a:cubicBezTo>
                  <a:cubicBezTo>
                    <a:pt x="1212" y="1037"/>
                    <a:pt x="1211" y="1038"/>
                    <a:pt x="1211" y="1038"/>
                  </a:cubicBezTo>
                  <a:close/>
                  <a:moveTo>
                    <a:pt x="1233" y="1038"/>
                  </a:moveTo>
                  <a:cubicBezTo>
                    <a:pt x="1234" y="1038"/>
                    <a:pt x="1238" y="1039"/>
                    <a:pt x="1239" y="1038"/>
                  </a:cubicBezTo>
                  <a:cubicBezTo>
                    <a:pt x="1237" y="1037"/>
                    <a:pt x="1233" y="1035"/>
                    <a:pt x="1233" y="1038"/>
                  </a:cubicBezTo>
                  <a:close/>
                  <a:moveTo>
                    <a:pt x="1220" y="1038"/>
                  </a:moveTo>
                  <a:cubicBezTo>
                    <a:pt x="1221" y="1039"/>
                    <a:pt x="1221" y="1040"/>
                    <a:pt x="1221" y="1042"/>
                  </a:cubicBezTo>
                  <a:cubicBezTo>
                    <a:pt x="1222" y="1042"/>
                    <a:pt x="1223" y="1041"/>
                    <a:pt x="1224" y="1040"/>
                  </a:cubicBezTo>
                  <a:cubicBezTo>
                    <a:pt x="1222" y="1040"/>
                    <a:pt x="1224" y="1038"/>
                    <a:pt x="1223" y="1037"/>
                  </a:cubicBezTo>
                  <a:cubicBezTo>
                    <a:pt x="1221" y="1037"/>
                    <a:pt x="1220" y="1037"/>
                    <a:pt x="1220" y="1038"/>
                  </a:cubicBezTo>
                  <a:close/>
                  <a:moveTo>
                    <a:pt x="1240" y="1038"/>
                  </a:moveTo>
                  <a:cubicBezTo>
                    <a:pt x="1242" y="1038"/>
                    <a:pt x="1243" y="1038"/>
                    <a:pt x="1245" y="1038"/>
                  </a:cubicBezTo>
                  <a:cubicBezTo>
                    <a:pt x="1245" y="1038"/>
                    <a:pt x="1245" y="1037"/>
                    <a:pt x="1245" y="1037"/>
                  </a:cubicBezTo>
                  <a:cubicBezTo>
                    <a:pt x="1243" y="1037"/>
                    <a:pt x="1242" y="1037"/>
                    <a:pt x="1240" y="1037"/>
                  </a:cubicBezTo>
                  <a:cubicBezTo>
                    <a:pt x="1240" y="1037"/>
                    <a:pt x="1240" y="1038"/>
                    <a:pt x="1240" y="1038"/>
                  </a:cubicBezTo>
                  <a:close/>
                  <a:moveTo>
                    <a:pt x="1252" y="1041"/>
                  </a:moveTo>
                  <a:cubicBezTo>
                    <a:pt x="1252" y="1039"/>
                    <a:pt x="1250" y="1038"/>
                    <a:pt x="1248" y="1037"/>
                  </a:cubicBezTo>
                  <a:cubicBezTo>
                    <a:pt x="1248" y="1040"/>
                    <a:pt x="1249" y="1041"/>
                    <a:pt x="1252" y="1041"/>
                  </a:cubicBezTo>
                  <a:close/>
                  <a:moveTo>
                    <a:pt x="1285" y="1038"/>
                  </a:moveTo>
                  <a:cubicBezTo>
                    <a:pt x="1282" y="1039"/>
                    <a:pt x="1281" y="1035"/>
                    <a:pt x="1279" y="1038"/>
                  </a:cubicBezTo>
                  <a:cubicBezTo>
                    <a:pt x="1280" y="1038"/>
                    <a:pt x="1284" y="1040"/>
                    <a:pt x="1285" y="1038"/>
                  </a:cubicBezTo>
                  <a:close/>
                  <a:moveTo>
                    <a:pt x="1166" y="1042"/>
                  </a:moveTo>
                  <a:cubicBezTo>
                    <a:pt x="1163" y="1043"/>
                    <a:pt x="1160" y="1041"/>
                    <a:pt x="1159" y="1042"/>
                  </a:cubicBezTo>
                  <a:cubicBezTo>
                    <a:pt x="1159" y="1044"/>
                    <a:pt x="1166" y="1045"/>
                    <a:pt x="1166" y="1042"/>
                  </a:cubicBezTo>
                  <a:close/>
                  <a:moveTo>
                    <a:pt x="1110" y="1054"/>
                  </a:moveTo>
                  <a:cubicBezTo>
                    <a:pt x="1112" y="1055"/>
                    <a:pt x="1114" y="1048"/>
                    <a:pt x="1112" y="1049"/>
                  </a:cubicBezTo>
                  <a:cubicBezTo>
                    <a:pt x="1112" y="1052"/>
                    <a:pt x="1109" y="1051"/>
                    <a:pt x="1110" y="1054"/>
                  </a:cubicBezTo>
                  <a:close/>
                </a:path>
              </a:pathLst>
            </a:custGeom>
            <a:solidFill>
              <a:srgbClr val="DA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-2916238" y="180975"/>
              <a:ext cx="9628846" cy="7134383"/>
            </a:xfrm>
            <a:custGeom>
              <a:avLst/>
              <a:gdLst>
                <a:gd name="T0" fmla="*/ 2147483647 w 1435"/>
                <a:gd name="T1" fmla="*/ 2147483647 h 1062"/>
                <a:gd name="T2" fmla="*/ 2147483647 w 1435"/>
                <a:gd name="T3" fmla="*/ 2147483647 h 1062"/>
                <a:gd name="T4" fmla="*/ 2147483647 w 1435"/>
                <a:gd name="T5" fmla="*/ 2147483647 h 1062"/>
                <a:gd name="T6" fmla="*/ 2147483647 w 1435"/>
                <a:gd name="T7" fmla="*/ 2147483647 h 1062"/>
                <a:gd name="T8" fmla="*/ 2147483647 w 1435"/>
                <a:gd name="T9" fmla="*/ 2147483647 h 1062"/>
                <a:gd name="T10" fmla="*/ 2147483647 w 1435"/>
                <a:gd name="T11" fmla="*/ 2147483647 h 1062"/>
                <a:gd name="T12" fmla="*/ 2147483647 w 1435"/>
                <a:gd name="T13" fmla="*/ 2147483647 h 1062"/>
                <a:gd name="T14" fmla="*/ 2147483647 w 1435"/>
                <a:gd name="T15" fmla="*/ 2147483647 h 1062"/>
                <a:gd name="T16" fmla="*/ 2147483647 w 1435"/>
                <a:gd name="T17" fmla="*/ 2147483647 h 1062"/>
                <a:gd name="T18" fmla="*/ 2147483647 w 1435"/>
                <a:gd name="T19" fmla="*/ 2147483647 h 1062"/>
                <a:gd name="T20" fmla="*/ 2147483647 w 1435"/>
                <a:gd name="T21" fmla="*/ 2147483647 h 1062"/>
                <a:gd name="T22" fmla="*/ 2147483647 w 1435"/>
                <a:gd name="T23" fmla="*/ 2147483647 h 1062"/>
                <a:gd name="T24" fmla="*/ 2147483647 w 1435"/>
                <a:gd name="T25" fmla="*/ 2147483647 h 1062"/>
                <a:gd name="T26" fmla="*/ 2147483647 w 1435"/>
                <a:gd name="T27" fmla="*/ 2147483647 h 1062"/>
                <a:gd name="T28" fmla="*/ 2147483647 w 1435"/>
                <a:gd name="T29" fmla="*/ 2147483647 h 1062"/>
                <a:gd name="T30" fmla="*/ 2147483647 w 1435"/>
                <a:gd name="T31" fmla="*/ 2147483647 h 1062"/>
                <a:gd name="T32" fmla="*/ 2147483647 w 1435"/>
                <a:gd name="T33" fmla="*/ 2147483647 h 1062"/>
                <a:gd name="T34" fmla="*/ 2147483647 w 1435"/>
                <a:gd name="T35" fmla="*/ 2147483647 h 1062"/>
                <a:gd name="T36" fmla="*/ 2147483647 w 1435"/>
                <a:gd name="T37" fmla="*/ 2147483647 h 1062"/>
                <a:gd name="T38" fmla="*/ 2147483647 w 1435"/>
                <a:gd name="T39" fmla="*/ 2147483647 h 1062"/>
                <a:gd name="T40" fmla="*/ 2147483647 w 1435"/>
                <a:gd name="T41" fmla="*/ 2147483647 h 1062"/>
                <a:gd name="T42" fmla="*/ 2147483647 w 1435"/>
                <a:gd name="T43" fmla="*/ 2147483647 h 1062"/>
                <a:gd name="T44" fmla="*/ 2147483647 w 1435"/>
                <a:gd name="T45" fmla="*/ 2147483647 h 1062"/>
                <a:gd name="T46" fmla="*/ 2147483647 w 1435"/>
                <a:gd name="T47" fmla="*/ 2147483647 h 1062"/>
                <a:gd name="T48" fmla="*/ 2147483647 w 1435"/>
                <a:gd name="T49" fmla="*/ 2147483647 h 1062"/>
                <a:gd name="T50" fmla="*/ 2147483647 w 1435"/>
                <a:gd name="T51" fmla="*/ 2147483647 h 1062"/>
                <a:gd name="T52" fmla="*/ 2147483647 w 1435"/>
                <a:gd name="T53" fmla="*/ 2147483647 h 1062"/>
                <a:gd name="T54" fmla="*/ 2147483647 w 1435"/>
                <a:gd name="T55" fmla="*/ 2147483647 h 1062"/>
                <a:gd name="T56" fmla="*/ 2147483647 w 1435"/>
                <a:gd name="T57" fmla="*/ 2147483647 h 1062"/>
                <a:gd name="T58" fmla="*/ 2147483647 w 1435"/>
                <a:gd name="T59" fmla="*/ 2147483647 h 1062"/>
                <a:gd name="T60" fmla="*/ 2147483647 w 1435"/>
                <a:gd name="T61" fmla="*/ 2147483647 h 1062"/>
                <a:gd name="T62" fmla="*/ 2147483647 w 1435"/>
                <a:gd name="T63" fmla="*/ 2147483647 h 1062"/>
                <a:gd name="T64" fmla="*/ 2147483647 w 1435"/>
                <a:gd name="T65" fmla="*/ 2147483647 h 1062"/>
                <a:gd name="T66" fmla="*/ 2147483647 w 1435"/>
                <a:gd name="T67" fmla="*/ 2147483647 h 1062"/>
                <a:gd name="T68" fmla="*/ 2147483647 w 1435"/>
                <a:gd name="T69" fmla="*/ 2147483647 h 1062"/>
                <a:gd name="T70" fmla="*/ 2147483647 w 1435"/>
                <a:gd name="T71" fmla="*/ 2147483647 h 1062"/>
                <a:gd name="T72" fmla="*/ 2147483647 w 1435"/>
                <a:gd name="T73" fmla="*/ 2147483647 h 1062"/>
                <a:gd name="T74" fmla="*/ 2147483647 w 1435"/>
                <a:gd name="T75" fmla="*/ 2147483647 h 1062"/>
                <a:gd name="T76" fmla="*/ 2147483647 w 1435"/>
                <a:gd name="T77" fmla="*/ 2147483647 h 1062"/>
                <a:gd name="T78" fmla="*/ 2147483647 w 1435"/>
                <a:gd name="T79" fmla="*/ 2147483647 h 1062"/>
                <a:gd name="T80" fmla="*/ 2147483647 w 1435"/>
                <a:gd name="T81" fmla="*/ 2147483647 h 1062"/>
                <a:gd name="T82" fmla="*/ 2147483647 w 1435"/>
                <a:gd name="T83" fmla="*/ 2147483647 h 1062"/>
                <a:gd name="T84" fmla="*/ 2147483647 w 1435"/>
                <a:gd name="T85" fmla="*/ 2147483647 h 1062"/>
                <a:gd name="T86" fmla="*/ 2147483647 w 1435"/>
                <a:gd name="T87" fmla="*/ 2147483647 h 1062"/>
                <a:gd name="T88" fmla="*/ 2147483647 w 1435"/>
                <a:gd name="T89" fmla="*/ 2147483647 h 1062"/>
                <a:gd name="T90" fmla="*/ 2147483647 w 1435"/>
                <a:gd name="T91" fmla="*/ 2147483647 h 1062"/>
                <a:gd name="T92" fmla="*/ 2147483647 w 1435"/>
                <a:gd name="T93" fmla="*/ 2147483647 h 1062"/>
                <a:gd name="T94" fmla="*/ 2147483647 w 1435"/>
                <a:gd name="T95" fmla="*/ 2147483647 h 1062"/>
                <a:gd name="T96" fmla="*/ 2147483647 w 1435"/>
                <a:gd name="T97" fmla="*/ 2147483647 h 1062"/>
                <a:gd name="T98" fmla="*/ 2147483647 w 1435"/>
                <a:gd name="T99" fmla="*/ 2147483647 h 1062"/>
                <a:gd name="T100" fmla="*/ 2147483647 w 1435"/>
                <a:gd name="T101" fmla="*/ 2147483647 h 1062"/>
                <a:gd name="T102" fmla="*/ 2147483647 w 1435"/>
                <a:gd name="T103" fmla="*/ 2147483647 h 1062"/>
                <a:gd name="T104" fmla="*/ 2147483647 w 1435"/>
                <a:gd name="T105" fmla="*/ 2147483647 h 1062"/>
                <a:gd name="T106" fmla="*/ 2147483647 w 1435"/>
                <a:gd name="T107" fmla="*/ 2147483647 h 1062"/>
                <a:gd name="T108" fmla="*/ 2147483647 w 1435"/>
                <a:gd name="T109" fmla="*/ 2147483647 h 1062"/>
                <a:gd name="T110" fmla="*/ 2147483647 w 1435"/>
                <a:gd name="T111" fmla="*/ 2147483647 h 1062"/>
                <a:gd name="T112" fmla="*/ 2147483647 w 1435"/>
                <a:gd name="T113" fmla="*/ 2147483647 h 1062"/>
                <a:gd name="T114" fmla="*/ 2147483647 w 1435"/>
                <a:gd name="T115" fmla="*/ 2147483647 h 1062"/>
                <a:gd name="T116" fmla="*/ 2147483647 w 1435"/>
                <a:gd name="T117" fmla="*/ 2147483647 h 1062"/>
                <a:gd name="T118" fmla="*/ 2147483647 w 1435"/>
                <a:gd name="T119" fmla="*/ 2147483647 h 1062"/>
                <a:gd name="T120" fmla="*/ 2147483647 w 1435"/>
                <a:gd name="T121" fmla="*/ 2147483647 h 1062"/>
                <a:gd name="T122" fmla="*/ 2147483647 w 1435"/>
                <a:gd name="T123" fmla="*/ 2147483647 h 10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35" h="1062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20" y="12"/>
                    <a:pt x="39" y="25"/>
                    <a:pt x="56" y="37"/>
                  </a:cubicBezTo>
                  <a:cubicBezTo>
                    <a:pt x="61" y="41"/>
                    <a:pt x="66" y="46"/>
                    <a:pt x="72" y="46"/>
                  </a:cubicBezTo>
                  <a:cubicBezTo>
                    <a:pt x="53" y="30"/>
                    <a:pt x="30" y="17"/>
                    <a:pt x="11" y="0"/>
                  </a:cubicBezTo>
                  <a:cubicBezTo>
                    <a:pt x="13" y="0"/>
                    <a:pt x="14" y="0"/>
                    <a:pt x="16" y="0"/>
                  </a:cubicBezTo>
                  <a:cubicBezTo>
                    <a:pt x="22" y="6"/>
                    <a:pt x="31" y="12"/>
                    <a:pt x="41" y="19"/>
                  </a:cubicBezTo>
                  <a:cubicBezTo>
                    <a:pt x="52" y="27"/>
                    <a:pt x="62" y="39"/>
                    <a:pt x="76" y="33"/>
                  </a:cubicBezTo>
                  <a:cubicBezTo>
                    <a:pt x="70" y="28"/>
                    <a:pt x="64" y="23"/>
                    <a:pt x="56" y="18"/>
                  </a:cubicBezTo>
                  <a:cubicBezTo>
                    <a:pt x="49" y="12"/>
                    <a:pt x="39" y="8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52" y="11"/>
                    <a:pt x="66" y="22"/>
                    <a:pt x="81" y="31"/>
                  </a:cubicBezTo>
                  <a:cubicBezTo>
                    <a:pt x="116" y="59"/>
                    <a:pt x="155" y="84"/>
                    <a:pt x="190" y="112"/>
                  </a:cubicBezTo>
                  <a:cubicBezTo>
                    <a:pt x="290" y="183"/>
                    <a:pt x="389" y="254"/>
                    <a:pt x="489" y="324"/>
                  </a:cubicBezTo>
                  <a:cubicBezTo>
                    <a:pt x="514" y="338"/>
                    <a:pt x="535" y="356"/>
                    <a:pt x="559" y="370"/>
                  </a:cubicBezTo>
                  <a:cubicBezTo>
                    <a:pt x="567" y="379"/>
                    <a:pt x="580" y="383"/>
                    <a:pt x="587" y="392"/>
                  </a:cubicBezTo>
                  <a:cubicBezTo>
                    <a:pt x="624" y="413"/>
                    <a:pt x="657" y="437"/>
                    <a:pt x="692" y="459"/>
                  </a:cubicBezTo>
                  <a:cubicBezTo>
                    <a:pt x="695" y="452"/>
                    <a:pt x="693" y="440"/>
                    <a:pt x="691" y="435"/>
                  </a:cubicBezTo>
                  <a:cubicBezTo>
                    <a:pt x="718" y="428"/>
                    <a:pt x="741" y="416"/>
                    <a:pt x="766" y="407"/>
                  </a:cubicBezTo>
                  <a:cubicBezTo>
                    <a:pt x="758" y="392"/>
                    <a:pt x="746" y="381"/>
                    <a:pt x="738" y="367"/>
                  </a:cubicBezTo>
                  <a:cubicBezTo>
                    <a:pt x="736" y="367"/>
                    <a:pt x="735" y="366"/>
                    <a:pt x="733" y="366"/>
                  </a:cubicBezTo>
                  <a:cubicBezTo>
                    <a:pt x="732" y="364"/>
                    <a:pt x="734" y="363"/>
                    <a:pt x="734" y="362"/>
                  </a:cubicBezTo>
                  <a:cubicBezTo>
                    <a:pt x="733" y="363"/>
                    <a:pt x="727" y="361"/>
                    <a:pt x="729" y="358"/>
                  </a:cubicBezTo>
                  <a:cubicBezTo>
                    <a:pt x="731" y="356"/>
                    <a:pt x="733" y="359"/>
                    <a:pt x="734" y="361"/>
                  </a:cubicBezTo>
                  <a:cubicBezTo>
                    <a:pt x="739" y="359"/>
                    <a:pt x="731" y="355"/>
                    <a:pt x="733" y="354"/>
                  </a:cubicBezTo>
                  <a:cubicBezTo>
                    <a:pt x="733" y="350"/>
                    <a:pt x="736" y="356"/>
                    <a:pt x="737" y="353"/>
                  </a:cubicBezTo>
                  <a:cubicBezTo>
                    <a:pt x="736" y="340"/>
                    <a:pt x="737" y="322"/>
                    <a:pt x="736" y="303"/>
                  </a:cubicBezTo>
                  <a:cubicBezTo>
                    <a:pt x="734" y="299"/>
                    <a:pt x="729" y="297"/>
                    <a:pt x="727" y="293"/>
                  </a:cubicBezTo>
                  <a:cubicBezTo>
                    <a:pt x="731" y="291"/>
                    <a:pt x="730" y="297"/>
                    <a:pt x="734" y="296"/>
                  </a:cubicBezTo>
                  <a:cubicBezTo>
                    <a:pt x="723" y="284"/>
                    <a:pt x="708" y="275"/>
                    <a:pt x="699" y="261"/>
                  </a:cubicBezTo>
                  <a:cubicBezTo>
                    <a:pt x="713" y="272"/>
                    <a:pt x="725" y="286"/>
                    <a:pt x="740" y="297"/>
                  </a:cubicBezTo>
                  <a:cubicBezTo>
                    <a:pt x="741" y="297"/>
                    <a:pt x="742" y="296"/>
                    <a:pt x="743" y="295"/>
                  </a:cubicBezTo>
                  <a:cubicBezTo>
                    <a:pt x="713" y="268"/>
                    <a:pt x="678" y="233"/>
                    <a:pt x="649" y="205"/>
                  </a:cubicBezTo>
                  <a:cubicBezTo>
                    <a:pt x="645" y="201"/>
                    <a:pt x="644" y="199"/>
                    <a:pt x="639" y="202"/>
                  </a:cubicBezTo>
                  <a:cubicBezTo>
                    <a:pt x="658" y="223"/>
                    <a:pt x="680" y="241"/>
                    <a:pt x="699" y="261"/>
                  </a:cubicBezTo>
                  <a:cubicBezTo>
                    <a:pt x="692" y="259"/>
                    <a:pt x="691" y="252"/>
                    <a:pt x="684" y="250"/>
                  </a:cubicBezTo>
                  <a:cubicBezTo>
                    <a:pt x="684" y="249"/>
                    <a:pt x="683" y="248"/>
                    <a:pt x="683" y="247"/>
                  </a:cubicBezTo>
                  <a:cubicBezTo>
                    <a:pt x="668" y="234"/>
                    <a:pt x="653" y="220"/>
                    <a:pt x="639" y="206"/>
                  </a:cubicBezTo>
                  <a:cubicBezTo>
                    <a:pt x="640" y="211"/>
                    <a:pt x="647" y="216"/>
                    <a:pt x="652" y="219"/>
                  </a:cubicBezTo>
                  <a:cubicBezTo>
                    <a:pt x="655" y="225"/>
                    <a:pt x="660" y="230"/>
                    <a:pt x="666" y="233"/>
                  </a:cubicBezTo>
                  <a:cubicBezTo>
                    <a:pt x="679" y="250"/>
                    <a:pt x="698" y="262"/>
                    <a:pt x="712" y="279"/>
                  </a:cubicBezTo>
                  <a:cubicBezTo>
                    <a:pt x="713" y="279"/>
                    <a:pt x="714" y="279"/>
                    <a:pt x="715" y="279"/>
                  </a:cubicBezTo>
                  <a:cubicBezTo>
                    <a:pt x="717" y="286"/>
                    <a:pt x="726" y="286"/>
                    <a:pt x="727" y="293"/>
                  </a:cubicBezTo>
                  <a:cubicBezTo>
                    <a:pt x="623" y="199"/>
                    <a:pt x="522" y="100"/>
                    <a:pt x="422" y="0"/>
                  </a:cubicBezTo>
                  <a:cubicBezTo>
                    <a:pt x="424" y="0"/>
                    <a:pt x="425" y="0"/>
                    <a:pt x="427" y="0"/>
                  </a:cubicBezTo>
                  <a:cubicBezTo>
                    <a:pt x="443" y="19"/>
                    <a:pt x="464" y="38"/>
                    <a:pt x="482" y="56"/>
                  </a:cubicBezTo>
                  <a:cubicBezTo>
                    <a:pt x="531" y="104"/>
                    <a:pt x="581" y="154"/>
                    <a:pt x="630" y="200"/>
                  </a:cubicBezTo>
                  <a:cubicBezTo>
                    <a:pt x="627" y="194"/>
                    <a:pt x="622" y="190"/>
                    <a:pt x="618" y="186"/>
                  </a:cubicBezTo>
                  <a:cubicBezTo>
                    <a:pt x="588" y="159"/>
                    <a:pt x="559" y="128"/>
                    <a:pt x="529" y="100"/>
                  </a:cubicBezTo>
                  <a:cubicBezTo>
                    <a:pt x="495" y="67"/>
                    <a:pt x="462" y="34"/>
                    <a:pt x="429" y="0"/>
                  </a:cubicBezTo>
                  <a:cubicBezTo>
                    <a:pt x="430" y="0"/>
                    <a:pt x="432" y="0"/>
                    <a:pt x="433" y="0"/>
                  </a:cubicBezTo>
                  <a:cubicBezTo>
                    <a:pt x="433" y="1"/>
                    <a:pt x="433" y="2"/>
                    <a:pt x="434" y="2"/>
                  </a:cubicBezTo>
                  <a:cubicBezTo>
                    <a:pt x="497" y="64"/>
                    <a:pt x="558" y="128"/>
                    <a:pt x="624" y="189"/>
                  </a:cubicBezTo>
                  <a:cubicBezTo>
                    <a:pt x="628" y="193"/>
                    <a:pt x="633" y="199"/>
                    <a:pt x="639" y="197"/>
                  </a:cubicBezTo>
                  <a:cubicBezTo>
                    <a:pt x="632" y="188"/>
                    <a:pt x="623" y="180"/>
                    <a:pt x="615" y="172"/>
                  </a:cubicBezTo>
                  <a:cubicBezTo>
                    <a:pt x="590" y="148"/>
                    <a:pt x="564" y="124"/>
                    <a:pt x="540" y="99"/>
                  </a:cubicBezTo>
                  <a:cubicBezTo>
                    <a:pt x="508" y="66"/>
                    <a:pt x="474" y="34"/>
                    <a:pt x="443" y="0"/>
                  </a:cubicBezTo>
                  <a:cubicBezTo>
                    <a:pt x="444" y="0"/>
                    <a:pt x="445" y="0"/>
                    <a:pt x="447" y="0"/>
                  </a:cubicBezTo>
                  <a:cubicBezTo>
                    <a:pt x="543" y="101"/>
                    <a:pt x="644" y="198"/>
                    <a:pt x="745" y="295"/>
                  </a:cubicBezTo>
                  <a:cubicBezTo>
                    <a:pt x="767" y="287"/>
                    <a:pt x="789" y="278"/>
                    <a:pt x="810" y="270"/>
                  </a:cubicBezTo>
                  <a:cubicBezTo>
                    <a:pt x="809" y="267"/>
                    <a:pt x="811" y="262"/>
                    <a:pt x="810" y="259"/>
                  </a:cubicBezTo>
                  <a:cubicBezTo>
                    <a:pt x="809" y="254"/>
                    <a:pt x="798" y="247"/>
                    <a:pt x="794" y="243"/>
                  </a:cubicBezTo>
                  <a:cubicBezTo>
                    <a:pt x="779" y="227"/>
                    <a:pt x="763" y="210"/>
                    <a:pt x="747" y="193"/>
                  </a:cubicBezTo>
                  <a:cubicBezTo>
                    <a:pt x="730" y="176"/>
                    <a:pt x="714" y="156"/>
                    <a:pt x="697" y="138"/>
                  </a:cubicBezTo>
                  <a:cubicBezTo>
                    <a:pt x="655" y="94"/>
                    <a:pt x="612" y="47"/>
                    <a:pt x="572" y="0"/>
                  </a:cubicBezTo>
                  <a:cubicBezTo>
                    <a:pt x="574" y="0"/>
                    <a:pt x="576" y="0"/>
                    <a:pt x="577" y="0"/>
                  </a:cubicBezTo>
                  <a:cubicBezTo>
                    <a:pt x="614" y="44"/>
                    <a:pt x="653" y="86"/>
                    <a:pt x="692" y="128"/>
                  </a:cubicBezTo>
                  <a:cubicBezTo>
                    <a:pt x="710" y="147"/>
                    <a:pt x="727" y="167"/>
                    <a:pt x="745" y="187"/>
                  </a:cubicBezTo>
                  <a:cubicBezTo>
                    <a:pt x="760" y="202"/>
                    <a:pt x="775" y="217"/>
                    <a:pt x="790" y="232"/>
                  </a:cubicBezTo>
                  <a:cubicBezTo>
                    <a:pt x="793" y="236"/>
                    <a:pt x="797" y="241"/>
                    <a:pt x="802" y="244"/>
                  </a:cubicBezTo>
                  <a:cubicBezTo>
                    <a:pt x="803" y="243"/>
                    <a:pt x="803" y="241"/>
                    <a:pt x="803" y="240"/>
                  </a:cubicBezTo>
                  <a:cubicBezTo>
                    <a:pt x="799" y="237"/>
                    <a:pt x="796" y="233"/>
                    <a:pt x="792" y="230"/>
                  </a:cubicBezTo>
                  <a:cubicBezTo>
                    <a:pt x="798" y="230"/>
                    <a:pt x="801" y="239"/>
                    <a:pt x="807" y="241"/>
                  </a:cubicBezTo>
                  <a:cubicBezTo>
                    <a:pt x="808" y="245"/>
                    <a:pt x="805" y="244"/>
                    <a:pt x="805" y="247"/>
                  </a:cubicBezTo>
                  <a:cubicBezTo>
                    <a:pt x="805" y="251"/>
                    <a:pt x="808" y="252"/>
                    <a:pt x="811" y="254"/>
                  </a:cubicBezTo>
                  <a:cubicBezTo>
                    <a:pt x="812" y="247"/>
                    <a:pt x="814" y="237"/>
                    <a:pt x="816" y="229"/>
                  </a:cubicBezTo>
                  <a:cubicBezTo>
                    <a:pt x="820" y="229"/>
                    <a:pt x="824" y="229"/>
                    <a:pt x="828" y="229"/>
                  </a:cubicBezTo>
                  <a:cubicBezTo>
                    <a:pt x="831" y="241"/>
                    <a:pt x="833" y="256"/>
                    <a:pt x="835" y="270"/>
                  </a:cubicBezTo>
                  <a:cubicBezTo>
                    <a:pt x="862" y="274"/>
                    <a:pt x="888" y="282"/>
                    <a:pt x="913" y="286"/>
                  </a:cubicBezTo>
                  <a:cubicBezTo>
                    <a:pt x="914" y="288"/>
                    <a:pt x="913" y="290"/>
                    <a:pt x="910" y="290"/>
                  </a:cubicBezTo>
                  <a:cubicBezTo>
                    <a:pt x="913" y="305"/>
                    <a:pt x="908" y="327"/>
                    <a:pt x="914" y="341"/>
                  </a:cubicBezTo>
                  <a:cubicBezTo>
                    <a:pt x="915" y="344"/>
                    <a:pt x="911" y="341"/>
                    <a:pt x="911" y="343"/>
                  </a:cubicBezTo>
                  <a:cubicBezTo>
                    <a:pt x="913" y="345"/>
                    <a:pt x="915" y="347"/>
                    <a:pt x="914" y="352"/>
                  </a:cubicBezTo>
                  <a:cubicBezTo>
                    <a:pt x="913" y="350"/>
                    <a:pt x="909" y="348"/>
                    <a:pt x="907" y="349"/>
                  </a:cubicBezTo>
                  <a:cubicBezTo>
                    <a:pt x="907" y="353"/>
                    <a:pt x="910" y="353"/>
                    <a:pt x="911" y="355"/>
                  </a:cubicBezTo>
                  <a:cubicBezTo>
                    <a:pt x="914" y="364"/>
                    <a:pt x="919" y="371"/>
                    <a:pt x="924" y="379"/>
                  </a:cubicBezTo>
                  <a:cubicBezTo>
                    <a:pt x="928" y="391"/>
                    <a:pt x="938" y="401"/>
                    <a:pt x="940" y="413"/>
                  </a:cubicBezTo>
                  <a:cubicBezTo>
                    <a:pt x="928" y="395"/>
                    <a:pt x="919" y="376"/>
                    <a:pt x="909" y="357"/>
                  </a:cubicBezTo>
                  <a:cubicBezTo>
                    <a:pt x="907" y="356"/>
                    <a:pt x="907" y="354"/>
                    <a:pt x="904" y="354"/>
                  </a:cubicBezTo>
                  <a:cubicBezTo>
                    <a:pt x="904" y="353"/>
                    <a:pt x="904" y="352"/>
                    <a:pt x="904" y="351"/>
                  </a:cubicBezTo>
                  <a:cubicBezTo>
                    <a:pt x="885" y="333"/>
                    <a:pt x="866" y="315"/>
                    <a:pt x="848" y="297"/>
                  </a:cubicBezTo>
                  <a:cubicBezTo>
                    <a:pt x="845" y="297"/>
                    <a:pt x="841" y="296"/>
                    <a:pt x="839" y="297"/>
                  </a:cubicBezTo>
                  <a:cubicBezTo>
                    <a:pt x="841" y="328"/>
                    <a:pt x="843" y="366"/>
                    <a:pt x="846" y="392"/>
                  </a:cubicBezTo>
                  <a:cubicBezTo>
                    <a:pt x="885" y="402"/>
                    <a:pt x="924" y="411"/>
                    <a:pt x="963" y="420"/>
                  </a:cubicBezTo>
                  <a:cubicBezTo>
                    <a:pt x="962" y="422"/>
                    <a:pt x="960" y="422"/>
                    <a:pt x="959" y="423"/>
                  </a:cubicBezTo>
                  <a:cubicBezTo>
                    <a:pt x="956" y="451"/>
                    <a:pt x="971" y="462"/>
                    <a:pt x="979" y="480"/>
                  </a:cubicBezTo>
                  <a:cubicBezTo>
                    <a:pt x="981" y="482"/>
                    <a:pt x="981" y="476"/>
                    <a:pt x="984" y="479"/>
                  </a:cubicBezTo>
                  <a:cubicBezTo>
                    <a:pt x="986" y="483"/>
                    <a:pt x="982" y="482"/>
                    <a:pt x="982" y="485"/>
                  </a:cubicBezTo>
                  <a:cubicBezTo>
                    <a:pt x="992" y="503"/>
                    <a:pt x="1002" y="520"/>
                    <a:pt x="1012" y="538"/>
                  </a:cubicBezTo>
                  <a:cubicBezTo>
                    <a:pt x="993" y="511"/>
                    <a:pt x="978" y="480"/>
                    <a:pt x="960" y="452"/>
                  </a:cubicBezTo>
                  <a:cubicBezTo>
                    <a:pt x="960" y="457"/>
                    <a:pt x="958" y="471"/>
                    <a:pt x="963" y="474"/>
                  </a:cubicBezTo>
                  <a:cubicBezTo>
                    <a:pt x="963" y="476"/>
                    <a:pt x="960" y="475"/>
                    <a:pt x="960" y="478"/>
                  </a:cubicBezTo>
                  <a:cubicBezTo>
                    <a:pt x="961" y="480"/>
                    <a:pt x="962" y="478"/>
                    <a:pt x="964" y="478"/>
                  </a:cubicBezTo>
                  <a:cubicBezTo>
                    <a:pt x="962" y="481"/>
                    <a:pt x="964" y="483"/>
                    <a:pt x="963" y="485"/>
                  </a:cubicBezTo>
                  <a:cubicBezTo>
                    <a:pt x="960" y="487"/>
                    <a:pt x="960" y="483"/>
                    <a:pt x="956" y="484"/>
                  </a:cubicBezTo>
                  <a:cubicBezTo>
                    <a:pt x="958" y="489"/>
                    <a:pt x="964" y="496"/>
                    <a:pt x="966" y="503"/>
                  </a:cubicBezTo>
                  <a:cubicBezTo>
                    <a:pt x="959" y="500"/>
                    <a:pt x="958" y="492"/>
                    <a:pt x="954" y="487"/>
                  </a:cubicBezTo>
                  <a:cubicBezTo>
                    <a:pt x="948" y="484"/>
                    <a:pt x="945" y="478"/>
                    <a:pt x="939" y="476"/>
                  </a:cubicBezTo>
                  <a:cubicBezTo>
                    <a:pt x="944" y="471"/>
                    <a:pt x="948" y="484"/>
                    <a:pt x="954" y="481"/>
                  </a:cubicBezTo>
                  <a:cubicBezTo>
                    <a:pt x="954" y="477"/>
                    <a:pt x="951" y="476"/>
                    <a:pt x="952" y="471"/>
                  </a:cubicBezTo>
                  <a:cubicBezTo>
                    <a:pt x="953" y="470"/>
                    <a:pt x="954" y="470"/>
                    <a:pt x="955" y="470"/>
                  </a:cubicBezTo>
                  <a:cubicBezTo>
                    <a:pt x="958" y="450"/>
                    <a:pt x="953" y="433"/>
                    <a:pt x="945" y="424"/>
                  </a:cubicBezTo>
                  <a:cubicBezTo>
                    <a:pt x="928" y="424"/>
                    <a:pt x="913" y="427"/>
                    <a:pt x="897" y="428"/>
                  </a:cubicBezTo>
                  <a:cubicBezTo>
                    <a:pt x="895" y="427"/>
                    <a:pt x="895" y="430"/>
                    <a:pt x="894" y="430"/>
                  </a:cubicBezTo>
                  <a:cubicBezTo>
                    <a:pt x="892" y="430"/>
                    <a:pt x="892" y="429"/>
                    <a:pt x="890" y="428"/>
                  </a:cubicBezTo>
                  <a:cubicBezTo>
                    <a:pt x="878" y="432"/>
                    <a:pt x="859" y="429"/>
                    <a:pt x="848" y="434"/>
                  </a:cubicBezTo>
                  <a:cubicBezTo>
                    <a:pt x="852" y="460"/>
                    <a:pt x="853" y="487"/>
                    <a:pt x="856" y="513"/>
                  </a:cubicBezTo>
                  <a:cubicBezTo>
                    <a:pt x="883" y="522"/>
                    <a:pt x="910" y="530"/>
                    <a:pt x="939" y="536"/>
                  </a:cubicBezTo>
                  <a:cubicBezTo>
                    <a:pt x="940" y="539"/>
                    <a:pt x="937" y="538"/>
                    <a:pt x="937" y="540"/>
                  </a:cubicBezTo>
                  <a:cubicBezTo>
                    <a:pt x="940" y="555"/>
                    <a:pt x="934" y="578"/>
                    <a:pt x="940" y="590"/>
                  </a:cubicBezTo>
                  <a:cubicBezTo>
                    <a:pt x="938" y="595"/>
                    <a:pt x="941" y="598"/>
                    <a:pt x="941" y="603"/>
                  </a:cubicBezTo>
                  <a:cubicBezTo>
                    <a:pt x="938" y="604"/>
                    <a:pt x="939" y="602"/>
                    <a:pt x="937" y="602"/>
                  </a:cubicBezTo>
                  <a:cubicBezTo>
                    <a:pt x="941" y="616"/>
                    <a:pt x="953" y="627"/>
                    <a:pt x="962" y="640"/>
                  </a:cubicBezTo>
                  <a:cubicBezTo>
                    <a:pt x="969" y="649"/>
                    <a:pt x="973" y="660"/>
                    <a:pt x="983" y="667"/>
                  </a:cubicBezTo>
                  <a:cubicBezTo>
                    <a:pt x="985" y="679"/>
                    <a:pt x="996" y="687"/>
                    <a:pt x="1003" y="696"/>
                  </a:cubicBezTo>
                  <a:cubicBezTo>
                    <a:pt x="1006" y="693"/>
                    <a:pt x="1002" y="692"/>
                    <a:pt x="1000" y="689"/>
                  </a:cubicBezTo>
                  <a:cubicBezTo>
                    <a:pt x="996" y="684"/>
                    <a:pt x="990" y="675"/>
                    <a:pt x="984" y="670"/>
                  </a:cubicBezTo>
                  <a:cubicBezTo>
                    <a:pt x="984" y="660"/>
                    <a:pt x="973" y="657"/>
                    <a:pt x="972" y="650"/>
                  </a:cubicBezTo>
                  <a:cubicBezTo>
                    <a:pt x="984" y="661"/>
                    <a:pt x="992" y="676"/>
                    <a:pt x="1003" y="689"/>
                  </a:cubicBezTo>
                  <a:cubicBezTo>
                    <a:pt x="1006" y="689"/>
                    <a:pt x="1007" y="689"/>
                    <a:pt x="1009" y="689"/>
                  </a:cubicBezTo>
                  <a:cubicBezTo>
                    <a:pt x="1009" y="692"/>
                    <a:pt x="1007" y="697"/>
                    <a:pt x="1004" y="698"/>
                  </a:cubicBezTo>
                  <a:cubicBezTo>
                    <a:pt x="1010" y="711"/>
                    <a:pt x="1021" y="718"/>
                    <a:pt x="1027" y="730"/>
                  </a:cubicBezTo>
                  <a:cubicBezTo>
                    <a:pt x="1016" y="723"/>
                    <a:pt x="1011" y="709"/>
                    <a:pt x="1001" y="701"/>
                  </a:cubicBezTo>
                  <a:cubicBezTo>
                    <a:pt x="987" y="679"/>
                    <a:pt x="972" y="659"/>
                    <a:pt x="956" y="640"/>
                  </a:cubicBezTo>
                  <a:cubicBezTo>
                    <a:pt x="956" y="638"/>
                    <a:pt x="956" y="637"/>
                    <a:pt x="955" y="636"/>
                  </a:cubicBezTo>
                  <a:cubicBezTo>
                    <a:pt x="949" y="628"/>
                    <a:pt x="944" y="620"/>
                    <a:pt x="937" y="614"/>
                  </a:cubicBezTo>
                  <a:cubicBezTo>
                    <a:pt x="937" y="610"/>
                    <a:pt x="935" y="607"/>
                    <a:pt x="932" y="609"/>
                  </a:cubicBezTo>
                  <a:cubicBezTo>
                    <a:pt x="934" y="617"/>
                    <a:pt x="942" y="620"/>
                    <a:pt x="945" y="628"/>
                  </a:cubicBezTo>
                  <a:cubicBezTo>
                    <a:pt x="935" y="618"/>
                    <a:pt x="928" y="606"/>
                    <a:pt x="916" y="599"/>
                  </a:cubicBezTo>
                  <a:cubicBezTo>
                    <a:pt x="917" y="594"/>
                    <a:pt x="912" y="592"/>
                    <a:pt x="909" y="590"/>
                  </a:cubicBezTo>
                  <a:cubicBezTo>
                    <a:pt x="911" y="587"/>
                    <a:pt x="904" y="587"/>
                    <a:pt x="904" y="583"/>
                  </a:cubicBezTo>
                  <a:cubicBezTo>
                    <a:pt x="908" y="583"/>
                    <a:pt x="913" y="587"/>
                    <a:pt x="915" y="590"/>
                  </a:cubicBezTo>
                  <a:cubicBezTo>
                    <a:pt x="922" y="588"/>
                    <a:pt x="924" y="598"/>
                    <a:pt x="930" y="599"/>
                  </a:cubicBezTo>
                  <a:cubicBezTo>
                    <a:pt x="932" y="596"/>
                    <a:pt x="932" y="593"/>
                    <a:pt x="934" y="590"/>
                  </a:cubicBezTo>
                  <a:cubicBezTo>
                    <a:pt x="934" y="588"/>
                    <a:pt x="931" y="590"/>
                    <a:pt x="932" y="591"/>
                  </a:cubicBezTo>
                  <a:cubicBezTo>
                    <a:pt x="929" y="589"/>
                    <a:pt x="934" y="587"/>
                    <a:pt x="934" y="585"/>
                  </a:cubicBezTo>
                  <a:cubicBezTo>
                    <a:pt x="934" y="571"/>
                    <a:pt x="931" y="554"/>
                    <a:pt x="934" y="541"/>
                  </a:cubicBezTo>
                  <a:cubicBezTo>
                    <a:pt x="916" y="539"/>
                    <a:pt x="896" y="544"/>
                    <a:pt x="877" y="545"/>
                  </a:cubicBezTo>
                  <a:cubicBezTo>
                    <a:pt x="885" y="558"/>
                    <a:pt x="897" y="568"/>
                    <a:pt x="905" y="581"/>
                  </a:cubicBezTo>
                  <a:cubicBezTo>
                    <a:pt x="894" y="571"/>
                    <a:pt x="885" y="557"/>
                    <a:pt x="874" y="545"/>
                  </a:cubicBezTo>
                  <a:cubicBezTo>
                    <a:pt x="869" y="546"/>
                    <a:pt x="862" y="545"/>
                    <a:pt x="859" y="548"/>
                  </a:cubicBezTo>
                  <a:cubicBezTo>
                    <a:pt x="861" y="552"/>
                    <a:pt x="859" y="561"/>
                    <a:pt x="863" y="562"/>
                  </a:cubicBezTo>
                  <a:cubicBezTo>
                    <a:pt x="863" y="563"/>
                    <a:pt x="861" y="563"/>
                    <a:pt x="861" y="564"/>
                  </a:cubicBezTo>
                  <a:cubicBezTo>
                    <a:pt x="879" y="707"/>
                    <a:pt x="908" y="843"/>
                    <a:pt x="933" y="980"/>
                  </a:cubicBezTo>
                  <a:cubicBezTo>
                    <a:pt x="935" y="982"/>
                    <a:pt x="935" y="976"/>
                    <a:pt x="938" y="978"/>
                  </a:cubicBezTo>
                  <a:cubicBezTo>
                    <a:pt x="939" y="983"/>
                    <a:pt x="940" y="989"/>
                    <a:pt x="938" y="993"/>
                  </a:cubicBezTo>
                  <a:cubicBezTo>
                    <a:pt x="939" y="995"/>
                    <a:pt x="941" y="993"/>
                    <a:pt x="942" y="994"/>
                  </a:cubicBezTo>
                  <a:cubicBezTo>
                    <a:pt x="942" y="1000"/>
                    <a:pt x="932" y="1000"/>
                    <a:pt x="930" y="995"/>
                  </a:cubicBezTo>
                  <a:cubicBezTo>
                    <a:pt x="928" y="995"/>
                    <a:pt x="930" y="998"/>
                    <a:pt x="928" y="999"/>
                  </a:cubicBezTo>
                  <a:cubicBezTo>
                    <a:pt x="930" y="999"/>
                    <a:pt x="931" y="1000"/>
                    <a:pt x="933" y="1000"/>
                  </a:cubicBezTo>
                  <a:cubicBezTo>
                    <a:pt x="931" y="1002"/>
                    <a:pt x="935" y="1004"/>
                    <a:pt x="937" y="1006"/>
                  </a:cubicBezTo>
                  <a:cubicBezTo>
                    <a:pt x="940" y="1003"/>
                    <a:pt x="941" y="1005"/>
                    <a:pt x="945" y="1006"/>
                  </a:cubicBezTo>
                  <a:cubicBezTo>
                    <a:pt x="950" y="1003"/>
                    <a:pt x="960" y="1004"/>
                    <a:pt x="964" y="1007"/>
                  </a:cubicBezTo>
                  <a:cubicBezTo>
                    <a:pt x="971" y="1005"/>
                    <a:pt x="976" y="1004"/>
                    <a:pt x="982" y="1004"/>
                  </a:cubicBezTo>
                  <a:cubicBezTo>
                    <a:pt x="982" y="1001"/>
                    <a:pt x="980" y="1001"/>
                    <a:pt x="982" y="998"/>
                  </a:cubicBezTo>
                  <a:cubicBezTo>
                    <a:pt x="987" y="1001"/>
                    <a:pt x="990" y="1005"/>
                    <a:pt x="997" y="1006"/>
                  </a:cubicBezTo>
                  <a:cubicBezTo>
                    <a:pt x="998" y="1005"/>
                    <a:pt x="996" y="1003"/>
                    <a:pt x="997" y="1001"/>
                  </a:cubicBezTo>
                  <a:cubicBezTo>
                    <a:pt x="999" y="1007"/>
                    <a:pt x="1008" y="1002"/>
                    <a:pt x="1012" y="1004"/>
                  </a:cubicBezTo>
                  <a:cubicBezTo>
                    <a:pt x="1012" y="1010"/>
                    <a:pt x="1005" y="1005"/>
                    <a:pt x="1004" y="1008"/>
                  </a:cubicBezTo>
                  <a:cubicBezTo>
                    <a:pt x="1007" y="1010"/>
                    <a:pt x="1010" y="1008"/>
                    <a:pt x="1014" y="1007"/>
                  </a:cubicBezTo>
                  <a:cubicBezTo>
                    <a:pt x="1015" y="1006"/>
                    <a:pt x="1014" y="1004"/>
                    <a:pt x="1014" y="1002"/>
                  </a:cubicBezTo>
                  <a:cubicBezTo>
                    <a:pt x="1018" y="1002"/>
                    <a:pt x="1019" y="1004"/>
                    <a:pt x="1021" y="1006"/>
                  </a:cubicBezTo>
                  <a:cubicBezTo>
                    <a:pt x="1024" y="1002"/>
                    <a:pt x="1032" y="998"/>
                    <a:pt x="1035" y="1004"/>
                  </a:cubicBezTo>
                  <a:cubicBezTo>
                    <a:pt x="1037" y="1003"/>
                    <a:pt x="1038" y="1003"/>
                    <a:pt x="1040" y="1002"/>
                  </a:cubicBezTo>
                  <a:cubicBezTo>
                    <a:pt x="1039" y="999"/>
                    <a:pt x="1038" y="997"/>
                    <a:pt x="1034" y="997"/>
                  </a:cubicBezTo>
                  <a:cubicBezTo>
                    <a:pt x="1035" y="994"/>
                    <a:pt x="1041" y="996"/>
                    <a:pt x="1043" y="995"/>
                  </a:cubicBezTo>
                  <a:cubicBezTo>
                    <a:pt x="1044" y="998"/>
                    <a:pt x="1045" y="1002"/>
                    <a:pt x="1046" y="1004"/>
                  </a:cubicBezTo>
                  <a:cubicBezTo>
                    <a:pt x="1049" y="1005"/>
                    <a:pt x="1049" y="1002"/>
                    <a:pt x="1052" y="1002"/>
                  </a:cubicBezTo>
                  <a:cubicBezTo>
                    <a:pt x="1053" y="999"/>
                    <a:pt x="1046" y="999"/>
                    <a:pt x="1049" y="996"/>
                  </a:cubicBezTo>
                  <a:cubicBezTo>
                    <a:pt x="1052" y="996"/>
                    <a:pt x="1051" y="998"/>
                    <a:pt x="1052" y="1000"/>
                  </a:cubicBezTo>
                  <a:cubicBezTo>
                    <a:pt x="1053" y="1000"/>
                    <a:pt x="1053" y="998"/>
                    <a:pt x="1055" y="999"/>
                  </a:cubicBezTo>
                  <a:cubicBezTo>
                    <a:pt x="1052" y="1004"/>
                    <a:pt x="1057" y="1004"/>
                    <a:pt x="1060" y="1006"/>
                  </a:cubicBezTo>
                  <a:cubicBezTo>
                    <a:pt x="1061" y="1005"/>
                    <a:pt x="1060" y="1002"/>
                    <a:pt x="1062" y="1002"/>
                  </a:cubicBezTo>
                  <a:cubicBezTo>
                    <a:pt x="1067" y="1004"/>
                    <a:pt x="1074" y="1005"/>
                    <a:pt x="1079" y="1006"/>
                  </a:cubicBezTo>
                  <a:cubicBezTo>
                    <a:pt x="1077" y="1004"/>
                    <a:pt x="1077" y="1000"/>
                    <a:pt x="1074" y="1000"/>
                  </a:cubicBezTo>
                  <a:cubicBezTo>
                    <a:pt x="1072" y="1000"/>
                    <a:pt x="1071" y="1002"/>
                    <a:pt x="1068" y="1002"/>
                  </a:cubicBezTo>
                  <a:cubicBezTo>
                    <a:pt x="1067" y="999"/>
                    <a:pt x="1063" y="1000"/>
                    <a:pt x="1062" y="998"/>
                  </a:cubicBezTo>
                  <a:cubicBezTo>
                    <a:pt x="1067" y="995"/>
                    <a:pt x="1076" y="998"/>
                    <a:pt x="1083" y="996"/>
                  </a:cubicBezTo>
                  <a:cubicBezTo>
                    <a:pt x="1082" y="999"/>
                    <a:pt x="1085" y="998"/>
                    <a:pt x="1086" y="999"/>
                  </a:cubicBezTo>
                  <a:cubicBezTo>
                    <a:pt x="1087" y="1001"/>
                    <a:pt x="1083" y="999"/>
                    <a:pt x="1083" y="1001"/>
                  </a:cubicBezTo>
                  <a:cubicBezTo>
                    <a:pt x="1084" y="1007"/>
                    <a:pt x="1088" y="999"/>
                    <a:pt x="1092" y="1003"/>
                  </a:cubicBezTo>
                  <a:cubicBezTo>
                    <a:pt x="1091" y="999"/>
                    <a:pt x="1085" y="998"/>
                    <a:pt x="1087" y="993"/>
                  </a:cubicBezTo>
                  <a:cubicBezTo>
                    <a:pt x="1090" y="993"/>
                    <a:pt x="1096" y="997"/>
                    <a:pt x="1096" y="1000"/>
                  </a:cubicBezTo>
                  <a:cubicBezTo>
                    <a:pt x="1097" y="1000"/>
                    <a:pt x="1098" y="1000"/>
                    <a:pt x="1099" y="1000"/>
                  </a:cubicBezTo>
                  <a:cubicBezTo>
                    <a:pt x="1101" y="999"/>
                    <a:pt x="1098" y="998"/>
                    <a:pt x="1099" y="996"/>
                  </a:cubicBezTo>
                  <a:cubicBezTo>
                    <a:pt x="1105" y="997"/>
                    <a:pt x="1111" y="999"/>
                    <a:pt x="1114" y="995"/>
                  </a:cubicBezTo>
                  <a:cubicBezTo>
                    <a:pt x="1120" y="999"/>
                    <a:pt x="1128" y="991"/>
                    <a:pt x="1132" y="996"/>
                  </a:cubicBezTo>
                  <a:cubicBezTo>
                    <a:pt x="1132" y="994"/>
                    <a:pt x="1133" y="992"/>
                    <a:pt x="1135" y="990"/>
                  </a:cubicBezTo>
                  <a:cubicBezTo>
                    <a:pt x="1137" y="990"/>
                    <a:pt x="1138" y="992"/>
                    <a:pt x="1139" y="993"/>
                  </a:cubicBezTo>
                  <a:cubicBezTo>
                    <a:pt x="1141" y="993"/>
                    <a:pt x="1140" y="989"/>
                    <a:pt x="1142" y="989"/>
                  </a:cubicBezTo>
                  <a:cubicBezTo>
                    <a:pt x="1144" y="993"/>
                    <a:pt x="1149" y="994"/>
                    <a:pt x="1152" y="996"/>
                  </a:cubicBezTo>
                  <a:cubicBezTo>
                    <a:pt x="1161" y="994"/>
                    <a:pt x="1159" y="988"/>
                    <a:pt x="1160" y="978"/>
                  </a:cubicBezTo>
                  <a:cubicBezTo>
                    <a:pt x="1161" y="969"/>
                    <a:pt x="1164" y="958"/>
                    <a:pt x="1166" y="946"/>
                  </a:cubicBezTo>
                  <a:cubicBezTo>
                    <a:pt x="1168" y="939"/>
                    <a:pt x="1166" y="930"/>
                    <a:pt x="1168" y="924"/>
                  </a:cubicBezTo>
                  <a:cubicBezTo>
                    <a:pt x="1175" y="899"/>
                    <a:pt x="1174" y="869"/>
                    <a:pt x="1178" y="842"/>
                  </a:cubicBezTo>
                  <a:cubicBezTo>
                    <a:pt x="1169" y="840"/>
                    <a:pt x="1154" y="844"/>
                    <a:pt x="1148" y="842"/>
                  </a:cubicBezTo>
                  <a:cubicBezTo>
                    <a:pt x="1151" y="838"/>
                    <a:pt x="1158" y="838"/>
                    <a:pt x="1163" y="836"/>
                  </a:cubicBezTo>
                  <a:cubicBezTo>
                    <a:pt x="1169" y="835"/>
                    <a:pt x="1175" y="832"/>
                    <a:pt x="1179" y="830"/>
                  </a:cubicBezTo>
                  <a:cubicBezTo>
                    <a:pt x="1179" y="820"/>
                    <a:pt x="1179" y="810"/>
                    <a:pt x="1180" y="801"/>
                  </a:cubicBezTo>
                  <a:cubicBezTo>
                    <a:pt x="1171" y="801"/>
                    <a:pt x="1155" y="800"/>
                    <a:pt x="1142" y="801"/>
                  </a:cubicBezTo>
                  <a:cubicBezTo>
                    <a:pt x="1141" y="811"/>
                    <a:pt x="1144" y="818"/>
                    <a:pt x="1142" y="826"/>
                  </a:cubicBezTo>
                  <a:cubicBezTo>
                    <a:pt x="1136" y="823"/>
                    <a:pt x="1142" y="808"/>
                    <a:pt x="1139" y="799"/>
                  </a:cubicBezTo>
                  <a:cubicBezTo>
                    <a:pt x="1154" y="796"/>
                    <a:pt x="1166" y="790"/>
                    <a:pt x="1180" y="786"/>
                  </a:cubicBezTo>
                  <a:cubicBezTo>
                    <a:pt x="1182" y="777"/>
                    <a:pt x="1180" y="761"/>
                    <a:pt x="1182" y="752"/>
                  </a:cubicBezTo>
                  <a:cubicBezTo>
                    <a:pt x="1176" y="750"/>
                    <a:pt x="1167" y="753"/>
                    <a:pt x="1158" y="752"/>
                  </a:cubicBezTo>
                  <a:cubicBezTo>
                    <a:pt x="1157" y="753"/>
                    <a:pt x="1159" y="756"/>
                    <a:pt x="1157" y="758"/>
                  </a:cubicBezTo>
                  <a:cubicBezTo>
                    <a:pt x="1157" y="759"/>
                    <a:pt x="1158" y="765"/>
                    <a:pt x="1157" y="763"/>
                  </a:cubicBezTo>
                  <a:cubicBezTo>
                    <a:pt x="1157" y="759"/>
                    <a:pt x="1155" y="757"/>
                    <a:pt x="1157" y="755"/>
                  </a:cubicBezTo>
                  <a:cubicBezTo>
                    <a:pt x="1156" y="753"/>
                    <a:pt x="1155" y="752"/>
                    <a:pt x="1155" y="750"/>
                  </a:cubicBezTo>
                  <a:cubicBezTo>
                    <a:pt x="1163" y="746"/>
                    <a:pt x="1174" y="745"/>
                    <a:pt x="1183" y="741"/>
                  </a:cubicBezTo>
                  <a:cubicBezTo>
                    <a:pt x="1185" y="734"/>
                    <a:pt x="1182" y="726"/>
                    <a:pt x="1189" y="726"/>
                  </a:cubicBezTo>
                  <a:cubicBezTo>
                    <a:pt x="1190" y="730"/>
                    <a:pt x="1193" y="733"/>
                    <a:pt x="1192" y="739"/>
                  </a:cubicBezTo>
                  <a:cubicBezTo>
                    <a:pt x="1195" y="742"/>
                    <a:pt x="1200" y="743"/>
                    <a:pt x="1204" y="744"/>
                  </a:cubicBezTo>
                  <a:cubicBezTo>
                    <a:pt x="1202" y="749"/>
                    <a:pt x="1196" y="743"/>
                    <a:pt x="1193" y="745"/>
                  </a:cubicBezTo>
                  <a:cubicBezTo>
                    <a:pt x="1193" y="750"/>
                    <a:pt x="1200" y="746"/>
                    <a:pt x="1205" y="747"/>
                  </a:cubicBezTo>
                  <a:cubicBezTo>
                    <a:pt x="1207" y="746"/>
                    <a:pt x="1204" y="745"/>
                    <a:pt x="1206" y="744"/>
                  </a:cubicBezTo>
                  <a:cubicBezTo>
                    <a:pt x="1211" y="745"/>
                    <a:pt x="1216" y="747"/>
                    <a:pt x="1221" y="748"/>
                  </a:cubicBezTo>
                  <a:cubicBezTo>
                    <a:pt x="1220" y="756"/>
                    <a:pt x="1222" y="767"/>
                    <a:pt x="1221" y="775"/>
                  </a:cubicBezTo>
                  <a:cubicBezTo>
                    <a:pt x="1214" y="773"/>
                    <a:pt x="1222" y="758"/>
                    <a:pt x="1219" y="750"/>
                  </a:cubicBezTo>
                  <a:cubicBezTo>
                    <a:pt x="1212" y="749"/>
                    <a:pt x="1203" y="750"/>
                    <a:pt x="1194" y="751"/>
                  </a:cubicBezTo>
                  <a:cubicBezTo>
                    <a:pt x="1195" y="760"/>
                    <a:pt x="1196" y="774"/>
                    <a:pt x="1197" y="786"/>
                  </a:cubicBezTo>
                  <a:cubicBezTo>
                    <a:pt x="1206" y="788"/>
                    <a:pt x="1217" y="792"/>
                    <a:pt x="1226" y="793"/>
                  </a:cubicBezTo>
                  <a:cubicBezTo>
                    <a:pt x="1229" y="796"/>
                    <a:pt x="1237" y="795"/>
                    <a:pt x="1239" y="799"/>
                  </a:cubicBezTo>
                  <a:cubicBezTo>
                    <a:pt x="1227" y="800"/>
                    <a:pt x="1210" y="798"/>
                    <a:pt x="1198" y="801"/>
                  </a:cubicBezTo>
                  <a:cubicBezTo>
                    <a:pt x="1198" y="811"/>
                    <a:pt x="1201" y="820"/>
                    <a:pt x="1200" y="829"/>
                  </a:cubicBezTo>
                  <a:cubicBezTo>
                    <a:pt x="1202" y="834"/>
                    <a:pt x="1217" y="831"/>
                    <a:pt x="1217" y="837"/>
                  </a:cubicBezTo>
                  <a:cubicBezTo>
                    <a:pt x="1223" y="835"/>
                    <a:pt x="1226" y="838"/>
                    <a:pt x="1231" y="838"/>
                  </a:cubicBezTo>
                  <a:cubicBezTo>
                    <a:pt x="1229" y="848"/>
                    <a:pt x="1234" y="860"/>
                    <a:pt x="1230" y="866"/>
                  </a:cubicBezTo>
                  <a:cubicBezTo>
                    <a:pt x="1227" y="861"/>
                    <a:pt x="1230" y="850"/>
                    <a:pt x="1230" y="841"/>
                  </a:cubicBezTo>
                  <a:cubicBezTo>
                    <a:pt x="1222" y="839"/>
                    <a:pt x="1210" y="842"/>
                    <a:pt x="1203" y="840"/>
                  </a:cubicBezTo>
                  <a:cubicBezTo>
                    <a:pt x="1201" y="849"/>
                    <a:pt x="1204" y="866"/>
                    <a:pt x="1208" y="874"/>
                  </a:cubicBezTo>
                  <a:cubicBezTo>
                    <a:pt x="1206" y="885"/>
                    <a:pt x="1212" y="918"/>
                    <a:pt x="1216" y="929"/>
                  </a:cubicBezTo>
                  <a:cubicBezTo>
                    <a:pt x="1219" y="952"/>
                    <a:pt x="1223" y="973"/>
                    <a:pt x="1228" y="995"/>
                  </a:cubicBezTo>
                  <a:cubicBezTo>
                    <a:pt x="1231" y="992"/>
                    <a:pt x="1235" y="997"/>
                    <a:pt x="1236" y="992"/>
                  </a:cubicBezTo>
                  <a:cubicBezTo>
                    <a:pt x="1241" y="997"/>
                    <a:pt x="1249" y="994"/>
                    <a:pt x="1254" y="996"/>
                  </a:cubicBezTo>
                  <a:cubicBezTo>
                    <a:pt x="1261" y="982"/>
                    <a:pt x="1259" y="959"/>
                    <a:pt x="1262" y="942"/>
                  </a:cubicBezTo>
                  <a:cubicBezTo>
                    <a:pt x="1258" y="938"/>
                    <a:pt x="1249" y="943"/>
                    <a:pt x="1245" y="941"/>
                  </a:cubicBezTo>
                  <a:cubicBezTo>
                    <a:pt x="1247" y="937"/>
                    <a:pt x="1256" y="939"/>
                    <a:pt x="1259" y="935"/>
                  </a:cubicBezTo>
                  <a:cubicBezTo>
                    <a:pt x="1260" y="934"/>
                    <a:pt x="1261" y="934"/>
                    <a:pt x="1261" y="936"/>
                  </a:cubicBezTo>
                  <a:cubicBezTo>
                    <a:pt x="1264" y="930"/>
                    <a:pt x="1262" y="924"/>
                    <a:pt x="1264" y="917"/>
                  </a:cubicBezTo>
                  <a:cubicBezTo>
                    <a:pt x="1257" y="913"/>
                    <a:pt x="1247" y="917"/>
                    <a:pt x="1239" y="916"/>
                  </a:cubicBezTo>
                  <a:cubicBezTo>
                    <a:pt x="1241" y="913"/>
                    <a:pt x="1247" y="913"/>
                    <a:pt x="1250" y="911"/>
                  </a:cubicBezTo>
                  <a:cubicBezTo>
                    <a:pt x="1254" y="913"/>
                    <a:pt x="1263" y="916"/>
                    <a:pt x="1265" y="911"/>
                  </a:cubicBezTo>
                  <a:cubicBezTo>
                    <a:pt x="1262" y="906"/>
                    <a:pt x="1258" y="914"/>
                    <a:pt x="1254" y="911"/>
                  </a:cubicBezTo>
                  <a:cubicBezTo>
                    <a:pt x="1257" y="909"/>
                    <a:pt x="1262" y="909"/>
                    <a:pt x="1265" y="906"/>
                  </a:cubicBezTo>
                  <a:cubicBezTo>
                    <a:pt x="1264" y="897"/>
                    <a:pt x="1265" y="893"/>
                    <a:pt x="1265" y="886"/>
                  </a:cubicBezTo>
                  <a:cubicBezTo>
                    <a:pt x="1261" y="887"/>
                    <a:pt x="1253" y="884"/>
                    <a:pt x="1249" y="887"/>
                  </a:cubicBezTo>
                  <a:cubicBezTo>
                    <a:pt x="1252" y="881"/>
                    <a:pt x="1264" y="880"/>
                    <a:pt x="1270" y="879"/>
                  </a:cubicBezTo>
                  <a:cubicBezTo>
                    <a:pt x="1270" y="878"/>
                    <a:pt x="1269" y="877"/>
                    <a:pt x="1269" y="877"/>
                  </a:cubicBezTo>
                  <a:cubicBezTo>
                    <a:pt x="1271" y="875"/>
                    <a:pt x="1272" y="880"/>
                    <a:pt x="1273" y="881"/>
                  </a:cubicBezTo>
                  <a:cubicBezTo>
                    <a:pt x="1278" y="883"/>
                    <a:pt x="1286" y="880"/>
                    <a:pt x="1288" y="885"/>
                  </a:cubicBezTo>
                  <a:cubicBezTo>
                    <a:pt x="1286" y="887"/>
                    <a:pt x="1277" y="884"/>
                    <a:pt x="1273" y="886"/>
                  </a:cubicBezTo>
                  <a:cubicBezTo>
                    <a:pt x="1274" y="894"/>
                    <a:pt x="1274" y="900"/>
                    <a:pt x="1273" y="906"/>
                  </a:cubicBezTo>
                  <a:cubicBezTo>
                    <a:pt x="1275" y="908"/>
                    <a:pt x="1280" y="907"/>
                    <a:pt x="1282" y="910"/>
                  </a:cubicBezTo>
                  <a:cubicBezTo>
                    <a:pt x="1280" y="915"/>
                    <a:pt x="1276" y="906"/>
                    <a:pt x="1274" y="911"/>
                  </a:cubicBezTo>
                  <a:cubicBezTo>
                    <a:pt x="1277" y="915"/>
                    <a:pt x="1291" y="915"/>
                    <a:pt x="1290" y="907"/>
                  </a:cubicBezTo>
                  <a:cubicBezTo>
                    <a:pt x="1293" y="910"/>
                    <a:pt x="1294" y="914"/>
                    <a:pt x="1299" y="914"/>
                  </a:cubicBezTo>
                  <a:cubicBezTo>
                    <a:pt x="1293" y="918"/>
                    <a:pt x="1280" y="912"/>
                    <a:pt x="1275" y="916"/>
                  </a:cubicBezTo>
                  <a:cubicBezTo>
                    <a:pt x="1277" y="920"/>
                    <a:pt x="1275" y="929"/>
                    <a:pt x="1277" y="937"/>
                  </a:cubicBezTo>
                  <a:cubicBezTo>
                    <a:pt x="1278" y="938"/>
                    <a:pt x="1280" y="935"/>
                    <a:pt x="1282" y="935"/>
                  </a:cubicBezTo>
                  <a:cubicBezTo>
                    <a:pt x="1285" y="938"/>
                    <a:pt x="1295" y="937"/>
                    <a:pt x="1298" y="938"/>
                  </a:cubicBezTo>
                  <a:cubicBezTo>
                    <a:pt x="1301" y="936"/>
                    <a:pt x="1300" y="932"/>
                    <a:pt x="1297" y="930"/>
                  </a:cubicBezTo>
                  <a:cubicBezTo>
                    <a:pt x="1298" y="928"/>
                    <a:pt x="1298" y="925"/>
                    <a:pt x="1299" y="924"/>
                  </a:cubicBezTo>
                  <a:cubicBezTo>
                    <a:pt x="1298" y="923"/>
                    <a:pt x="1296" y="922"/>
                    <a:pt x="1295" y="920"/>
                  </a:cubicBezTo>
                  <a:cubicBezTo>
                    <a:pt x="1293" y="920"/>
                    <a:pt x="1294" y="924"/>
                    <a:pt x="1290" y="922"/>
                  </a:cubicBezTo>
                  <a:cubicBezTo>
                    <a:pt x="1290" y="918"/>
                    <a:pt x="1294" y="918"/>
                    <a:pt x="1297" y="918"/>
                  </a:cubicBezTo>
                  <a:cubicBezTo>
                    <a:pt x="1302" y="914"/>
                    <a:pt x="1305" y="905"/>
                    <a:pt x="1300" y="901"/>
                  </a:cubicBezTo>
                  <a:cubicBezTo>
                    <a:pt x="1301" y="899"/>
                    <a:pt x="1303" y="898"/>
                    <a:pt x="1303" y="895"/>
                  </a:cubicBezTo>
                  <a:cubicBezTo>
                    <a:pt x="1306" y="896"/>
                    <a:pt x="1305" y="900"/>
                    <a:pt x="1309" y="899"/>
                  </a:cubicBezTo>
                  <a:cubicBezTo>
                    <a:pt x="1309" y="901"/>
                    <a:pt x="1307" y="900"/>
                    <a:pt x="1307" y="903"/>
                  </a:cubicBezTo>
                  <a:cubicBezTo>
                    <a:pt x="1308" y="917"/>
                    <a:pt x="1310" y="924"/>
                    <a:pt x="1310" y="935"/>
                  </a:cubicBezTo>
                  <a:cubicBezTo>
                    <a:pt x="1313" y="939"/>
                    <a:pt x="1317" y="937"/>
                    <a:pt x="1321" y="936"/>
                  </a:cubicBezTo>
                  <a:cubicBezTo>
                    <a:pt x="1322" y="934"/>
                    <a:pt x="1318" y="936"/>
                    <a:pt x="1319" y="933"/>
                  </a:cubicBezTo>
                  <a:cubicBezTo>
                    <a:pt x="1320" y="934"/>
                    <a:pt x="1321" y="935"/>
                    <a:pt x="1322" y="933"/>
                  </a:cubicBezTo>
                  <a:cubicBezTo>
                    <a:pt x="1324" y="930"/>
                    <a:pt x="1318" y="930"/>
                    <a:pt x="1320" y="929"/>
                  </a:cubicBezTo>
                  <a:cubicBezTo>
                    <a:pt x="1327" y="924"/>
                    <a:pt x="1322" y="940"/>
                    <a:pt x="1327" y="942"/>
                  </a:cubicBezTo>
                  <a:cubicBezTo>
                    <a:pt x="1326" y="943"/>
                    <a:pt x="1325" y="944"/>
                    <a:pt x="1324" y="945"/>
                  </a:cubicBezTo>
                  <a:cubicBezTo>
                    <a:pt x="1326" y="948"/>
                    <a:pt x="1326" y="955"/>
                    <a:pt x="1329" y="957"/>
                  </a:cubicBezTo>
                  <a:cubicBezTo>
                    <a:pt x="1329" y="957"/>
                    <a:pt x="1328" y="957"/>
                    <a:pt x="1327" y="957"/>
                  </a:cubicBezTo>
                  <a:cubicBezTo>
                    <a:pt x="1329" y="963"/>
                    <a:pt x="1328" y="967"/>
                    <a:pt x="1329" y="973"/>
                  </a:cubicBezTo>
                  <a:cubicBezTo>
                    <a:pt x="1332" y="970"/>
                    <a:pt x="1331" y="962"/>
                    <a:pt x="1334" y="959"/>
                  </a:cubicBezTo>
                  <a:cubicBezTo>
                    <a:pt x="1333" y="958"/>
                    <a:pt x="1333" y="957"/>
                    <a:pt x="1331" y="957"/>
                  </a:cubicBezTo>
                  <a:cubicBezTo>
                    <a:pt x="1331" y="955"/>
                    <a:pt x="1333" y="955"/>
                    <a:pt x="1334" y="953"/>
                  </a:cubicBezTo>
                  <a:cubicBezTo>
                    <a:pt x="1334" y="950"/>
                    <a:pt x="1329" y="951"/>
                    <a:pt x="1329" y="948"/>
                  </a:cubicBezTo>
                  <a:cubicBezTo>
                    <a:pt x="1333" y="947"/>
                    <a:pt x="1336" y="947"/>
                    <a:pt x="1340" y="948"/>
                  </a:cubicBezTo>
                  <a:cubicBezTo>
                    <a:pt x="1340" y="951"/>
                    <a:pt x="1338" y="950"/>
                    <a:pt x="1336" y="950"/>
                  </a:cubicBezTo>
                  <a:cubicBezTo>
                    <a:pt x="1339" y="955"/>
                    <a:pt x="1335" y="958"/>
                    <a:pt x="1338" y="963"/>
                  </a:cubicBezTo>
                  <a:cubicBezTo>
                    <a:pt x="1342" y="961"/>
                    <a:pt x="1341" y="955"/>
                    <a:pt x="1344" y="952"/>
                  </a:cubicBezTo>
                  <a:cubicBezTo>
                    <a:pt x="1347" y="954"/>
                    <a:pt x="1345" y="957"/>
                    <a:pt x="1344" y="959"/>
                  </a:cubicBezTo>
                  <a:cubicBezTo>
                    <a:pt x="1347" y="963"/>
                    <a:pt x="1354" y="962"/>
                    <a:pt x="1355" y="966"/>
                  </a:cubicBezTo>
                  <a:cubicBezTo>
                    <a:pt x="1355" y="970"/>
                    <a:pt x="1354" y="965"/>
                    <a:pt x="1351" y="966"/>
                  </a:cubicBezTo>
                  <a:cubicBezTo>
                    <a:pt x="1350" y="971"/>
                    <a:pt x="1352" y="978"/>
                    <a:pt x="1354" y="981"/>
                  </a:cubicBezTo>
                  <a:cubicBezTo>
                    <a:pt x="1354" y="983"/>
                    <a:pt x="1351" y="982"/>
                    <a:pt x="1351" y="983"/>
                  </a:cubicBezTo>
                  <a:cubicBezTo>
                    <a:pt x="1353" y="986"/>
                    <a:pt x="1353" y="989"/>
                    <a:pt x="1354" y="993"/>
                  </a:cubicBezTo>
                  <a:cubicBezTo>
                    <a:pt x="1358" y="995"/>
                    <a:pt x="1363" y="994"/>
                    <a:pt x="1364" y="990"/>
                  </a:cubicBezTo>
                  <a:cubicBezTo>
                    <a:pt x="1367" y="990"/>
                    <a:pt x="1365" y="994"/>
                    <a:pt x="1366" y="995"/>
                  </a:cubicBezTo>
                  <a:cubicBezTo>
                    <a:pt x="1375" y="995"/>
                    <a:pt x="1378" y="989"/>
                    <a:pt x="1382" y="984"/>
                  </a:cubicBezTo>
                  <a:cubicBezTo>
                    <a:pt x="1386" y="984"/>
                    <a:pt x="1384" y="989"/>
                    <a:pt x="1383" y="991"/>
                  </a:cubicBezTo>
                  <a:cubicBezTo>
                    <a:pt x="1385" y="995"/>
                    <a:pt x="1390" y="994"/>
                    <a:pt x="1394" y="993"/>
                  </a:cubicBezTo>
                  <a:cubicBezTo>
                    <a:pt x="1394" y="991"/>
                    <a:pt x="1392" y="989"/>
                    <a:pt x="1394" y="987"/>
                  </a:cubicBezTo>
                  <a:cubicBezTo>
                    <a:pt x="1398" y="987"/>
                    <a:pt x="1397" y="992"/>
                    <a:pt x="1398" y="993"/>
                  </a:cubicBezTo>
                  <a:cubicBezTo>
                    <a:pt x="1402" y="994"/>
                    <a:pt x="1400" y="989"/>
                    <a:pt x="1401" y="987"/>
                  </a:cubicBezTo>
                  <a:cubicBezTo>
                    <a:pt x="1404" y="987"/>
                    <a:pt x="1403" y="992"/>
                    <a:pt x="1405" y="993"/>
                  </a:cubicBezTo>
                  <a:cubicBezTo>
                    <a:pt x="1409" y="993"/>
                    <a:pt x="1412" y="992"/>
                    <a:pt x="1415" y="991"/>
                  </a:cubicBezTo>
                  <a:cubicBezTo>
                    <a:pt x="1414" y="986"/>
                    <a:pt x="1415" y="979"/>
                    <a:pt x="1412" y="976"/>
                  </a:cubicBezTo>
                  <a:cubicBezTo>
                    <a:pt x="1417" y="966"/>
                    <a:pt x="1411" y="947"/>
                    <a:pt x="1418" y="937"/>
                  </a:cubicBezTo>
                  <a:cubicBezTo>
                    <a:pt x="1418" y="942"/>
                    <a:pt x="1423" y="948"/>
                    <a:pt x="1420" y="952"/>
                  </a:cubicBezTo>
                  <a:cubicBezTo>
                    <a:pt x="1421" y="955"/>
                    <a:pt x="1422" y="957"/>
                    <a:pt x="1424" y="959"/>
                  </a:cubicBezTo>
                  <a:cubicBezTo>
                    <a:pt x="1425" y="961"/>
                    <a:pt x="1423" y="962"/>
                    <a:pt x="1422" y="963"/>
                  </a:cubicBezTo>
                  <a:cubicBezTo>
                    <a:pt x="1426" y="966"/>
                    <a:pt x="1430" y="962"/>
                    <a:pt x="1431" y="959"/>
                  </a:cubicBezTo>
                  <a:cubicBezTo>
                    <a:pt x="1434" y="967"/>
                    <a:pt x="1429" y="981"/>
                    <a:pt x="1435" y="989"/>
                  </a:cubicBezTo>
                  <a:cubicBezTo>
                    <a:pt x="1435" y="1012"/>
                    <a:pt x="1435" y="1036"/>
                    <a:pt x="1435" y="1060"/>
                  </a:cubicBezTo>
                  <a:cubicBezTo>
                    <a:pt x="1349" y="1060"/>
                    <a:pt x="1254" y="1060"/>
                    <a:pt x="1165" y="1060"/>
                  </a:cubicBezTo>
                  <a:cubicBezTo>
                    <a:pt x="1155" y="1060"/>
                    <a:pt x="1132" y="1062"/>
                    <a:pt x="1127" y="1059"/>
                  </a:cubicBezTo>
                  <a:cubicBezTo>
                    <a:pt x="1125" y="1057"/>
                    <a:pt x="1130" y="1054"/>
                    <a:pt x="1127" y="1052"/>
                  </a:cubicBezTo>
                  <a:cubicBezTo>
                    <a:pt x="1128" y="1052"/>
                    <a:pt x="1129" y="1055"/>
                    <a:pt x="1129" y="1053"/>
                  </a:cubicBezTo>
                  <a:cubicBezTo>
                    <a:pt x="1130" y="1051"/>
                    <a:pt x="1129" y="1046"/>
                    <a:pt x="1126" y="1047"/>
                  </a:cubicBezTo>
                  <a:cubicBezTo>
                    <a:pt x="1127" y="1049"/>
                    <a:pt x="1123" y="1056"/>
                    <a:pt x="1122" y="1052"/>
                  </a:cubicBezTo>
                  <a:cubicBezTo>
                    <a:pt x="1120" y="1057"/>
                    <a:pt x="1126" y="1054"/>
                    <a:pt x="1126" y="1058"/>
                  </a:cubicBezTo>
                  <a:cubicBezTo>
                    <a:pt x="1125" y="1059"/>
                    <a:pt x="1125" y="1059"/>
                    <a:pt x="1125" y="1060"/>
                  </a:cubicBezTo>
                  <a:cubicBezTo>
                    <a:pt x="1115" y="1059"/>
                    <a:pt x="1103" y="1061"/>
                    <a:pt x="1094" y="1059"/>
                  </a:cubicBezTo>
                  <a:cubicBezTo>
                    <a:pt x="1093" y="1048"/>
                    <a:pt x="1108" y="1052"/>
                    <a:pt x="1112" y="1046"/>
                  </a:cubicBezTo>
                  <a:cubicBezTo>
                    <a:pt x="1112" y="1049"/>
                    <a:pt x="1118" y="1046"/>
                    <a:pt x="1118" y="1049"/>
                  </a:cubicBezTo>
                  <a:cubicBezTo>
                    <a:pt x="1120" y="1047"/>
                    <a:pt x="1123" y="1046"/>
                    <a:pt x="1124" y="1043"/>
                  </a:cubicBezTo>
                  <a:cubicBezTo>
                    <a:pt x="1127" y="1043"/>
                    <a:pt x="1131" y="1045"/>
                    <a:pt x="1134" y="1041"/>
                  </a:cubicBezTo>
                  <a:cubicBezTo>
                    <a:pt x="1135" y="1042"/>
                    <a:pt x="1135" y="1043"/>
                    <a:pt x="1135" y="1044"/>
                  </a:cubicBezTo>
                  <a:cubicBezTo>
                    <a:pt x="1137" y="1043"/>
                    <a:pt x="1140" y="1040"/>
                    <a:pt x="1138" y="1044"/>
                  </a:cubicBezTo>
                  <a:cubicBezTo>
                    <a:pt x="1141" y="1044"/>
                    <a:pt x="1139" y="1039"/>
                    <a:pt x="1142" y="1039"/>
                  </a:cubicBezTo>
                  <a:cubicBezTo>
                    <a:pt x="1143" y="1039"/>
                    <a:pt x="1142" y="1042"/>
                    <a:pt x="1144" y="1042"/>
                  </a:cubicBezTo>
                  <a:cubicBezTo>
                    <a:pt x="1145" y="1041"/>
                    <a:pt x="1146" y="1039"/>
                    <a:pt x="1148" y="1039"/>
                  </a:cubicBezTo>
                  <a:cubicBezTo>
                    <a:pt x="1148" y="1040"/>
                    <a:pt x="1148" y="1042"/>
                    <a:pt x="1150" y="1043"/>
                  </a:cubicBezTo>
                  <a:cubicBezTo>
                    <a:pt x="1152" y="1041"/>
                    <a:pt x="1147" y="1039"/>
                    <a:pt x="1150" y="1039"/>
                  </a:cubicBezTo>
                  <a:cubicBezTo>
                    <a:pt x="1153" y="1038"/>
                    <a:pt x="1150" y="1043"/>
                    <a:pt x="1154" y="1041"/>
                  </a:cubicBezTo>
                  <a:cubicBezTo>
                    <a:pt x="1155" y="1038"/>
                    <a:pt x="1155" y="1038"/>
                    <a:pt x="1157" y="1035"/>
                  </a:cubicBezTo>
                  <a:cubicBezTo>
                    <a:pt x="1154" y="1036"/>
                    <a:pt x="1148" y="1034"/>
                    <a:pt x="1146" y="1038"/>
                  </a:cubicBezTo>
                  <a:cubicBezTo>
                    <a:pt x="1145" y="1037"/>
                    <a:pt x="1145" y="1036"/>
                    <a:pt x="1144" y="1036"/>
                  </a:cubicBezTo>
                  <a:cubicBezTo>
                    <a:pt x="1127" y="1038"/>
                    <a:pt x="1111" y="1039"/>
                    <a:pt x="1090" y="1039"/>
                  </a:cubicBezTo>
                  <a:cubicBezTo>
                    <a:pt x="1091" y="1044"/>
                    <a:pt x="1089" y="1044"/>
                    <a:pt x="1090" y="1048"/>
                  </a:cubicBezTo>
                  <a:cubicBezTo>
                    <a:pt x="1082" y="1050"/>
                    <a:pt x="1074" y="1049"/>
                    <a:pt x="1070" y="1044"/>
                  </a:cubicBezTo>
                  <a:cubicBezTo>
                    <a:pt x="1074" y="1045"/>
                    <a:pt x="1076" y="1042"/>
                    <a:pt x="1078" y="1040"/>
                  </a:cubicBezTo>
                  <a:cubicBezTo>
                    <a:pt x="1065" y="1041"/>
                    <a:pt x="1059" y="1040"/>
                    <a:pt x="1049" y="1043"/>
                  </a:cubicBezTo>
                  <a:cubicBezTo>
                    <a:pt x="1043" y="1039"/>
                    <a:pt x="1029" y="1046"/>
                    <a:pt x="1023" y="1041"/>
                  </a:cubicBezTo>
                  <a:cubicBezTo>
                    <a:pt x="1017" y="1044"/>
                    <a:pt x="1008" y="1037"/>
                    <a:pt x="1000" y="1041"/>
                  </a:cubicBezTo>
                  <a:cubicBezTo>
                    <a:pt x="998" y="1036"/>
                    <a:pt x="993" y="1039"/>
                    <a:pt x="991" y="1037"/>
                  </a:cubicBezTo>
                  <a:cubicBezTo>
                    <a:pt x="984" y="1041"/>
                    <a:pt x="974" y="1037"/>
                    <a:pt x="965" y="1038"/>
                  </a:cubicBezTo>
                  <a:cubicBezTo>
                    <a:pt x="961" y="1038"/>
                    <a:pt x="956" y="1041"/>
                    <a:pt x="952" y="1039"/>
                  </a:cubicBezTo>
                  <a:cubicBezTo>
                    <a:pt x="951" y="1039"/>
                    <a:pt x="950" y="1041"/>
                    <a:pt x="948" y="1041"/>
                  </a:cubicBezTo>
                  <a:cubicBezTo>
                    <a:pt x="936" y="1038"/>
                    <a:pt x="926" y="1044"/>
                    <a:pt x="913" y="1041"/>
                  </a:cubicBezTo>
                  <a:cubicBezTo>
                    <a:pt x="903" y="1041"/>
                    <a:pt x="889" y="1045"/>
                    <a:pt x="877" y="1039"/>
                  </a:cubicBezTo>
                  <a:cubicBezTo>
                    <a:pt x="873" y="1039"/>
                    <a:pt x="866" y="1039"/>
                    <a:pt x="863" y="1036"/>
                  </a:cubicBezTo>
                  <a:cubicBezTo>
                    <a:pt x="861" y="1039"/>
                    <a:pt x="854" y="1036"/>
                    <a:pt x="851" y="1034"/>
                  </a:cubicBezTo>
                  <a:cubicBezTo>
                    <a:pt x="846" y="1037"/>
                    <a:pt x="839" y="1033"/>
                    <a:pt x="834" y="1034"/>
                  </a:cubicBezTo>
                  <a:cubicBezTo>
                    <a:pt x="831" y="1032"/>
                    <a:pt x="826" y="1031"/>
                    <a:pt x="821" y="1031"/>
                  </a:cubicBezTo>
                  <a:cubicBezTo>
                    <a:pt x="820" y="1030"/>
                    <a:pt x="819" y="1028"/>
                    <a:pt x="818" y="1027"/>
                  </a:cubicBezTo>
                  <a:cubicBezTo>
                    <a:pt x="821" y="1025"/>
                    <a:pt x="825" y="1024"/>
                    <a:pt x="827" y="1022"/>
                  </a:cubicBezTo>
                  <a:cubicBezTo>
                    <a:pt x="822" y="1021"/>
                    <a:pt x="815" y="1022"/>
                    <a:pt x="809" y="1021"/>
                  </a:cubicBezTo>
                  <a:cubicBezTo>
                    <a:pt x="808" y="1018"/>
                    <a:pt x="806" y="1014"/>
                    <a:pt x="803" y="1015"/>
                  </a:cubicBezTo>
                  <a:cubicBezTo>
                    <a:pt x="800" y="1017"/>
                    <a:pt x="803" y="1017"/>
                    <a:pt x="803" y="1020"/>
                  </a:cubicBezTo>
                  <a:cubicBezTo>
                    <a:pt x="801" y="1024"/>
                    <a:pt x="799" y="1019"/>
                    <a:pt x="797" y="1022"/>
                  </a:cubicBezTo>
                  <a:cubicBezTo>
                    <a:pt x="799" y="1022"/>
                    <a:pt x="801" y="1026"/>
                    <a:pt x="800" y="1028"/>
                  </a:cubicBezTo>
                  <a:cubicBezTo>
                    <a:pt x="792" y="1023"/>
                    <a:pt x="780" y="1029"/>
                    <a:pt x="773" y="1028"/>
                  </a:cubicBezTo>
                  <a:cubicBezTo>
                    <a:pt x="771" y="1029"/>
                    <a:pt x="774" y="1031"/>
                    <a:pt x="771" y="1032"/>
                  </a:cubicBezTo>
                  <a:cubicBezTo>
                    <a:pt x="753" y="1027"/>
                    <a:pt x="739" y="1033"/>
                    <a:pt x="722" y="1035"/>
                  </a:cubicBezTo>
                  <a:cubicBezTo>
                    <a:pt x="721" y="1039"/>
                    <a:pt x="718" y="1042"/>
                    <a:pt x="718" y="1044"/>
                  </a:cubicBezTo>
                  <a:cubicBezTo>
                    <a:pt x="721" y="1045"/>
                    <a:pt x="719" y="1041"/>
                    <a:pt x="721" y="1042"/>
                  </a:cubicBezTo>
                  <a:cubicBezTo>
                    <a:pt x="726" y="1047"/>
                    <a:pt x="713" y="1048"/>
                    <a:pt x="711" y="1044"/>
                  </a:cubicBezTo>
                  <a:cubicBezTo>
                    <a:pt x="712" y="1042"/>
                    <a:pt x="714" y="1044"/>
                    <a:pt x="714" y="1041"/>
                  </a:cubicBezTo>
                  <a:cubicBezTo>
                    <a:pt x="712" y="1041"/>
                    <a:pt x="712" y="1042"/>
                    <a:pt x="710" y="1042"/>
                  </a:cubicBezTo>
                  <a:cubicBezTo>
                    <a:pt x="709" y="1041"/>
                    <a:pt x="709" y="1038"/>
                    <a:pt x="707" y="1039"/>
                  </a:cubicBezTo>
                  <a:cubicBezTo>
                    <a:pt x="698" y="1041"/>
                    <a:pt x="691" y="1037"/>
                    <a:pt x="686" y="1036"/>
                  </a:cubicBezTo>
                  <a:cubicBezTo>
                    <a:pt x="688" y="1038"/>
                    <a:pt x="685" y="1037"/>
                    <a:pt x="684" y="1038"/>
                  </a:cubicBezTo>
                  <a:cubicBezTo>
                    <a:pt x="673" y="1034"/>
                    <a:pt x="663" y="1034"/>
                    <a:pt x="650" y="1031"/>
                  </a:cubicBezTo>
                  <a:cubicBezTo>
                    <a:pt x="639" y="1024"/>
                    <a:pt x="618" y="1032"/>
                    <a:pt x="609" y="1025"/>
                  </a:cubicBezTo>
                  <a:cubicBezTo>
                    <a:pt x="610" y="1022"/>
                    <a:pt x="613" y="1022"/>
                    <a:pt x="613" y="1018"/>
                  </a:cubicBezTo>
                  <a:cubicBezTo>
                    <a:pt x="610" y="1017"/>
                    <a:pt x="609" y="1020"/>
                    <a:pt x="609" y="1017"/>
                  </a:cubicBezTo>
                  <a:cubicBezTo>
                    <a:pt x="611" y="1015"/>
                    <a:pt x="613" y="1019"/>
                    <a:pt x="615" y="1017"/>
                  </a:cubicBezTo>
                  <a:cubicBezTo>
                    <a:pt x="613" y="1015"/>
                    <a:pt x="613" y="1012"/>
                    <a:pt x="616" y="1011"/>
                  </a:cubicBezTo>
                  <a:cubicBezTo>
                    <a:pt x="614" y="1009"/>
                    <a:pt x="611" y="1010"/>
                    <a:pt x="611" y="1008"/>
                  </a:cubicBezTo>
                  <a:cubicBezTo>
                    <a:pt x="613" y="1003"/>
                    <a:pt x="607" y="1004"/>
                    <a:pt x="606" y="1000"/>
                  </a:cubicBezTo>
                  <a:cubicBezTo>
                    <a:pt x="607" y="999"/>
                    <a:pt x="608" y="998"/>
                    <a:pt x="610" y="998"/>
                  </a:cubicBezTo>
                  <a:cubicBezTo>
                    <a:pt x="612" y="1000"/>
                    <a:pt x="613" y="1003"/>
                    <a:pt x="614" y="1006"/>
                  </a:cubicBezTo>
                  <a:cubicBezTo>
                    <a:pt x="619" y="1006"/>
                    <a:pt x="623" y="1006"/>
                    <a:pt x="624" y="1010"/>
                  </a:cubicBezTo>
                  <a:cubicBezTo>
                    <a:pt x="621" y="1012"/>
                    <a:pt x="619" y="1007"/>
                    <a:pt x="617" y="1011"/>
                  </a:cubicBezTo>
                  <a:cubicBezTo>
                    <a:pt x="619" y="1016"/>
                    <a:pt x="622" y="1017"/>
                    <a:pt x="621" y="1025"/>
                  </a:cubicBezTo>
                  <a:cubicBezTo>
                    <a:pt x="627" y="1019"/>
                    <a:pt x="636" y="1026"/>
                    <a:pt x="642" y="1024"/>
                  </a:cubicBezTo>
                  <a:cubicBezTo>
                    <a:pt x="643" y="1021"/>
                    <a:pt x="640" y="1023"/>
                    <a:pt x="641" y="1021"/>
                  </a:cubicBezTo>
                  <a:cubicBezTo>
                    <a:pt x="642" y="1021"/>
                    <a:pt x="647" y="1018"/>
                    <a:pt x="648" y="1022"/>
                  </a:cubicBezTo>
                  <a:cubicBezTo>
                    <a:pt x="650" y="1023"/>
                    <a:pt x="649" y="1019"/>
                    <a:pt x="652" y="1019"/>
                  </a:cubicBezTo>
                  <a:cubicBezTo>
                    <a:pt x="654" y="1022"/>
                    <a:pt x="655" y="1025"/>
                    <a:pt x="657" y="1028"/>
                  </a:cubicBezTo>
                  <a:cubicBezTo>
                    <a:pt x="657" y="1024"/>
                    <a:pt x="659" y="1023"/>
                    <a:pt x="660" y="1021"/>
                  </a:cubicBezTo>
                  <a:cubicBezTo>
                    <a:pt x="663" y="1020"/>
                    <a:pt x="665" y="1024"/>
                    <a:pt x="667" y="1021"/>
                  </a:cubicBezTo>
                  <a:cubicBezTo>
                    <a:pt x="665" y="1020"/>
                    <a:pt x="662" y="1020"/>
                    <a:pt x="662" y="1018"/>
                  </a:cubicBezTo>
                  <a:cubicBezTo>
                    <a:pt x="662" y="1015"/>
                    <a:pt x="662" y="1011"/>
                    <a:pt x="665" y="1012"/>
                  </a:cubicBezTo>
                  <a:cubicBezTo>
                    <a:pt x="667" y="1012"/>
                    <a:pt x="668" y="1017"/>
                    <a:pt x="666" y="1017"/>
                  </a:cubicBezTo>
                  <a:cubicBezTo>
                    <a:pt x="668" y="1018"/>
                    <a:pt x="669" y="1014"/>
                    <a:pt x="670" y="1017"/>
                  </a:cubicBezTo>
                  <a:cubicBezTo>
                    <a:pt x="670" y="1012"/>
                    <a:pt x="667" y="1011"/>
                    <a:pt x="663" y="1009"/>
                  </a:cubicBezTo>
                  <a:cubicBezTo>
                    <a:pt x="660" y="1011"/>
                    <a:pt x="657" y="1015"/>
                    <a:pt x="653" y="1012"/>
                  </a:cubicBezTo>
                  <a:cubicBezTo>
                    <a:pt x="653" y="1011"/>
                    <a:pt x="654" y="1008"/>
                    <a:pt x="652" y="1009"/>
                  </a:cubicBezTo>
                  <a:cubicBezTo>
                    <a:pt x="652" y="1009"/>
                    <a:pt x="652" y="1010"/>
                    <a:pt x="652" y="1011"/>
                  </a:cubicBezTo>
                  <a:cubicBezTo>
                    <a:pt x="651" y="1009"/>
                    <a:pt x="649" y="1008"/>
                    <a:pt x="648" y="1007"/>
                  </a:cubicBezTo>
                  <a:cubicBezTo>
                    <a:pt x="653" y="1007"/>
                    <a:pt x="657" y="1009"/>
                    <a:pt x="661" y="1005"/>
                  </a:cubicBezTo>
                  <a:cubicBezTo>
                    <a:pt x="663" y="1006"/>
                    <a:pt x="664" y="1008"/>
                    <a:pt x="667" y="1008"/>
                  </a:cubicBezTo>
                  <a:cubicBezTo>
                    <a:pt x="667" y="1005"/>
                    <a:pt x="669" y="1007"/>
                    <a:pt x="671" y="1005"/>
                  </a:cubicBezTo>
                  <a:cubicBezTo>
                    <a:pt x="670" y="1001"/>
                    <a:pt x="665" y="1002"/>
                    <a:pt x="663" y="999"/>
                  </a:cubicBezTo>
                  <a:cubicBezTo>
                    <a:pt x="665" y="999"/>
                    <a:pt x="675" y="997"/>
                    <a:pt x="676" y="1002"/>
                  </a:cubicBezTo>
                  <a:cubicBezTo>
                    <a:pt x="677" y="1004"/>
                    <a:pt x="673" y="1002"/>
                    <a:pt x="673" y="1005"/>
                  </a:cubicBezTo>
                  <a:cubicBezTo>
                    <a:pt x="681" y="1012"/>
                    <a:pt x="693" y="1005"/>
                    <a:pt x="701" y="1012"/>
                  </a:cubicBezTo>
                  <a:cubicBezTo>
                    <a:pt x="695" y="1014"/>
                    <a:pt x="692" y="1011"/>
                    <a:pt x="687" y="1010"/>
                  </a:cubicBezTo>
                  <a:cubicBezTo>
                    <a:pt x="686" y="1011"/>
                    <a:pt x="686" y="1014"/>
                    <a:pt x="685" y="1015"/>
                  </a:cubicBezTo>
                  <a:cubicBezTo>
                    <a:pt x="680" y="1015"/>
                    <a:pt x="679" y="1006"/>
                    <a:pt x="673" y="1009"/>
                  </a:cubicBezTo>
                  <a:cubicBezTo>
                    <a:pt x="680" y="1010"/>
                    <a:pt x="676" y="1019"/>
                    <a:pt x="683" y="1020"/>
                  </a:cubicBezTo>
                  <a:cubicBezTo>
                    <a:pt x="685" y="1019"/>
                    <a:pt x="684" y="1015"/>
                    <a:pt x="687" y="1015"/>
                  </a:cubicBezTo>
                  <a:cubicBezTo>
                    <a:pt x="689" y="1015"/>
                    <a:pt x="689" y="1017"/>
                    <a:pt x="690" y="1017"/>
                  </a:cubicBezTo>
                  <a:cubicBezTo>
                    <a:pt x="690" y="1019"/>
                    <a:pt x="687" y="1018"/>
                    <a:pt x="688" y="1020"/>
                  </a:cubicBezTo>
                  <a:cubicBezTo>
                    <a:pt x="693" y="1016"/>
                    <a:pt x="696" y="1026"/>
                    <a:pt x="698" y="1020"/>
                  </a:cubicBezTo>
                  <a:cubicBezTo>
                    <a:pt x="696" y="1019"/>
                    <a:pt x="692" y="1019"/>
                    <a:pt x="691" y="1017"/>
                  </a:cubicBezTo>
                  <a:cubicBezTo>
                    <a:pt x="693" y="1015"/>
                    <a:pt x="696" y="1016"/>
                    <a:pt x="699" y="1014"/>
                  </a:cubicBezTo>
                  <a:cubicBezTo>
                    <a:pt x="701" y="1016"/>
                    <a:pt x="704" y="1017"/>
                    <a:pt x="705" y="1020"/>
                  </a:cubicBezTo>
                  <a:cubicBezTo>
                    <a:pt x="706" y="1017"/>
                    <a:pt x="703" y="1017"/>
                    <a:pt x="704" y="1015"/>
                  </a:cubicBezTo>
                  <a:cubicBezTo>
                    <a:pt x="710" y="1014"/>
                    <a:pt x="712" y="1020"/>
                    <a:pt x="717" y="1021"/>
                  </a:cubicBezTo>
                  <a:cubicBezTo>
                    <a:pt x="717" y="1015"/>
                    <a:pt x="707" y="1015"/>
                    <a:pt x="704" y="1011"/>
                  </a:cubicBezTo>
                  <a:cubicBezTo>
                    <a:pt x="705" y="1010"/>
                    <a:pt x="709" y="1011"/>
                    <a:pt x="709" y="1009"/>
                  </a:cubicBezTo>
                  <a:cubicBezTo>
                    <a:pt x="707" y="1008"/>
                    <a:pt x="702" y="1010"/>
                    <a:pt x="701" y="1007"/>
                  </a:cubicBezTo>
                  <a:cubicBezTo>
                    <a:pt x="704" y="1005"/>
                    <a:pt x="710" y="1006"/>
                    <a:pt x="712" y="1008"/>
                  </a:cubicBezTo>
                  <a:cubicBezTo>
                    <a:pt x="711" y="1010"/>
                    <a:pt x="711" y="1011"/>
                    <a:pt x="712" y="1013"/>
                  </a:cubicBezTo>
                  <a:cubicBezTo>
                    <a:pt x="714" y="1014"/>
                    <a:pt x="715" y="1011"/>
                    <a:pt x="719" y="1012"/>
                  </a:cubicBezTo>
                  <a:cubicBezTo>
                    <a:pt x="720" y="1015"/>
                    <a:pt x="724" y="1015"/>
                    <a:pt x="724" y="1019"/>
                  </a:cubicBezTo>
                  <a:cubicBezTo>
                    <a:pt x="729" y="1020"/>
                    <a:pt x="732" y="1016"/>
                    <a:pt x="736" y="1014"/>
                  </a:cubicBezTo>
                  <a:cubicBezTo>
                    <a:pt x="733" y="1013"/>
                    <a:pt x="732" y="1011"/>
                    <a:pt x="730" y="1009"/>
                  </a:cubicBezTo>
                  <a:cubicBezTo>
                    <a:pt x="730" y="1012"/>
                    <a:pt x="727" y="1010"/>
                    <a:pt x="726" y="1011"/>
                  </a:cubicBezTo>
                  <a:cubicBezTo>
                    <a:pt x="726" y="1012"/>
                    <a:pt x="727" y="1015"/>
                    <a:pt x="725" y="1015"/>
                  </a:cubicBezTo>
                  <a:cubicBezTo>
                    <a:pt x="722" y="1013"/>
                    <a:pt x="717" y="1012"/>
                    <a:pt x="713" y="1009"/>
                  </a:cubicBezTo>
                  <a:cubicBezTo>
                    <a:pt x="720" y="1003"/>
                    <a:pt x="732" y="1007"/>
                    <a:pt x="740" y="1007"/>
                  </a:cubicBezTo>
                  <a:cubicBezTo>
                    <a:pt x="740" y="1002"/>
                    <a:pt x="734" y="1004"/>
                    <a:pt x="734" y="1000"/>
                  </a:cubicBezTo>
                  <a:cubicBezTo>
                    <a:pt x="735" y="1000"/>
                    <a:pt x="734" y="997"/>
                    <a:pt x="736" y="997"/>
                  </a:cubicBezTo>
                  <a:cubicBezTo>
                    <a:pt x="740" y="996"/>
                    <a:pt x="739" y="1000"/>
                    <a:pt x="741" y="1000"/>
                  </a:cubicBezTo>
                  <a:cubicBezTo>
                    <a:pt x="741" y="1000"/>
                    <a:pt x="740" y="1004"/>
                    <a:pt x="741" y="1006"/>
                  </a:cubicBezTo>
                  <a:cubicBezTo>
                    <a:pt x="746" y="1006"/>
                    <a:pt x="751" y="1008"/>
                    <a:pt x="751" y="1012"/>
                  </a:cubicBezTo>
                  <a:cubicBezTo>
                    <a:pt x="753" y="1008"/>
                    <a:pt x="762" y="1007"/>
                    <a:pt x="764" y="1012"/>
                  </a:cubicBezTo>
                  <a:cubicBezTo>
                    <a:pt x="762" y="1015"/>
                    <a:pt x="756" y="1009"/>
                    <a:pt x="755" y="1013"/>
                  </a:cubicBezTo>
                  <a:cubicBezTo>
                    <a:pt x="759" y="1014"/>
                    <a:pt x="758" y="1016"/>
                    <a:pt x="759" y="1017"/>
                  </a:cubicBezTo>
                  <a:cubicBezTo>
                    <a:pt x="764" y="1017"/>
                    <a:pt x="765" y="1015"/>
                    <a:pt x="770" y="1015"/>
                  </a:cubicBezTo>
                  <a:cubicBezTo>
                    <a:pt x="772" y="1017"/>
                    <a:pt x="771" y="1019"/>
                    <a:pt x="771" y="1021"/>
                  </a:cubicBezTo>
                  <a:cubicBezTo>
                    <a:pt x="773" y="1022"/>
                    <a:pt x="771" y="1019"/>
                    <a:pt x="773" y="1019"/>
                  </a:cubicBezTo>
                  <a:cubicBezTo>
                    <a:pt x="777" y="1023"/>
                    <a:pt x="781" y="1022"/>
                    <a:pt x="785" y="1024"/>
                  </a:cubicBezTo>
                  <a:cubicBezTo>
                    <a:pt x="783" y="1019"/>
                    <a:pt x="781" y="1016"/>
                    <a:pt x="774" y="1017"/>
                  </a:cubicBezTo>
                  <a:cubicBezTo>
                    <a:pt x="773" y="1014"/>
                    <a:pt x="770" y="1012"/>
                    <a:pt x="768" y="1013"/>
                  </a:cubicBezTo>
                  <a:cubicBezTo>
                    <a:pt x="769" y="1010"/>
                    <a:pt x="764" y="1009"/>
                    <a:pt x="766" y="1008"/>
                  </a:cubicBezTo>
                  <a:cubicBezTo>
                    <a:pt x="769" y="1008"/>
                    <a:pt x="770" y="1010"/>
                    <a:pt x="772" y="1013"/>
                  </a:cubicBezTo>
                  <a:cubicBezTo>
                    <a:pt x="779" y="1013"/>
                    <a:pt x="787" y="1016"/>
                    <a:pt x="792" y="1020"/>
                  </a:cubicBezTo>
                  <a:cubicBezTo>
                    <a:pt x="793" y="1018"/>
                    <a:pt x="794" y="1015"/>
                    <a:pt x="793" y="1013"/>
                  </a:cubicBezTo>
                  <a:cubicBezTo>
                    <a:pt x="788" y="1016"/>
                    <a:pt x="784" y="1013"/>
                    <a:pt x="783" y="1008"/>
                  </a:cubicBezTo>
                  <a:cubicBezTo>
                    <a:pt x="786" y="1006"/>
                    <a:pt x="792" y="1008"/>
                    <a:pt x="790" y="1012"/>
                  </a:cubicBezTo>
                  <a:cubicBezTo>
                    <a:pt x="793" y="1008"/>
                    <a:pt x="797" y="1014"/>
                    <a:pt x="799" y="1009"/>
                  </a:cubicBezTo>
                  <a:cubicBezTo>
                    <a:pt x="797" y="1007"/>
                    <a:pt x="792" y="1008"/>
                    <a:pt x="792" y="1004"/>
                  </a:cubicBezTo>
                  <a:cubicBezTo>
                    <a:pt x="797" y="1005"/>
                    <a:pt x="802" y="1003"/>
                    <a:pt x="803" y="1007"/>
                  </a:cubicBezTo>
                  <a:cubicBezTo>
                    <a:pt x="803" y="1009"/>
                    <a:pt x="801" y="1008"/>
                    <a:pt x="802" y="1010"/>
                  </a:cubicBezTo>
                  <a:cubicBezTo>
                    <a:pt x="809" y="1009"/>
                    <a:pt x="812" y="1017"/>
                    <a:pt x="818" y="1019"/>
                  </a:cubicBezTo>
                  <a:cubicBezTo>
                    <a:pt x="818" y="1014"/>
                    <a:pt x="825" y="1017"/>
                    <a:pt x="825" y="1013"/>
                  </a:cubicBezTo>
                  <a:cubicBezTo>
                    <a:pt x="823" y="1013"/>
                    <a:pt x="821" y="1015"/>
                    <a:pt x="820" y="1013"/>
                  </a:cubicBezTo>
                  <a:cubicBezTo>
                    <a:pt x="820" y="1010"/>
                    <a:pt x="824" y="1011"/>
                    <a:pt x="825" y="1009"/>
                  </a:cubicBezTo>
                  <a:cubicBezTo>
                    <a:pt x="821" y="1008"/>
                    <a:pt x="815" y="1009"/>
                    <a:pt x="809" y="1011"/>
                  </a:cubicBezTo>
                  <a:cubicBezTo>
                    <a:pt x="810" y="1009"/>
                    <a:pt x="809" y="1009"/>
                    <a:pt x="809" y="1007"/>
                  </a:cubicBezTo>
                  <a:cubicBezTo>
                    <a:pt x="815" y="1006"/>
                    <a:pt x="824" y="1004"/>
                    <a:pt x="829" y="1008"/>
                  </a:cubicBezTo>
                  <a:cubicBezTo>
                    <a:pt x="829" y="1013"/>
                    <a:pt x="834" y="1012"/>
                    <a:pt x="835" y="1016"/>
                  </a:cubicBezTo>
                  <a:cubicBezTo>
                    <a:pt x="834" y="1017"/>
                    <a:pt x="828" y="1016"/>
                    <a:pt x="831" y="1019"/>
                  </a:cubicBezTo>
                  <a:cubicBezTo>
                    <a:pt x="834" y="1021"/>
                    <a:pt x="834" y="1014"/>
                    <a:pt x="837" y="1018"/>
                  </a:cubicBezTo>
                  <a:cubicBezTo>
                    <a:pt x="838" y="1016"/>
                    <a:pt x="842" y="1016"/>
                    <a:pt x="840" y="1013"/>
                  </a:cubicBezTo>
                  <a:cubicBezTo>
                    <a:pt x="837" y="1013"/>
                    <a:pt x="838" y="1016"/>
                    <a:pt x="835" y="1014"/>
                  </a:cubicBezTo>
                  <a:cubicBezTo>
                    <a:pt x="838" y="1011"/>
                    <a:pt x="836" y="1011"/>
                    <a:pt x="835" y="1006"/>
                  </a:cubicBezTo>
                  <a:cubicBezTo>
                    <a:pt x="840" y="1010"/>
                    <a:pt x="845" y="1005"/>
                    <a:pt x="850" y="1006"/>
                  </a:cubicBezTo>
                  <a:cubicBezTo>
                    <a:pt x="852" y="1009"/>
                    <a:pt x="857" y="1013"/>
                    <a:pt x="862" y="1011"/>
                  </a:cubicBezTo>
                  <a:cubicBezTo>
                    <a:pt x="860" y="1008"/>
                    <a:pt x="855" y="1010"/>
                    <a:pt x="855" y="1006"/>
                  </a:cubicBezTo>
                  <a:cubicBezTo>
                    <a:pt x="862" y="1010"/>
                    <a:pt x="869" y="1007"/>
                    <a:pt x="877" y="1006"/>
                  </a:cubicBezTo>
                  <a:cubicBezTo>
                    <a:pt x="879" y="1006"/>
                    <a:pt x="877" y="1009"/>
                    <a:pt x="879" y="1009"/>
                  </a:cubicBezTo>
                  <a:cubicBezTo>
                    <a:pt x="881" y="1007"/>
                    <a:pt x="882" y="1005"/>
                    <a:pt x="884" y="1004"/>
                  </a:cubicBezTo>
                  <a:cubicBezTo>
                    <a:pt x="892" y="1007"/>
                    <a:pt x="897" y="1004"/>
                    <a:pt x="906" y="1007"/>
                  </a:cubicBezTo>
                  <a:cubicBezTo>
                    <a:pt x="906" y="1003"/>
                    <a:pt x="907" y="1000"/>
                    <a:pt x="910" y="999"/>
                  </a:cubicBezTo>
                  <a:cubicBezTo>
                    <a:pt x="911" y="999"/>
                    <a:pt x="912" y="999"/>
                    <a:pt x="913" y="1000"/>
                  </a:cubicBezTo>
                  <a:cubicBezTo>
                    <a:pt x="912" y="1003"/>
                    <a:pt x="911" y="1004"/>
                    <a:pt x="913" y="1006"/>
                  </a:cubicBezTo>
                  <a:cubicBezTo>
                    <a:pt x="917" y="1005"/>
                    <a:pt x="928" y="1008"/>
                    <a:pt x="930" y="1002"/>
                  </a:cubicBezTo>
                  <a:cubicBezTo>
                    <a:pt x="926" y="999"/>
                    <a:pt x="926" y="994"/>
                    <a:pt x="918" y="995"/>
                  </a:cubicBezTo>
                  <a:cubicBezTo>
                    <a:pt x="916" y="995"/>
                    <a:pt x="918" y="998"/>
                    <a:pt x="915" y="998"/>
                  </a:cubicBezTo>
                  <a:cubicBezTo>
                    <a:pt x="912" y="999"/>
                    <a:pt x="913" y="994"/>
                    <a:pt x="911" y="995"/>
                  </a:cubicBezTo>
                  <a:cubicBezTo>
                    <a:pt x="907" y="998"/>
                    <a:pt x="903" y="998"/>
                    <a:pt x="899" y="996"/>
                  </a:cubicBezTo>
                  <a:cubicBezTo>
                    <a:pt x="898" y="998"/>
                    <a:pt x="896" y="996"/>
                    <a:pt x="892" y="997"/>
                  </a:cubicBezTo>
                  <a:cubicBezTo>
                    <a:pt x="891" y="1000"/>
                    <a:pt x="895" y="1000"/>
                    <a:pt x="893" y="1000"/>
                  </a:cubicBezTo>
                  <a:cubicBezTo>
                    <a:pt x="892" y="1000"/>
                    <a:pt x="891" y="1000"/>
                    <a:pt x="889" y="1000"/>
                  </a:cubicBezTo>
                  <a:cubicBezTo>
                    <a:pt x="890" y="999"/>
                    <a:pt x="889" y="998"/>
                    <a:pt x="889" y="997"/>
                  </a:cubicBezTo>
                  <a:cubicBezTo>
                    <a:pt x="877" y="995"/>
                    <a:pt x="861" y="995"/>
                    <a:pt x="846" y="996"/>
                  </a:cubicBezTo>
                  <a:cubicBezTo>
                    <a:pt x="843" y="988"/>
                    <a:pt x="837" y="982"/>
                    <a:pt x="831" y="977"/>
                  </a:cubicBezTo>
                  <a:cubicBezTo>
                    <a:pt x="826" y="984"/>
                    <a:pt x="820" y="988"/>
                    <a:pt x="817" y="996"/>
                  </a:cubicBezTo>
                  <a:cubicBezTo>
                    <a:pt x="821" y="997"/>
                    <a:pt x="822" y="999"/>
                    <a:pt x="824" y="999"/>
                  </a:cubicBezTo>
                  <a:cubicBezTo>
                    <a:pt x="822" y="1003"/>
                    <a:pt x="815" y="999"/>
                    <a:pt x="814" y="1003"/>
                  </a:cubicBezTo>
                  <a:cubicBezTo>
                    <a:pt x="814" y="1001"/>
                    <a:pt x="812" y="1002"/>
                    <a:pt x="812" y="1000"/>
                  </a:cubicBezTo>
                  <a:cubicBezTo>
                    <a:pt x="813" y="1000"/>
                    <a:pt x="815" y="999"/>
                    <a:pt x="816" y="998"/>
                  </a:cubicBezTo>
                  <a:cubicBezTo>
                    <a:pt x="811" y="995"/>
                    <a:pt x="797" y="995"/>
                    <a:pt x="793" y="998"/>
                  </a:cubicBezTo>
                  <a:cubicBezTo>
                    <a:pt x="794" y="1000"/>
                    <a:pt x="797" y="998"/>
                    <a:pt x="797" y="1000"/>
                  </a:cubicBezTo>
                  <a:cubicBezTo>
                    <a:pt x="795" y="1004"/>
                    <a:pt x="788" y="998"/>
                    <a:pt x="789" y="996"/>
                  </a:cubicBezTo>
                  <a:cubicBezTo>
                    <a:pt x="777" y="998"/>
                    <a:pt x="759" y="994"/>
                    <a:pt x="748" y="996"/>
                  </a:cubicBezTo>
                  <a:cubicBezTo>
                    <a:pt x="751" y="997"/>
                    <a:pt x="754" y="999"/>
                    <a:pt x="757" y="1000"/>
                  </a:cubicBezTo>
                  <a:cubicBezTo>
                    <a:pt x="753" y="1000"/>
                    <a:pt x="750" y="1001"/>
                    <a:pt x="748" y="1003"/>
                  </a:cubicBezTo>
                  <a:cubicBezTo>
                    <a:pt x="748" y="1002"/>
                    <a:pt x="746" y="1003"/>
                    <a:pt x="746" y="1002"/>
                  </a:cubicBezTo>
                  <a:cubicBezTo>
                    <a:pt x="744" y="1000"/>
                    <a:pt x="748" y="1001"/>
                    <a:pt x="747" y="998"/>
                  </a:cubicBezTo>
                  <a:cubicBezTo>
                    <a:pt x="744" y="995"/>
                    <a:pt x="737" y="995"/>
                    <a:pt x="730" y="996"/>
                  </a:cubicBezTo>
                  <a:cubicBezTo>
                    <a:pt x="729" y="1000"/>
                    <a:pt x="733" y="998"/>
                    <a:pt x="733" y="1000"/>
                  </a:cubicBezTo>
                  <a:cubicBezTo>
                    <a:pt x="730" y="1001"/>
                    <a:pt x="730" y="1003"/>
                    <a:pt x="727" y="1002"/>
                  </a:cubicBezTo>
                  <a:cubicBezTo>
                    <a:pt x="726" y="1000"/>
                    <a:pt x="726" y="998"/>
                    <a:pt x="725" y="996"/>
                  </a:cubicBezTo>
                  <a:cubicBezTo>
                    <a:pt x="722" y="995"/>
                    <a:pt x="718" y="996"/>
                    <a:pt x="719" y="991"/>
                  </a:cubicBezTo>
                  <a:cubicBezTo>
                    <a:pt x="720" y="989"/>
                    <a:pt x="722" y="993"/>
                    <a:pt x="722" y="990"/>
                  </a:cubicBezTo>
                  <a:cubicBezTo>
                    <a:pt x="726" y="962"/>
                    <a:pt x="731" y="936"/>
                    <a:pt x="736" y="909"/>
                  </a:cubicBezTo>
                  <a:cubicBezTo>
                    <a:pt x="746" y="854"/>
                    <a:pt x="756" y="797"/>
                    <a:pt x="764" y="742"/>
                  </a:cubicBezTo>
                  <a:cubicBezTo>
                    <a:pt x="768" y="719"/>
                    <a:pt x="775" y="696"/>
                    <a:pt x="775" y="674"/>
                  </a:cubicBezTo>
                  <a:cubicBezTo>
                    <a:pt x="775" y="666"/>
                    <a:pt x="777" y="662"/>
                    <a:pt x="778" y="656"/>
                  </a:cubicBezTo>
                  <a:cubicBezTo>
                    <a:pt x="781" y="636"/>
                    <a:pt x="782" y="618"/>
                    <a:pt x="785" y="599"/>
                  </a:cubicBezTo>
                  <a:cubicBezTo>
                    <a:pt x="770" y="583"/>
                    <a:pt x="755" y="568"/>
                    <a:pt x="740" y="552"/>
                  </a:cubicBezTo>
                  <a:cubicBezTo>
                    <a:pt x="745" y="552"/>
                    <a:pt x="747" y="555"/>
                    <a:pt x="747" y="559"/>
                  </a:cubicBezTo>
                  <a:cubicBezTo>
                    <a:pt x="762" y="570"/>
                    <a:pt x="771" y="585"/>
                    <a:pt x="785" y="596"/>
                  </a:cubicBezTo>
                  <a:cubicBezTo>
                    <a:pt x="788" y="582"/>
                    <a:pt x="789" y="565"/>
                    <a:pt x="792" y="550"/>
                  </a:cubicBezTo>
                  <a:cubicBezTo>
                    <a:pt x="775" y="549"/>
                    <a:pt x="753" y="548"/>
                    <a:pt x="738" y="551"/>
                  </a:cubicBezTo>
                  <a:cubicBezTo>
                    <a:pt x="732" y="548"/>
                    <a:pt x="724" y="550"/>
                    <a:pt x="719" y="551"/>
                  </a:cubicBezTo>
                  <a:cubicBezTo>
                    <a:pt x="724" y="565"/>
                    <a:pt x="717" y="586"/>
                    <a:pt x="723" y="601"/>
                  </a:cubicBezTo>
                  <a:cubicBezTo>
                    <a:pt x="721" y="601"/>
                    <a:pt x="721" y="603"/>
                    <a:pt x="721" y="605"/>
                  </a:cubicBezTo>
                  <a:cubicBezTo>
                    <a:pt x="722" y="606"/>
                    <a:pt x="724" y="607"/>
                    <a:pt x="723" y="611"/>
                  </a:cubicBezTo>
                  <a:cubicBezTo>
                    <a:pt x="722" y="613"/>
                    <a:pt x="720" y="607"/>
                    <a:pt x="719" y="612"/>
                  </a:cubicBezTo>
                  <a:cubicBezTo>
                    <a:pt x="721" y="616"/>
                    <a:pt x="729" y="622"/>
                    <a:pt x="732" y="627"/>
                  </a:cubicBezTo>
                  <a:cubicBezTo>
                    <a:pt x="731" y="627"/>
                    <a:pt x="730" y="626"/>
                    <a:pt x="727" y="627"/>
                  </a:cubicBezTo>
                  <a:cubicBezTo>
                    <a:pt x="724" y="623"/>
                    <a:pt x="721" y="619"/>
                    <a:pt x="717" y="616"/>
                  </a:cubicBezTo>
                  <a:cubicBezTo>
                    <a:pt x="714" y="618"/>
                    <a:pt x="713" y="618"/>
                    <a:pt x="712" y="614"/>
                  </a:cubicBezTo>
                  <a:cubicBezTo>
                    <a:pt x="715" y="613"/>
                    <a:pt x="717" y="617"/>
                    <a:pt x="717" y="614"/>
                  </a:cubicBezTo>
                  <a:cubicBezTo>
                    <a:pt x="717" y="611"/>
                    <a:pt x="713" y="612"/>
                    <a:pt x="714" y="608"/>
                  </a:cubicBezTo>
                  <a:cubicBezTo>
                    <a:pt x="720" y="592"/>
                    <a:pt x="715" y="570"/>
                    <a:pt x="717" y="551"/>
                  </a:cubicBezTo>
                  <a:cubicBezTo>
                    <a:pt x="717" y="549"/>
                    <a:pt x="714" y="551"/>
                    <a:pt x="714" y="548"/>
                  </a:cubicBezTo>
                  <a:cubicBezTo>
                    <a:pt x="719" y="544"/>
                    <a:pt x="728" y="545"/>
                    <a:pt x="730" y="540"/>
                  </a:cubicBezTo>
                  <a:cubicBezTo>
                    <a:pt x="746" y="536"/>
                    <a:pt x="759" y="529"/>
                    <a:pt x="773" y="523"/>
                  </a:cubicBezTo>
                  <a:cubicBezTo>
                    <a:pt x="773" y="521"/>
                    <a:pt x="767" y="520"/>
                    <a:pt x="768" y="519"/>
                  </a:cubicBezTo>
                  <a:cubicBezTo>
                    <a:pt x="773" y="518"/>
                    <a:pt x="774" y="524"/>
                    <a:pt x="778" y="521"/>
                  </a:cubicBezTo>
                  <a:cubicBezTo>
                    <a:pt x="779" y="519"/>
                    <a:pt x="775" y="520"/>
                    <a:pt x="776" y="518"/>
                  </a:cubicBezTo>
                  <a:cubicBezTo>
                    <a:pt x="778" y="519"/>
                    <a:pt x="781" y="521"/>
                    <a:pt x="783" y="519"/>
                  </a:cubicBezTo>
                  <a:cubicBezTo>
                    <a:pt x="785" y="519"/>
                    <a:pt x="781" y="517"/>
                    <a:pt x="783" y="517"/>
                  </a:cubicBezTo>
                  <a:cubicBezTo>
                    <a:pt x="787" y="519"/>
                    <a:pt x="789" y="516"/>
                    <a:pt x="794" y="515"/>
                  </a:cubicBezTo>
                  <a:cubicBezTo>
                    <a:pt x="796" y="504"/>
                    <a:pt x="796" y="489"/>
                    <a:pt x="797" y="475"/>
                  </a:cubicBezTo>
                  <a:cubicBezTo>
                    <a:pt x="798" y="469"/>
                    <a:pt x="800" y="454"/>
                    <a:pt x="799" y="450"/>
                  </a:cubicBezTo>
                  <a:cubicBezTo>
                    <a:pt x="798" y="443"/>
                    <a:pt x="790" y="440"/>
                    <a:pt x="788" y="435"/>
                  </a:cubicBezTo>
                  <a:cubicBezTo>
                    <a:pt x="756" y="436"/>
                    <a:pt x="725" y="437"/>
                    <a:pt x="696" y="439"/>
                  </a:cubicBezTo>
                  <a:cubicBezTo>
                    <a:pt x="700" y="447"/>
                    <a:pt x="694" y="459"/>
                    <a:pt x="699" y="465"/>
                  </a:cubicBezTo>
                  <a:cubicBezTo>
                    <a:pt x="706" y="468"/>
                    <a:pt x="712" y="471"/>
                    <a:pt x="717" y="476"/>
                  </a:cubicBezTo>
                  <a:cubicBezTo>
                    <a:pt x="737" y="487"/>
                    <a:pt x="756" y="499"/>
                    <a:pt x="775" y="512"/>
                  </a:cubicBezTo>
                  <a:cubicBezTo>
                    <a:pt x="777" y="511"/>
                    <a:pt x="780" y="514"/>
                    <a:pt x="779" y="515"/>
                  </a:cubicBezTo>
                  <a:cubicBezTo>
                    <a:pt x="772" y="512"/>
                    <a:pt x="767" y="507"/>
                    <a:pt x="759" y="504"/>
                  </a:cubicBezTo>
                  <a:cubicBezTo>
                    <a:pt x="756" y="499"/>
                    <a:pt x="749" y="499"/>
                    <a:pt x="746" y="494"/>
                  </a:cubicBezTo>
                  <a:cubicBezTo>
                    <a:pt x="733" y="490"/>
                    <a:pt x="726" y="481"/>
                    <a:pt x="714" y="476"/>
                  </a:cubicBezTo>
                  <a:cubicBezTo>
                    <a:pt x="709" y="472"/>
                    <a:pt x="703" y="467"/>
                    <a:pt x="697" y="466"/>
                  </a:cubicBezTo>
                  <a:cubicBezTo>
                    <a:pt x="695" y="472"/>
                    <a:pt x="706" y="472"/>
                    <a:pt x="706" y="476"/>
                  </a:cubicBezTo>
                  <a:cubicBezTo>
                    <a:pt x="702" y="476"/>
                    <a:pt x="701" y="473"/>
                    <a:pt x="698" y="472"/>
                  </a:cubicBezTo>
                  <a:cubicBezTo>
                    <a:pt x="698" y="475"/>
                    <a:pt x="697" y="480"/>
                    <a:pt x="697" y="486"/>
                  </a:cubicBezTo>
                  <a:cubicBezTo>
                    <a:pt x="699" y="488"/>
                    <a:pt x="701" y="488"/>
                    <a:pt x="702" y="491"/>
                  </a:cubicBezTo>
                  <a:cubicBezTo>
                    <a:pt x="700" y="493"/>
                    <a:pt x="698" y="498"/>
                    <a:pt x="701" y="501"/>
                  </a:cubicBezTo>
                  <a:cubicBezTo>
                    <a:pt x="699" y="500"/>
                    <a:pt x="697" y="497"/>
                    <a:pt x="695" y="499"/>
                  </a:cubicBezTo>
                  <a:cubicBezTo>
                    <a:pt x="703" y="513"/>
                    <a:pt x="719" y="525"/>
                    <a:pt x="730" y="540"/>
                  </a:cubicBezTo>
                  <a:cubicBezTo>
                    <a:pt x="719" y="531"/>
                    <a:pt x="711" y="519"/>
                    <a:pt x="699" y="511"/>
                  </a:cubicBezTo>
                  <a:cubicBezTo>
                    <a:pt x="699" y="510"/>
                    <a:pt x="698" y="509"/>
                    <a:pt x="698" y="507"/>
                  </a:cubicBezTo>
                  <a:cubicBezTo>
                    <a:pt x="696" y="503"/>
                    <a:pt x="690" y="506"/>
                    <a:pt x="689" y="502"/>
                  </a:cubicBezTo>
                  <a:cubicBezTo>
                    <a:pt x="691" y="500"/>
                    <a:pt x="693" y="505"/>
                    <a:pt x="693" y="502"/>
                  </a:cubicBezTo>
                  <a:cubicBezTo>
                    <a:pt x="690" y="497"/>
                    <a:pt x="691" y="494"/>
                    <a:pt x="693" y="490"/>
                  </a:cubicBezTo>
                  <a:cubicBezTo>
                    <a:pt x="692" y="482"/>
                    <a:pt x="695" y="471"/>
                    <a:pt x="691" y="467"/>
                  </a:cubicBezTo>
                  <a:cubicBezTo>
                    <a:pt x="692" y="467"/>
                    <a:pt x="694" y="467"/>
                    <a:pt x="693" y="464"/>
                  </a:cubicBezTo>
                  <a:cubicBezTo>
                    <a:pt x="685" y="454"/>
                    <a:pt x="671" y="451"/>
                    <a:pt x="663" y="441"/>
                  </a:cubicBezTo>
                  <a:cubicBezTo>
                    <a:pt x="642" y="431"/>
                    <a:pt x="626" y="416"/>
                    <a:pt x="605" y="406"/>
                  </a:cubicBezTo>
                  <a:cubicBezTo>
                    <a:pt x="605" y="407"/>
                    <a:pt x="604" y="408"/>
                    <a:pt x="603" y="408"/>
                  </a:cubicBezTo>
                  <a:cubicBezTo>
                    <a:pt x="627" y="428"/>
                    <a:pt x="653" y="440"/>
                    <a:pt x="678" y="458"/>
                  </a:cubicBezTo>
                  <a:cubicBezTo>
                    <a:pt x="652" y="445"/>
                    <a:pt x="628" y="426"/>
                    <a:pt x="601" y="411"/>
                  </a:cubicBezTo>
                  <a:cubicBezTo>
                    <a:pt x="610" y="423"/>
                    <a:pt x="626" y="427"/>
                    <a:pt x="637" y="437"/>
                  </a:cubicBezTo>
                  <a:cubicBezTo>
                    <a:pt x="638" y="437"/>
                    <a:pt x="639" y="437"/>
                    <a:pt x="640" y="437"/>
                  </a:cubicBezTo>
                  <a:cubicBezTo>
                    <a:pt x="644" y="444"/>
                    <a:pt x="657" y="447"/>
                    <a:pt x="660" y="452"/>
                  </a:cubicBezTo>
                  <a:cubicBezTo>
                    <a:pt x="637" y="439"/>
                    <a:pt x="614" y="425"/>
                    <a:pt x="594" y="410"/>
                  </a:cubicBezTo>
                  <a:cubicBezTo>
                    <a:pt x="595" y="409"/>
                    <a:pt x="593" y="408"/>
                    <a:pt x="594" y="406"/>
                  </a:cubicBezTo>
                  <a:cubicBezTo>
                    <a:pt x="564" y="385"/>
                    <a:pt x="533" y="367"/>
                    <a:pt x="505" y="346"/>
                  </a:cubicBezTo>
                  <a:cubicBezTo>
                    <a:pt x="476" y="330"/>
                    <a:pt x="452" y="309"/>
                    <a:pt x="423" y="292"/>
                  </a:cubicBezTo>
                  <a:cubicBezTo>
                    <a:pt x="415" y="286"/>
                    <a:pt x="407" y="280"/>
                    <a:pt x="397" y="275"/>
                  </a:cubicBezTo>
                  <a:cubicBezTo>
                    <a:pt x="396" y="271"/>
                    <a:pt x="393" y="270"/>
                    <a:pt x="389" y="269"/>
                  </a:cubicBezTo>
                  <a:cubicBezTo>
                    <a:pt x="315" y="216"/>
                    <a:pt x="240" y="164"/>
                    <a:pt x="166" y="113"/>
                  </a:cubicBezTo>
                  <a:cubicBezTo>
                    <a:pt x="144" y="96"/>
                    <a:pt x="121" y="80"/>
                    <a:pt x="99" y="64"/>
                  </a:cubicBezTo>
                  <a:cubicBezTo>
                    <a:pt x="91" y="59"/>
                    <a:pt x="84" y="52"/>
                    <a:pt x="75" y="49"/>
                  </a:cubicBezTo>
                  <a:cubicBezTo>
                    <a:pt x="128" y="90"/>
                    <a:pt x="184" y="128"/>
                    <a:pt x="240" y="166"/>
                  </a:cubicBezTo>
                  <a:cubicBezTo>
                    <a:pt x="309" y="217"/>
                    <a:pt x="382" y="264"/>
                    <a:pt x="451" y="314"/>
                  </a:cubicBezTo>
                  <a:cubicBezTo>
                    <a:pt x="471" y="325"/>
                    <a:pt x="487" y="339"/>
                    <a:pt x="507" y="350"/>
                  </a:cubicBezTo>
                  <a:cubicBezTo>
                    <a:pt x="513" y="356"/>
                    <a:pt x="520" y="360"/>
                    <a:pt x="528" y="364"/>
                  </a:cubicBezTo>
                  <a:cubicBezTo>
                    <a:pt x="528" y="366"/>
                    <a:pt x="530" y="366"/>
                    <a:pt x="531" y="368"/>
                  </a:cubicBezTo>
                  <a:cubicBezTo>
                    <a:pt x="540" y="373"/>
                    <a:pt x="549" y="379"/>
                    <a:pt x="557" y="385"/>
                  </a:cubicBezTo>
                  <a:cubicBezTo>
                    <a:pt x="569" y="391"/>
                    <a:pt x="579" y="398"/>
                    <a:pt x="588" y="406"/>
                  </a:cubicBezTo>
                  <a:cubicBezTo>
                    <a:pt x="591" y="405"/>
                    <a:pt x="594" y="408"/>
                    <a:pt x="592" y="409"/>
                  </a:cubicBezTo>
                  <a:cubicBezTo>
                    <a:pt x="490" y="344"/>
                    <a:pt x="392" y="275"/>
                    <a:pt x="292" y="208"/>
                  </a:cubicBezTo>
                  <a:cubicBezTo>
                    <a:pt x="220" y="156"/>
                    <a:pt x="146" y="106"/>
                    <a:pt x="75" y="54"/>
                  </a:cubicBezTo>
                  <a:cubicBezTo>
                    <a:pt x="73" y="54"/>
                    <a:pt x="71" y="53"/>
                    <a:pt x="69" y="53"/>
                  </a:cubicBezTo>
                  <a:cubicBezTo>
                    <a:pt x="69" y="51"/>
                    <a:pt x="68" y="51"/>
                    <a:pt x="68" y="49"/>
                  </a:cubicBezTo>
                  <a:cubicBezTo>
                    <a:pt x="60" y="44"/>
                    <a:pt x="52" y="39"/>
                    <a:pt x="45" y="34"/>
                  </a:cubicBezTo>
                  <a:cubicBezTo>
                    <a:pt x="38" y="30"/>
                    <a:pt x="32" y="23"/>
                    <a:pt x="25" y="18"/>
                  </a:cubicBezTo>
                  <a:cubicBezTo>
                    <a:pt x="17" y="13"/>
                    <a:pt x="5" y="7"/>
                    <a:pt x="0" y="0"/>
                  </a:cubicBezTo>
                  <a:close/>
                  <a:moveTo>
                    <a:pt x="918" y="593"/>
                  </a:moveTo>
                  <a:cubicBezTo>
                    <a:pt x="918" y="595"/>
                    <a:pt x="920" y="595"/>
                    <a:pt x="921" y="596"/>
                  </a:cubicBezTo>
                  <a:cubicBezTo>
                    <a:pt x="921" y="595"/>
                    <a:pt x="922" y="595"/>
                    <a:pt x="922" y="593"/>
                  </a:cubicBezTo>
                  <a:cubicBezTo>
                    <a:pt x="920" y="593"/>
                    <a:pt x="919" y="593"/>
                    <a:pt x="918" y="593"/>
                  </a:cubicBezTo>
                  <a:close/>
                  <a:moveTo>
                    <a:pt x="721" y="1021"/>
                  </a:moveTo>
                  <a:cubicBezTo>
                    <a:pt x="723" y="1021"/>
                    <a:pt x="724" y="1022"/>
                    <a:pt x="726" y="1022"/>
                  </a:cubicBezTo>
                  <a:cubicBezTo>
                    <a:pt x="726" y="1019"/>
                    <a:pt x="722" y="1019"/>
                    <a:pt x="721" y="1021"/>
                  </a:cubicBezTo>
                  <a:close/>
                  <a:moveTo>
                    <a:pt x="587" y="393"/>
                  </a:moveTo>
                  <a:cubicBezTo>
                    <a:pt x="548" y="366"/>
                    <a:pt x="510" y="340"/>
                    <a:pt x="471" y="314"/>
                  </a:cubicBezTo>
                  <a:cubicBezTo>
                    <a:pt x="362" y="238"/>
                    <a:pt x="252" y="160"/>
                    <a:pt x="145" y="83"/>
                  </a:cubicBezTo>
                  <a:cubicBezTo>
                    <a:pt x="124" y="67"/>
                    <a:pt x="103" y="50"/>
                    <a:pt x="80" y="36"/>
                  </a:cubicBezTo>
                  <a:cubicBezTo>
                    <a:pt x="80" y="36"/>
                    <a:pt x="79" y="36"/>
                    <a:pt x="79" y="36"/>
                  </a:cubicBezTo>
                  <a:cubicBezTo>
                    <a:pt x="80" y="40"/>
                    <a:pt x="78" y="42"/>
                    <a:pt x="78" y="45"/>
                  </a:cubicBezTo>
                  <a:cubicBezTo>
                    <a:pt x="229" y="153"/>
                    <a:pt x="380" y="261"/>
                    <a:pt x="535" y="364"/>
                  </a:cubicBezTo>
                  <a:cubicBezTo>
                    <a:pt x="553" y="376"/>
                    <a:pt x="573" y="392"/>
                    <a:pt x="593" y="402"/>
                  </a:cubicBezTo>
                  <a:cubicBezTo>
                    <a:pt x="595" y="403"/>
                    <a:pt x="599" y="408"/>
                    <a:pt x="602" y="404"/>
                  </a:cubicBezTo>
                  <a:cubicBezTo>
                    <a:pt x="598" y="399"/>
                    <a:pt x="592" y="396"/>
                    <a:pt x="587" y="393"/>
                  </a:cubicBezTo>
                  <a:close/>
                  <a:moveTo>
                    <a:pt x="75" y="42"/>
                  </a:moveTo>
                  <a:cubicBezTo>
                    <a:pt x="75" y="39"/>
                    <a:pt x="74" y="38"/>
                    <a:pt x="70" y="38"/>
                  </a:cubicBezTo>
                  <a:cubicBezTo>
                    <a:pt x="70" y="41"/>
                    <a:pt x="72" y="42"/>
                    <a:pt x="75" y="42"/>
                  </a:cubicBezTo>
                  <a:close/>
                  <a:moveTo>
                    <a:pt x="825" y="236"/>
                  </a:moveTo>
                  <a:cubicBezTo>
                    <a:pt x="825" y="235"/>
                    <a:pt x="826" y="232"/>
                    <a:pt x="824" y="232"/>
                  </a:cubicBezTo>
                  <a:cubicBezTo>
                    <a:pt x="823" y="232"/>
                    <a:pt x="823" y="237"/>
                    <a:pt x="825" y="236"/>
                  </a:cubicBezTo>
                  <a:close/>
                  <a:moveTo>
                    <a:pt x="819" y="257"/>
                  </a:moveTo>
                  <a:cubicBezTo>
                    <a:pt x="825" y="255"/>
                    <a:pt x="823" y="262"/>
                    <a:pt x="827" y="262"/>
                  </a:cubicBezTo>
                  <a:cubicBezTo>
                    <a:pt x="829" y="253"/>
                    <a:pt x="826" y="247"/>
                    <a:pt x="820" y="243"/>
                  </a:cubicBezTo>
                  <a:cubicBezTo>
                    <a:pt x="820" y="240"/>
                    <a:pt x="821" y="235"/>
                    <a:pt x="819" y="234"/>
                  </a:cubicBezTo>
                  <a:cubicBezTo>
                    <a:pt x="818" y="243"/>
                    <a:pt x="819" y="250"/>
                    <a:pt x="819" y="257"/>
                  </a:cubicBezTo>
                  <a:close/>
                  <a:moveTo>
                    <a:pt x="817" y="271"/>
                  </a:moveTo>
                  <a:cubicBezTo>
                    <a:pt x="818" y="271"/>
                    <a:pt x="818" y="270"/>
                    <a:pt x="820" y="270"/>
                  </a:cubicBezTo>
                  <a:cubicBezTo>
                    <a:pt x="820" y="268"/>
                    <a:pt x="820" y="267"/>
                    <a:pt x="819" y="266"/>
                  </a:cubicBezTo>
                  <a:cubicBezTo>
                    <a:pt x="818" y="266"/>
                    <a:pt x="818" y="266"/>
                    <a:pt x="817" y="266"/>
                  </a:cubicBezTo>
                  <a:cubicBezTo>
                    <a:pt x="817" y="268"/>
                    <a:pt x="817" y="269"/>
                    <a:pt x="817" y="271"/>
                  </a:cubicBezTo>
                  <a:close/>
                  <a:moveTo>
                    <a:pt x="827" y="270"/>
                  </a:moveTo>
                  <a:cubicBezTo>
                    <a:pt x="827" y="268"/>
                    <a:pt x="826" y="267"/>
                    <a:pt x="824" y="267"/>
                  </a:cubicBezTo>
                  <a:cubicBezTo>
                    <a:pt x="824" y="269"/>
                    <a:pt x="826" y="269"/>
                    <a:pt x="827" y="270"/>
                  </a:cubicBezTo>
                  <a:close/>
                  <a:moveTo>
                    <a:pt x="790" y="282"/>
                  </a:moveTo>
                  <a:cubicBezTo>
                    <a:pt x="797" y="281"/>
                    <a:pt x="805" y="280"/>
                    <a:pt x="809" y="275"/>
                  </a:cubicBezTo>
                  <a:cubicBezTo>
                    <a:pt x="801" y="276"/>
                    <a:pt x="795" y="279"/>
                    <a:pt x="790" y="282"/>
                  </a:cubicBezTo>
                  <a:close/>
                  <a:moveTo>
                    <a:pt x="831" y="282"/>
                  </a:moveTo>
                  <a:cubicBezTo>
                    <a:pt x="830" y="280"/>
                    <a:pt x="830" y="279"/>
                    <a:pt x="829" y="278"/>
                  </a:cubicBezTo>
                  <a:cubicBezTo>
                    <a:pt x="827" y="280"/>
                    <a:pt x="829" y="282"/>
                    <a:pt x="831" y="282"/>
                  </a:cubicBezTo>
                  <a:close/>
                  <a:moveTo>
                    <a:pt x="817" y="288"/>
                  </a:moveTo>
                  <a:cubicBezTo>
                    <a:pt x="818" y="285"/>
                    <a:pt x="820" y="283"/>
                    <a:pt x="821" y="279"/>
                  </a:cubicBezTo>
                  <a:cubicBezTo>
                    <a:pt x="816" y="277"/>
                    <a:pt x="814" y="285"/>
                    <a:pt x="817" y="288"/>
                  </a:cubicBezTo>
                  <a:close/>
                  <a:moveTo>
                    <a:pt x="836" y="279"/>
                  </a:moveTo>
                  <a:cubicBezTo>
                    <a:pt x="836" y="282"/>
                    <a:pt x="838" y="284"/>
                    <a:pt x="841" y="284"/>
                  </a:cubicBezTo>
                  <a:cubicBezTo>
                    <a:pt x="842" y="282"/>
                    <a:pt x="845" y="281"/>
                    <a:pt x="847" y="279"/>
                  </a:cubicBezTo>
                  <a:cubicBezTo>
                    <a:pt x="843" y="280"/>
                    <a:pt x="839" y="278"/>
                    <a:pt x="836" y="279"/>
                  </a:cubicBezTo>
                  <a:close/>
                  <a:moveTo>
                    <a:pt x="820" y="288"/>
                  </a:moveTo>
                  <a:cubicBezTo>
                    <a:pt x="822" y="289"/>
                    <a:pt x="826" y="287"/>
                    <a:pt x="829" y="287"/>
                  </a:cubicBezTo>
                  <a:cubicBezTo>
                    <a:pt x="828" y="284"/>
                    <a:pt x="826" y="282"/>
                    <a:pt x="824" y="280"/>
                  </a:cubicBezTo>
                  <a:cubicBezTo>
                    <a:pt x="823" y="282"/>
                    <a:pt x="822" y="285"/>
                    <a:pt x="820" y="288"/>
                  </a:cubicBezTo>
                  <a:close/>
                  <a:moveTo>
                    <a:pt x="842" y="286"/>
                  </a:moveTo>
                  <a:cubicBezTo>
                    <a:pt x="847" y="287"/>
                    <a:pt x="854" y="285"/>
                    <a:pt x="855" y="281"/>
                  </a:cubicBezTo>
                  <a:cubicBezTo>
                    <a:pt x="849" y="281"/>
                    <a:pt x="847" y="284"/>
                    <a:pt x="842" y="286"/>
                  </a:cubicBezTo>
                  <a:close/>
                  <a:moveTo>
                    <a:pt x="794" y="287"/>
                  </a:moveTo>
                  <a:cubicBezTo>
                    <a:pt x="799" y="287"/>
                    <a:pt x="802" y="288"/>
                    <a:pt x="807" y="288"/>
                  </a:cubicBezTo>
                  <a:cubicBezTo>
                    <a:pt x="807" y="286"/>
                    <a:pt x="807" y="283"/>
                    <a:pt x="808" y="282"/>
                  </a:cubicBezTo>
                  <a:cubicBezTo>
                    <a:pt x="803" y="284"/>
                    <a:pt x="797" y="282"/>
                    <a:pt x="794" y="287"/>
                  </a:cubicBezTo>
                  <a:close/>
                  <a:moveTo>
                    <a:pt x="861" y="286"/>
                  </a:moveTo>
                  <a:cubicBezTo>
                    <a:pt x="866" y="285"/>
                    <a:pt x="871" y="286"/>
                    <a:pt x="874" y="284"/>
                  </a:cubicBezTo>
                  <a:cubicBezTo>
                    <a:pt x="871" y="282"/>
                    <a:pt x="865" y="283"/>
                    <a:pt x="862" y="282"/>
                  </a:cubicBezTo>
                  <a:cubicBezTo>
                    <a:pt x="861" y="283"/>
                    <a:pt x="861" y="284"/>
                    <a:pt x="861" y="286"/>
                  </a:cubicBezTo>
                  <a:close/>
                  <a:moveTo>
                    <a:pt x="854" y="286"/>
                  </a:moveTo>
                  <a:cubicBezTo>
                    <a:pt x="855" y="287"/>
                    <a:pt x="860" y="284"/>
                    <a:pt x="857" y="284"/>
                  </a:cubicBezTo>
                  <a:cubicBezTo>
                    <a:pt x="856" y="285"/>
                    <a:pt x="854" y="284"/>
                    <a:pt x="854" y="286"/>
                  </a:cubicBezTo>
                  <a:close/>
                  <a:moveTo>
                    <a:pt x="788" y="288"/>
                  </a:moveTo>
                  <a:cubicBezTo>
                    <a:pt x="788" y="289"/>
                    <a:pt x="788" y="290"/>
                    <a:pt x="788" y="290"/>
                  </a:cubicBezTo>
                  <a:cubicBezTo>
                    <a:pt x="792" y="290"/>
                    <a:pt x="795" y="291"/>
                    <a:pt x="796" y="288"/>
                  </a:cubicBezTo>
                  <a:cubicBezTo>
                    <a:pt x="793" y="289"/>
                    <a:pt x="790" y="286"/>
                    <a:pt x="788" y="288"/>
                  </a:cubicBezTo>
                  <a:close/>
                  <a:moveTo>
                    <a:pt x="772" y="292"/>
                  </a:moveTo>
                  <a:cubicBezTo>
                    <a:pt x="775" y="293"/>
                    <a:pt x="784" y="294"/>
                    <a:pt x="783" y="289"/>
                  </a:cubicBezTo>
                  <a:cubicBezTo>
                    <a:pt x="779" y="289"/>
                    <a:pt x="775" y="290"/>
                    <a:pt x="772" y="292"/>
                  </a:cubicBezTo>
                  <a:close/>
                  <a:moveTo>
                    <a:pt x="855" y="290"/>
                  </a:moveTo>
                  <a:cubicBezTo>
                    <a:pt x="856" y="291"/>
                    <a:pt x="857" y="291"/>
                    <a:pt x="859" y="290"/>
                  </a:cubicBezTo>
                  <a:cubicBezTo>
                    <a:pt x="858" y="289"/>
                    <a:pt x="855" y="289"/>
                    <a:pt x="855" y="290"/>
                  </a:cubicBezTo>
                  <a:close/>
                  <a:moveTo>
                    <a:pt x="848" y="291"/>
                  </a:moveTo>
                  <a:cubicBezTo>
                    <a:pt x="848" y="293"/>
                    <a:pt x="851" y="291"/>
                    <a:pt x="852" y="292"/>
                  </a:cubicBezTo>
                  <a:cubicBezTo>
                    <a:pt x="853" y="289"/>
                    <a:pt x="847" y="289"/>
                    <a:pt x="848" y="291"/>
                  </a:cubicBezTo>
                  <a:close/>
                  <a:moveTo>
                    <a:pt x="902" y="292"/>
                  </a:moveTo>
                  <a:cubicBezTo>
                    <a:pt x="885" y="289"/>
                    <a:pt x="870" y="295"/>
                    <a:pt x="853" y="295"/>
                  </a:cubicBezTo>
                  <a:cubicBezTo>
                    <a:pt x="852" y="299"/>
                    <a:pt x="856" y="300"/>
                    <a:pt x="858" y="301"/>
                  </a:cubicBezTo>
                  <a:cubicBezTo>
                    <a:pt x="865" y="308"/>
                    <a:pt x="873" y="317"/>
                    <a:pt x="881" y="325"/>
                  </a:cubicBezTo>
                  <a:cubicBezTo>
                    <a:pt x="888" y="333"/>
                    <a:pt x="897" y="341"/>
                    <a:pt x="906" y="347"/>
                  </a:cubicBezTo>
                  <a:cubicBezTo>
                    <a:pt x="906" y="343"/>
                    <a:pt x="902" y="343"/>
                    <a:pt x="902" y="340"/>
                  </a:cubicBezTo>
                  <a:cubicBezTo>
                    <a:pt x="911" y="332"/>
                    <a:pt x="905" y="306"/>
                    <a:pt x="906" y="290"/>
                  </a:cubicBezTo>
                  <a:cubicBezTo>
                    <a:pt x="904" y="289"/>
                    <a:pt x="903" y="291"/>
                    <a:pt x="902" y="292"/>
                  </a:cubicBezTo>
                  <a:close/>
                  <a:moveTo>
                    <a:pt x="817" y="295"/>
                  </a:moveTo>
                  <a:cubicBezTo>
                    <a:pt x="820" y="294"/>
                    <a:pt x="826" y="296"/>
                    <a:pt x="826" y="292"/>
                  </a:cubicBezTo>
                  <a:cubicBezTo>
                    <a:pt x="823" y="292"/>
                    <a:pt x="817" y="290"/>
                    <a:pt x="817" y="295"/>
                  </a:cubicBezTo>
                  <a:close/>
                  <a:moveTo>
                    <a:pt x="823" y="301"/>
                  </a:moveTo>
                  <a:cubicBezTo>
                    <a:pt x="824" y="302"/>
                    <a:pt x="825" y="303"/>
                    <a:pt x="827" y="303"/>
                  </a:cubicBezTo>
                  <a:cubicBezTo>
                    <a:pt x="829" y="302"/>
                    <a:pt x="832" y="301"/>
                    <a:pt x="831" y="297"/>
                  </a:cubicBezTo>
                  <a:cubicBezTo>
                    <a:pt x="827" y="297"/>
                    <a:pt x="824" y="297"/>
                    <a:pt x="823" y="301"/>
                  </a:cubicBezTo>
                  <a:close/>
                  <a:moveTo>
                    <a:pt x="741" y="303"/>
                  </a:moveTo>
                  <a:cubicBezTo>
                    <a:pt x="741" y="315"/>
                    <a:pt x="741" y="334"/>
                    <a:pt x="741" y="350"/>
                  </a:cubicBezTo>
                  <a:cubicBezTo>
                    <a:pt x="742" y="352"/>
                    <a:pt x="746" y="353"/>
                    <a:pt x="744" y="356"/>
                  </a:cubicBezTo>
                  <a:cubicBezTo>
                    <a:pt x="742" y="356"/>
                    <a:pt x="744" y="352"/>
                    <a:pt x="742" y="353"/>
                  </a:cubicBezTo>
                  <a:cubicBezTo>
                    <a:pt x="739" y="356"/>
                    <a:pt x="746" y="359"/>
                    <a:pt x="742" y="363"/>
                  </a:cubicBezTo>
                  <a:cubicBezTo>
                    <a:pt x="741" y="363"/>
                    <a:pt x="739" y="360"/>
                    <a:pt x="737" y="362"/>
                  </a:cubicBezTo>
                  <a:cubicBezTo>
                    <a:pt x="749" y="376"/>
                    <a:pt x="758" y="392"/>
                    <a:pt x="770" y="405"/>
                  </a:cubicBezTo>
                  <a:cubicBezTo>
                    <a:pt x="781" y="401"/>
                    <a:pt x="791" y="397"/>
                    <a:pt x="802" y="393"/>
                  </a:cubicBezTo>
                  <a:cubicBezTo>
                    <a:pt x="801" y="383"/>
                    <a:pt x="806" y="368"/>
                    <a:pt x="801" y="361"/>
                  </a:cubicBezTo>
                  <a:cubicBezTo>
                    <a:pt x="805" y="354"/>
                    <a:pt x="803" y="342"/>
                    <a:pt x="804" y="333"/>
                  </a:cubicBezTo>
                  <a:cubicBezTo>
                    <a:pt x="805" y="322"/>
                    <a:pt x="807" y="311"/>
                    <a:pt x="807" y="299"/>
                  </a:cubicBezTo>
                  <a:cubicBezTo>
                    <a:pt x="787" y="300"/>
                    <a:pt x="770" y="300"/>
                    <a:pt x="752" y="302"/>
                  </a:cubicBezTo>
                  <a:cubicBezTo>
                    <a:pt x="765" y="311"/>
                    <a:pt x="774" y="323"/>
                    <a:pt x="786" y="332"/>
                  </a:cubicBezTo>
                  <a:cubicBezTo>
                    <a:pt x="790" y="339"/>
                    <a:pt x="800" y="342"/>
                    <a:pt x="801" y="349"/>
                  </a:cubicBezTo>
                  <a:cubicBezTo>
                    <a:pt x="800" y="347"/>
                    <a:pt x="796" y="347"/>
                    <a:pt x="796" y="343"/>
                  </a:cubicBezTo>
                  <a:cubicBezTo>
                    <a:pt x="780" y="332"/>
                    <a:pt x="768" y="316"/>
                    <a:pt x="751" y="304"/>
                  </a:cubicBezTo>
                  <a:cubicBezTo>
                    <a:pt x="751" y="303"/>
                    <a:pt x="751" y="302"/>
                    <a:pt x="751" y="301"/>
                  </a:cubicBezTo>
                  <a:cubicBezTo>
                    <a:pt x="749" y="302"/>
                    <a:pt x="744" y="300"/>
                    <a:pt x="745" y="303"/>
                  </a:cubicBezTo>
                  <a:cubicBezTo>
                    <a:pt x="750" y="307"/>
                    <a:pt x="755" y="313"/>
                    <a:pt x="760" y="318"/>
                  </a:cubicBezTo>
                  <a:cubicBezTo>
                    <a:pt x="756" y="318"/>
                    <a:pt x="756" y="315"/>
                    <a:pt x="753" y="314"/>
                  </a:cubicBezTo>
                  <a:cubicBezTo>
                    <a:pt x="753" y="315"/>
                    <a:pt x="754" y="317"/>
                    <a:pt x="753" y="317"/>
                  </a:cubicBezTo>
                  <a:cubicBezTo>
                    <a:pt x="750" y="314"/>
                    <a:pt x="745" y="312"/>
                    <a:pt x="743" y="307"/>
                  </a:cubicBezTo>
                  <a:cubicBezTo>
                    <a:pt x="747" y="308"/>
                    <a:pt x="749" y="314"/>
                    <a:pt x="753" y="313"/>
                  </a:cubicBezTo>
                  <a:cubicBezTo>
                    <a:pt x="748" y="310"/>
                    <a:pt x="747" y="305"/>
                    <a:pt x="741" y="303"/>
                  </a:cubicBezTo>
                  <a:close/>
                  <a:moveTo>
                    <a:pt x="823" y="307"/>
                  </a:moveTo>
                  <a:cubicBezTo>
                    <a:pt x="822" y="301"/>
                    <a:pt x="811" y="305"/>
                    <a:pt x="815" y="315"/>
                  </a:cubicBezTo>
                  <a:cubicBezTo>
                    <a:pt x="817" y="313"/>
                    <a:pt x="824" y="309"/>
                    <a:pt x="823" y="307"/>
                  </a:cubicBezTo>
                  <a:close/>
                  <a:moveTo>
                    <a:pt x="831" y="307"/>
                  </a:moveTo>
                  <a:cubicBezTo>
                    <a:pt x="831" y="306"/>
                    <a:pt x="831" y="305"/>
                    <a:pt x="831" y="304"/>
                  </a:cubicBezTo>
                  <a:cubicBezTo>
                    <a:pt x="829" y="304"/>
                    <a:pt x="829" y="307"/>
                    <a:pt x="831" y="307"/>
                  </a:cubicBezTo>
                  <a:close/>
                  <a:moveTo>
                    <a:pt x="818" y="319"/>
                  </a:moveTo>
                  <a:cubicBezTo>
                    <a:pt x="823" y="321"/>
                    <a:pt x="825" y="314"/>
                    <a:pt x="829" y="313"/>
                  </a:cubicBezTo>
                  <a:cubicBezTo>
                    <a:pt x="829" y="311"/>
                    <a:pt x="827" y="310"/>
                    <a:pt x="826" y="309"/>
                  </a:cubicBezTo>
                  <a:cubicBezTo>
                    <a:pt x="823" y="312"/>
                    <a:pt x="818" y="313"/>
                    <a:pt x="818" y="319"/>
                  </a:cubicBezTo>
                  <a:close/>
                  <a:moveTo>
                    <a:pt x="823" y="323"/>
                  </a:moveTo>
                  <a:cubicBezTo>
                    <a:pt x="825" y="323"/>
                    <a:pt x="826" y="325"/>
                    <a:pt x="829" y="325"/>
                  </a:cubicBezTo>
                  <a:cubicBezTo>
                    <a:pt x="833" y="323"/>
                    <a:pt x="831" y="319"/>
                    <a:pt x="832" y="315"/>
                  </a:cubicBezTo>
                  <a:cubicBezTo>
                    <a:pt x="828" y="316"/>
                    <a:pt x="825" y="319"/>
                    <a:pt x="823" y="323"/>
                  </a:cubicBezTo>
                  <a:close/>
                  <a:moveTo>
                    <a:pt x="814" y="337"/>
                  </a:moveTo>
                  <a:cubicBezTo>
                    <a:pt x="818" y="335"/>
                    <a:pt x="819" y="332"/>
                    <a:pt x="823" y="330"/>
                  </a:cubicBezTo>
                  <a:cubicBezTo>
                    <a:pt x="822" y="328"/>
                    <a:pt x="821" y="326"/>
                    <a:pt x="818" y="325"/>
                  </a:cubicBezTo>
                  <a:cubicBezTo>
                    <a:pt x="815" y="328"/>
                    <a:pt x="814" y="330"/>
                    <a:pt x="814" y="337"/>
                  </a:cubicBezTo>
                  <a:close/>
                  <a:moveTo>
                    <a:pt x="830" y="327"/>
                  </a:moveTo>
                  <a:cubicBezTo>
                    <a:pt x="830" y="328"/>
                    <a:pt x="830" y="328"/>
                    <a:pt x="831" y="329"/>
                  </a:cubicBezTo>
                  <a:cubicBezTo>
                    <a:pt x="832" y="329"/>
                    <a:pt x="833" y="328"/>
                    <a:pt x="833" y="326"/>
                  </a:cubicBezTo>
                  <a:cubicBezTo>
                    <a:pt x="831" y="326"/>
                    <a:pt x="831" y="326"/>
                    <a:pt x="830" y="327"/>
                  </a:cubicBezTo>
                  <a:close/>
                  <a:moveTo>
                    <a:pt x="838" y="332"/>
                  </a:moveTo>
                  <a:cubicBezTo>
                    <a:pt x="838" y="330"/>
                    <a:pt x="838" y="329"/>
                    <a:pt x="837" y="328"/>
                  </a:cubicBezTo>
                  <a:cubicBezTo>
                    <a:pt x="836" y="329"/>
                    <a:pt x="836" y="333"/>
                    <a:pt x="838" y="332"/>
                  </a:cubicBezTo>
                  <a:close/>
                  <a:moveTo>
                    <a:pt x="817" y="340"/>
                  </a:moveTo>
                  <a:cubicBezTo>
                    <a:pt x="819" y="340"/>
                    <a:pt x="818" y="342"/>
                    <a:pt x="820" y="342"/>
                  </a:cubicBezTo>
                  <a:cubicBezTo>
                    <a:pt x="824" y="338"/>
                    <a:pt x="828" y="337"/>
                    <a:pt x="831" y="333"/>
                  </a:cubicBezTo>
                  <a:cubicBezTo>
                    <a:pt x="824" y="329"/>
                    <a:pt x="820" y="336"/>
                    <a:pt x="817" y="340"/>
                  </a:cubicBezTo>
                  <a:close/>
                  <a:moveTo>
                    <a:pt x="823" y="344"/>
                  </a:moveTo>
                  <a:cubicBezTo>
                    <a:pt x="825" y="345"/>
                    <a:pt x="827" y="346"/>
                    <a:pt x="829" y="346"/>
                  </a:cubicBezTo>
                  <a:cubicBezTo>
                    <a:pt x="833" y="345"/>
                    <a:pt x="835" y="340"/>
                    <a:pt x="833" y="336"/>
                  </a:cubicBezTo>
                  <a:cubicBezTo>
                    <a:pt x="828" y="338"/>
                    <a:pt x="826" y="341"/>
                    <a:pt x="823" y="344"/>
                  </a:cubicBezTo>
                  <a:close/>
                  <a:moveTo>
                    <a:pt x="809" y="342"/>
                  </a:moveTo>
                  <a:cubicBezTo>
                    <a:pt x="810" y="341"/>
                    <a:pt x="811" y="338"/>
                    <a:pt x="809" y="338"/>
                  </a:cubicBezTo>
                  <a:cubicBezTo>
                    <a:pt x="808" y="339"/>
                    <a:pt x="808" y="341"/>
                    <a:pt x="809" y="342"/>
                  </a:cubicBezTo>
                  <a:close/>
                  <a:moveTo>
                    <a:pt x="814" y="357"/>
                  </a:moveTo>
                  <a:cubicBezTo>
                    <a:pt x="817" y="358"/>
                    <a:pt x="821" y="353"/>
                    <a:pt x="824" y="351"/>
                  </a:cubicBezTo>
                  <a:cubicBezTo>
                    <a:pt x="822" y="349"/>
                    <a:pt x="820" y="348"/>
                    <a:pt x="818" y="346"/>
                  </a:cubicBezTo>
                  <a:cubicBezTo>
                    <a:pt x="815" y="348"/>
                    <a:pt x="813" y="354"/>
                    <a:pt x="814" y="357"/>
                  </a:cubicBezTo>
                  <a:close/>
                  <a:moveTo>
                    <a:pt x="831" y="350"/>
                  </a:moveTo>
                  <a:cubicBezTo>
                    <a:pt x="835" y="351"/>
                    <a:pt x="835" y="346"/>
                    <a:pt x="832" y="346"/>
                  </a:cubicBezTo>
                  <a:cubicBezTo>
                    <a:pt x="832" y="348"/>
                    <a:pt x="831" y="348"/>
                    <a:pt x="831" y="350"/>
                  </a:cubicBezTo>
                  <a:close/>
                  <a:moveTo>
                    <a:pt x="839" y="355"/>
                  </a:moveTo>
                  <a:cubicBezTo>
                    <a:pt x="840" y="353"/>
                    <a:pt x="840" y="350"/>
                    <a:pt x="838" y="350"/>
                  </a:cubicBezTo>
                  <a:cubicBezTo>
                    <a:pt x="839" y="351"/>
                    <a:pt x="837" y="354"/>
                    <a:pt x="839" y="355"/>
                  </a:cubicBezTo>
                  <a:close/>
                  <a:moveTo>
                    <a:pt x="818" y="361"/>
                  </a:moveTo>
                  <a:cubicBezTo>
                    <a:pt x="820" y="361"/>
                    <a:pt x="819" y="362"/>
                    <a:pt x="821" y="362"/>
                  </a:cubicBezTo>
                  <a:cubicBezTo>
                    <a:pt x="824" y="359"/>
                    <a:pt x="828" y="358"/>
                    <a:pt x="831" y="355"/>
                  </a:cubicBezTo>
                  <a:cubicBezTo>
                    <a:pt x="826" y="350"/>
                    <a:pt x="819" y="356"/>
                    <a:pt x="818" y="361"/>
                  </a:cubicBezTo>
                  <a:close/>
                  <a:moveTo>
                    <a:pt x="824" y="364"/>
                  </a:moveTo>
                  <a:cubicBezTo>
                    <a:pt x="829" y="371"/>
                    <a:pt x="837" y="364"/>
                    <a:pt x="834" y="357"/>
                  </a:cubicBezTo>
                  <a:cubicBezTo>
                    <a:pt x="830" y="358"/>
                    <a:pt x="826" y="360"/>
                    <a:pt x="824" y="364"/>
                  </a:cubicBezTo>
                  <a:close/>
                  <a:moveTo>
                    <a:pt x="819" y="374"/>
                  </a:moveTo>
                  <a:cubicBezTo>
                    <a:pt x="819" y="371"/>
                    <a:pt x="822" y="373"/>
                    <a:pt x="824" y="372"/>
                  </a:cubicBezTo>
                  <a:cubicBezTo>
                    <a:pt x="823" y="370"/>
                    <a:pt x="821" y="369"/>
                    <a:pt x="818" y="368"/>
                  </a:cubicBezTo>
                  <a:cubicBezTo>
                    <a:pt x="815" y="370"/>
                    <a:pt x="812" y="372"/>
                    <a:pt x="813" y="379"/>
                  </a:cubicBezTo>
                  <a:cubicBezTo>
                    <a:pt x="816" y="379"/>
                    <a:pt x="818" y="378"/>
                    <a:pt x="818" y="376"/>
                  </a:cubicBezTo>
                  <a:cubicBezTo>
                    <a:pt x="818" y="373"/>
                    <a:pt x="815" y="374"/>
                    <a:pt x="816" y="372"/>
                  </a:cubicBezTo>
                  <a:cubicBezTo>
                    <a:pt x="818" y="373"/>
                    <a:pt x="818" y="368"/>
                    <a:pt x="820" y="371"/>
                  </a:cubicBezTo>
                  <a:cubicBezTo>
                    <a:pt x="819" y="371"/>
                    <a:pt x="816" y="375"/>
                    <a:pt x="819" y="374"/>
                  </a:cubicBezTo>
                  <a:close/>
                  <a:moveTo>
                    <a:pt x="842" y="377"/>
                  </a:moveTo>
                  <a:cubicBezTo>
                    <a:pt x="841" y="375"/>
                    <a:pt x="842" y="372"/>
                    <a:pt x="840" y="372"/>
                  </a:cubicBezTo>
                  <a:cubicBezTo>
                    <a:pt x="840" y="374"/>
                    <a:pt x="839" y="377"/>
                    <a:pt x="842" y="377"/>
                  </a:cubicBezTo>
                  <a:close/>
                  <a:moveTo>
                    <a:pt x="825" y="374"/>
                  </a:moveTo>
                  <a:cubicBezTo>
                    <a:pt x="825" y="375"/>
                    <a:pt x="825" y="376"/>
                    <a:pt x="825" y="376"/>
                  </a:cubicBezTo>
                  <a:cubicBezTo>
                    <a:pt x="826" y="377"/>
                    <a:pt x="830" y="378"/>
                    <a:pt x="831" y="376"/>
                  </a:cubicBezTo>
                  <a:cubicBezTo>
                    <a:pt x="830" y="375"/>
                    <a:pt x="828" y="372"/>
                    <a:pt x="825" y="374"/>
                  </a:cubicBezTo>
                  <a:close/>
                  <a:moveTo>
                    <a:pt x="818" y="381"/>
                  </a:moveTo>
                  <a:cubicBezTo>
                    <a:pt x="822" y="385"/>
                    <a:pt x="822" y="377"/>
                    <a:pt x="825" y="379"/>
                  </a:cubicBezTo>
                  <a:cubicBezTo>
                    <a:pt x="825" y="377"/>
                    <a:pt x="825" y="376"/>
                    <a:pt x="822" y="376"/>
                  </a:cubicBezTo>
                  <a:cubicBezTo>
                    <a:pt x="823" y="380"/>
                    <a:pt x="817" y="377"/>
                    <a:pt x="818" y="381"/>
                  </a:cubicBezTo>
                  <a:close/>
                  <a:moveTo>
                    <a:pt x="824" y="383"/>
                  </a:moveTo>
                  <a:cubicBezTo>
                    <a:pt x="828" y="389"/>
                    <a:pt x="838" y="387"/>
                    <a:pt x="835" y="379"/>
                  </a:cubicBezTo>
                  <a:cubicBezTo>
                    <a:pt x="829" y="378"/>
                    <a:pt x="830" y="384"/>
                    <a:pt x="824" y="383"/>
                  </a:cubicBezTo>
                  <a:close/>
                  <a:moveTo>
                    <a:pt x="809" y="383"/>
                  </a:moveTo>
                  <a:cubicBezTo>
                    <a:pt x="810" y="380"/>
                    <a:pt x="809" y="379"/>
                    <a:pt x="807" y="379"/>
                  </a:cubicBezTo>
                  <a:cubicBezTo>
                    <a:pt x="807" y="381"/>
                    <a:pt x="807" y="383"/>
                    <a:pt x="809" y="383"/>
                  </a:cubicBezTo>
                  <a:close/>
                  <a:moveTo>
                    <a:pt x="813" y="393"/>
                  </a:moveTo>
                  <a:cubicBezTo>
                    <a:pt x="816" y="391"/>
                    <a:pt x="821" y="393"/>
                    <a:pt x="823" y="390"/>
                  </a:cubicBezTo>
                  <a:cubicBezTo>
                    <a:pt x="820" y="389"/>
                    <a:pt x="812" y="386"/>
                    <a:pt x="813" y="393"/>
                  </a:cubicBezTo>
                  <a:close/>
                  <a:moveTo>
                    <a:pt x="817" y="401"/>
                  </a:moveTo>
                  <a:cubicBezTo>
                    <a:pt x="824" y="400"/>
                    <a:pt x="829" y="401"/>
                    <a:pt x="832" y="396"/>
                  </a:cubicBezTo>
                  <a:cubicBezTo>
                    <a:pt x="826" y="393"/>
                    <a:pt x="820" y="397"/>
                    <a:pt x="817" y="401"/>
                  </a:cubicBezTo>
                  <a:close/>
                  <a:moveTo>
                    <a:pt x="812" y="396"/>
                  </a:moveTo>
                  <a:cubicBezTo>
                    <a:pt x="812" y="397"/>
                    <a:pt x="812" y="398"/>
                    <a:pt x="812" y="399"/>
                  </a:cubicBezTo>
                  <a:cubicBezTo>
                    <a:pt x="815" y="399"/>
                    <a:pt x="816" y="398"/>
                    <a:pt x="818" y="396"/>
                  </a:cubicBezTo>
                  <a:cubicBezTo>
                    <a:pt x="817" y="395"/>
                    <a:pt x="813" y="395"/>
                    <a:pt x="812" y="396"/>
                  </a:cubicBezTo>
                  <a:close/>
                  <a:moveTo>
                    <a:pt x="865" y="400"/>
                  </a:moveTo>
                  <a:cubicBezTo>
                    <a:pt x="859" y="401"/>
                    <a:pt x="856" y="398"/>
                    <a:pt x="849" y="397"/>
                  </a:cubicBezTo>
                  <a:cubicBezTo>
                    <a:pt x="852" y="400"/>
                    <a:pt x="862" y="403"/>
                    <a:pt x="865" y="400"/>
                  </a:cubicBezTo>
                  <a:close/>
                  <a:moveTo>
                    <a:pt x="778" y="407"/>
                  </a:moveTo>
                  <a:cubicBezTo>
                    <a:pt x="785" y="411"/>
                    <a:pt x="793" y="404"/>
                    <a:pt x="801" y="403"/>
                  </a:cubicBezTo>
                  <a:cubicBezTo>
                    <a:pt x="801" y="400"/>
                    <a:pt x="802" y="400"/>
                    <a:pt x="801" y="398"/>
                  </a:cubicBezTo>
                  <a:cubicBezTo>
                    <a:pt x="792" y="400"/>
                    <a:pt x="784" y="402"/>
                    <a:pt x="778" y="407"/>
                  </a:cubicBezTo>
                  <a:close/>
                  <a:moveTo>
                    <a:pt x="824" y="404"/>
                  </a:moveTo>
                  <a:cubicBezTo>
                    <a:pt x="823" y="403"/>
                    <a:pt x="819" y="403"/>
                    <a:pt x="817" y="403"/>
                  </a:cubicBezTo>
                  <a:cubicBezTo>
                    <a:pt x="817" y="407"/>
                    <a:pt x="823" y="407"/>
                    <a:pt x="824" y="404"/>
                  </a:cubicBezTo>
                  <a:close/>
                  <a:moveTo>
                    <a:pt x="822" y="409"/>
                  </a:moveTo>
                  <a:cubicBezTo>
                    <a:pt x="825" y="410"/>
                    <a:pt x="826" y="413"/>
                    <a:pt x="830" y="413"/>
                  </a:cubicBezTo>
                  <a:cubicBezTo>
                    <a:pt x="832" y="410"/>
                    <a:pt x="836" y="409"/>
                    <a:pt x="837" y="405"/>
                  </a:cubicBezTo>
                  <a:cubicBezTo>
                    <a:pt x="831" y="401"/>
                    <a:pt x="825" y="406"/>
                    <a:pt x="822" y="409"/>
                  </a:cubicBezTo>
                  <a:close/>
                  <a:moveTo>
                    <a:pt x="846" y="404"/>
                  </a:moveTo>
                  <a:cubicBezTo>
                    <a:pt x="847" y="408"/>
                    <a:pt x="846" y="414"/>
                    <a:pt x="849" y="415"/>
                  </a:cubicBezTo>
                  <a:cubicBezTo>
                    <a:pt x="851" y="412"/>
                    <a:pt x="858" y="410"/>
                    <a:pt x="856" y="405"/>
                  </a:cubicBezTo>
                  <a:cubicBezTo>
                    <a:pt x="853" y="404"/>
                    <a:pt x="849" y="404"/>
                    <a:pt x="846" y="404"/>
                  </a:cubicBezTo>
                  <a:close/>
                  <a:moveTo>
                    <a:pt x="883" y="404"/>
                  </a:moveTo>
                  <a:cubicBezTo>
                    <a:pt x="881" y="404"/>
                    <a:pt x="877" y="403"/>
                    <a:pt x="876" y="405"/>
                  </a:cubicBezTo>
                  <a:cubicBezTo>
                    <a:pt x="878" y="405"/>
                    <a:pt x="882" y="406"/>
                    <a:pt x="883" y="404"/>
                  </a:cubicBezTo>
                  <a:close/>
                  <a:moveTo>
                    <a:pt x="812" y="413"/>
                  </a:moveTo>
                  <a:cubicBezTo>
                    <a:pt x="814" y="414"/>
                    <a:pt x="816" y="411"/>
                    <a:pt x="816" y="409"/>
                  </a:cubicBezTo>
                  <a:cubicBezTo>
                    <a:pt x="814" y="409"/>
                    <a:pt x="815" y="406"/>
                    <a:pt x="812" y="407"/>
                  </a:cubicBezTo>
                  <a:cubicBezTo>
                    <a:pt x="812" y="409"/>
                    <a:pt x="812" y="411"/>
                    <a:pt x="812" y="413"/>
                  </a:cubicBezTo>
                  <a:close/>
                  <a:moveTo>
                    <a:pt x="841" y="412"/>
                  </a:moveTo>
                  <a:cubicBezTo>
                    <a:pt x="841" y="411"/>
                    <a:pt x="843" y="407"/>
                    <a:pt x="840" y="407"/>
                  </a:cubicBezTo>
                  <a:cubicBezTo>
                    <a:pt x="841" y="408"/>
                    <a:pt x="839" y="412"/>
                    <a:pt x="841" y="412"/>
                  </a:cubicBezTo>
                  <a:close/>
                  <a:moveTo>
                    <a:pt x="864" y="411"/>
                  </a:moveTo>
                  <a:cubicBezTo>
                    <a:pt x="867" y="411"/>
                    <a:pt x="868" y="409"/>
                    <a:pt x="868" y="407"/>
                  </a:cubicBezTo>
                  <a:cubicBezTo>
                    <a:pt x="864" y="406"/>
                    <a:pt x="863" y="408"/>
                    <a:pt x="864" y="411"/>
                  </a:cubicBezTo>
                  <a:close/>
                  <a:moveTo>
                    <a:pt x="786" y="411"/>
                  </a:moveTo>
                  <a:cubicBezTo>
                    <a:pt x="789" y="416"/>
                    <a:pt x="794" y="420"/>
                    <a:pt x="800" y="423"/>
                  </a:cubicBezTo>
                  <a:cubicBezTo>
                    <a:pt x="800" y="418"/>
                    <a:pt x="802" y="411"/>
                    <a:pt x="801" y="407"/>
                  </a:cubicBezTo>
                  <a:cubicBezTo>
                    <a:pt x="795" y="408"/>
                    <a:pt x="791" y="410"/>
                    <a:pt x="786" y="411"/>
                  </a:cubicBezTo>
                  <a:close/>
                  <a:moveTo>
                    <a:pt x="872" y="409"/>
                  </a:moveTo>
                  <a:cubicBezTo>
                    <a:pt x="874" y="410"/>
                    <a:pt x="876" y="413"/>
                    <a:pt x="879" y="415"/>
                  </a:cubicBezTo>
                  <a:cubicBezTo>
                    <a:pt x="883" y="414"/>
                    <a:pt x="887" y="413"/>
                    <a:pt x="889" y="410"/>
                  </a:cubicBezTo>
                  <a:cubicBezTo>
                    <a:pt x="883" y="410"/>
                    <a:pt x="876" y="405"/>
                    <a:pt x="872" y="409"/>
                  </a:cubicBezTo>
                  <a:close/>
                  <a:moveTo>
                    <a:pt x="777" y="411"/>
                  </a:moveTo>
                  <a:cubicBezTo>
                    <a:pt x="777" y="408"/>
                    <a:pt x="775" y="408"/>
                    <a:pt x="773" y="408"/>
                  </a:cubicBezTo>
                  <a:cubicBezTo>
                    <a:pt x="772" y="411"/>
                    <a:pt x="775" y="410"/>
                    <a:pt x="777" y="411"/>
                  </a:cubicBezTo>
                  <a:close/>
                  <a:moveTo>
                    <a:pt x="751" y="417"/>
                  </a:moveTo>
                  <a:cubicBezTo>
                    <a:pt x="759" y="416"/>
                    <a:pt x="766" y="415"/>
                    <a:pt x="771" y="411"/>
                  </a:cubicBezTo>
                  <a:cubicBezTo>
                    <a:pt x="764" y="409"/>
                    <a:pt x="756" y="413"/>
                    <a:pt x="751" y="417"/>
                  </a:cubicBezTo>
                  <a:close/>
                  <a:moveTo>
                    <a:pt x="848" y="417"/>
                  </a:moveTo>
                  <a:cubicBezTo>
                    <a:pt x="849" y="419"/>
                    <a:pt x="847" y="419"/>
                    <a:pt x="848" y="420"/>
                  </a:cubicBezTo>
                  <a:cubicBezTo>
                    <a:pt x="857" y="422"/>
                    <a:pt x="861" y="418"/>
                    <a:pt x="863" y="412"/>
                  </a:cubicBezTo>
                  <a:cubicBezTo>
                    <a:pt x="860" y="414"/>
                    <a:pt x="860" y="411"/>
                    <a:pt x="857" y="411"/>
                  </a:cubicBezTo>
                  <a:cubicBezTo>
                    <a:pt x="855" y="413"/>
                    <a:pt x="853" y="416"/>
                    <a:pt x="848" y="417"/>
                  </a:cubicBezTo>
                  <a:close/>
                  <a:moveTo>
                    <a:pt x="881" y="418"/>
                  </a:moveTo>
                  <a:cubicBezTo>
                    <a:pt x="889" y="421"/>
                    <a:pt x="893" y="415"/>
                    <a:pt x="897" y="412"/>
                  </a:cubicBezTo>
                  <a:cubicBezTo>
                    <a:pt x="892" y="409"/>
                    <a:pt x="885" y="416"/>
                    <a:pt x="881" y="418"/>
                  </a:cubicBezTo>
                  <a:close/>
                  <a:moveTo>
                    <a:pt x="832" y="415"/>
                  </a:moveTo>
                  <a:cubicBezTo>
                    <a:pt x="833" y="417"/>
                    <a:pt x="835" y="418"/>
                    <a:pt x="837" y="419"/>
                  </a:cubicBezTo>
                  <a:cubicBezTo>
                    <a:pt x="838" y="412"/>
                    <a:pt x="835" y="410"/>
                    <a:pt x="832" y="415"/>
                  </a:cubicBezTo>
                  <a:close/>
                  <a:moveTo>
                    <a:pt x="872" y="418"/>
                  </a:moveTo>
                  <a:cubicBezTo>
                    <a:pt x="873" y="417"/>
                    <a:pt x="877" y="418"/>
                    <a:pt x="877" y="416"/>
                  </a:cubicBezTo>
                  <a:cubicBezTo>
                    <a:pt x="873" y="416"/>
                    <a:pt x="874" y="411"/>
                    <a:pt x="870" y="411"/>
                  </a:cubicBezTo>
                  <a:cubicBezTo>
                    <a:pt x="869" y="413"/>
                    <a:pt x="872" y="415"/>
                    <a:pt x="872" y="418"/>
                  </a:cubicBezTo>
                  <a:close/>
                  <a:moveTo>
                    <a:pt x="812" y="422"/>
                  </a:moveTo>
                  <a:cubicBezTo>
                    <a:pt x="820" y="426"/>
                    <a:pt x="821" y="418"/>
                    <a:pt x="820" y="413"/>
                  </a:cubicBezTo>
                  <a:cubicBezTo>
                    <a:pt x="816" y="412"/>
                    <a:pt x="813" y="417"/>
                    <a:pt x="812" y="422"/>
                  </a:cubicBezTo>
                  <a:close/>
                  <a:moveTo>
                    <a:pt x="891" y="418"/>
                  </a:moveTo>
                  <a:cubicBezTo>
                    <a:pt x="899" y="419"/>
                    <a:pt x="907" y="419"/>
                    <a:pt x="913" y="417"/>
                  </a:cubicBezTo>
                  <a:cubicBezTo>
                    <a:pt x="915" y="418"/>
                    <a:pt x="919" y="420"/>
                    <a:pt x="921" y="417"/>
                  </a:cubicBezTo>
                  <a:cubicBezTo>
                    <a:pt x="913" y="412"/>
                    <a:pt x="898" y="412"/>
                    <a:pt x="891" y="418"/>
                  </a:cubicBezTo>
                  <a:close/>
                  <a:moveTo>
                    <a:pt x="777" y="417"/>
                  </a:moveTo>
                  <a:cubicBezTo>
                    <a:pt x="780" y="417"/>
                    <a:pt x="780" y="413"/>
                    <a:pt x="777" y="413"/>
                  </a:cubicBezTo>
                  <a:cubicBezTo>
                    <a:pt x="777" y="415"/>
                    <a:pt x="777" y="416"/>
                    <a:pt x="777" y="417"/>
                  </a:cubicBezTo>
                  <a:close/>
                  <a:moveTo>
                    <a:pt x="781" y="415"/>
                  </a:moveTo>
                  <a:cubicBezTo>
                    <a:pt x="781" y="416"/>
                    <a:pt x="780" y="421"/>
                    <a:pt x="783" y="424"/>
                  </a:cubicBezTo>
                  <a:cubicBezTo>
                    <a:pt x="787" y="425"/>
                    <a:pt x="788" y="423"/>
                    <a:pt x="792" y="424"/>
                  </a:cubicBezTo>
                  <a:cubicBezTo>
                    <a:pt x="790" y="420"/>
                    <a:pt x="785" y="416"/>
                    <a:pt x="781" y="415"/>
                  </a:cubicBezTo>
                  <a:close/>
                  <a:moveTo>
                    <a:pt x="822" y="420"/>
                  </a:moveTo>
                  <a:cubicBezTo>
                    <a:pt x="823" y="418"/>
                    <a:pt x="825" y="418"/>
                    <a:pt x="825" y="416"/>
                  </a:cubicBezTo>
                  <a:cubicBezTo>
                    <a:pt x="825" y="415"/>
                    <a:pt x="823" y="414"/>
                    <a:pt x="821" y="414"/>
                  </a:cubicBezTo>
                  <a:cubicBezTo>
                    <a:pt x="822" y="417"/>
                    <a:pt x="820" y="418"/>
                    <a:pt x="822" y="420"/>
                  </a:cubicBezTo>
                  <a:close/>
                  <a:moveTo>
                    <a:pt x="760" y="420"/>
                  </a:moveTo>
                  <a:cubicBezTo>
                    <a:pt x="763" y="423"/>
                    <a:pt x="768" y="425"/>
                    <a:pt x="772" y="426"/>
                  </a:cubicBezTo>
                  <a:cubicBezTo>
                    <a:pt x="774" y="424"/>
                    <a:pt x="772" y="420"/>
                    <a:pt x="773" y="416"/>
                  </a:cubicBezTo>
                  <a:cubicBezTo>
                    <a:pt x="770" y="416"/>
                    <a:pt x="762" y="417"/>
                    <a:pt x="760" y="420"/>
                  </a:cubicBezTo>
                  <a:close/>
                  <a:moveTo>
                    <a:pt x="843" y="420"/>
                  </a:moveTo>
                  <a:cubicBezTo>
                    <a:pt x="844" y="419"/>
                    <a:pt x="844" y="416"/>
                    <a:pt x="842" y="416"/>
                  </a:cubicBezTo>
                  <a:cubicBezTo>
                    <a:pt x="843" y="418"/>
                    <a:pt x="840" y="420"/>
                    <a:pt x="843" y="420"/>
                  </a:cubicBezTo>
                  <a:close/>
                  <a:moveTo>
                    <a:pt x="862" y="420"/>
                  </a:moveTo>
                  <a:cubicBezTo>
                    <a:pt x="864" y="419"/>
                    <a:pt x="867" y="420"/>
                    <a:pt x="868" y="419"/>
                  </a:cubicBezTo>
                  <a:cubicBezTo>
                    <a:pt x="868" y="418"/>
                    <a:pt x="868" y="417"/>
                    <a:pt x="868" y="416"/>
                  </a:cubicBezTo>
                  <a:cubicBezTo>
                    <a:pt x="865" y="416"/>
                    <a:pt x="862" y="417"/>
                    <a:pt x="862" y="420"/>
                  </a:cubicBezTo>
                  <a:close/>
                  <a:moveTo>
                    <a:pt x="805" y="421"/>
                  </a:moveTo>
                  <a:cubicBezTo>
                    <a:pt x="806" y="420"/>
                    <a:pt x="807" y="417"/>
                    <a:pt x="805" y="417"/>
                  </a:cubicBezTo>
                  <a:cubicBezTo>
                    <a:pt x="805" y="418"/>
                    <a:pt x="803" y="420"/>
                    <a:pt x="805" y="421"/>
                  </a:cubicBezTo>
                  <a:close/>
                  <a:moveTo>
                    <a:pt x="745" y="419"/>
                  </a:moveTo>
                  <a:cubicBezTo>
                    <a:pt x="747" y="419"/>
                    <a:pt x="750" y="420"/>
                    <a:pt x="750" y="417"/>
                  </a:cubicBezTo>
                  <a:cubicBezTo>
                    <a:pt x="748" y="418"/>
                    <a:pt x="744" y="416"/>
                    <a:pt x="745" y="419"/>
                  </a:cubicBezTo>
                  <a:close/>
                  <a:moveTo>
                    <a:pt x="937" y="418"/>
                  </a:moveTo>
                  <a:cubicBezTo>
                    <a:pt x="936" y="417"/>
                    <a:pt x="933" y="418"/>
                    <a:pt x="931" y="417"/>
                  </a:cubicBezTo>
                  <a:cubicBezTo>
                    <a:pt x="930" y="420"/>
                    <a:pt x="936" y="419"/>
                    <a:pt x="937" y="418"/>
                  </a:cubicBezTo>
                  <a:close/>
                  <a:moveTo>
                    <a:pt x="775" y="426"/>
                  </a:moveTo>
                  <a:cubicBezTo>
                    <a:pt x="777" y="425"/>
                    <a:pt x="779" y="425"/>
                    <a:pt x="779" y="424"/>
                  </a:cubicBezTo>
                  <a:cubicBezTo>
                    <a:pt x="778" y="422"/>
                    <a:pt x="778" y="418"/>
                    <a:pt x="775" y="418"/>
                  </a:cubicBezTo>
                  <a:cubicBezTo>
                    <a:pt x="775" y="421"/>
                    <a:pt x="774" y="424"/>
                    <a:pt x="775" y="426"/>
                  </a:cubicBezTo>
                  <a:close/>
                  <a:moveTo>
                    <a:pt x="739" y="421"/>
                  </a:moveTo>
                  <a:cubicBezTo>
                    <a:pt x="741" y="422"/>
                    <a:pt x="745" y="420"/>
                    <a:pt x="743" y="419"/>
                  </a:cubicBezTo>
                  <a:cubicBezTo>
                    <a:pt x="743" y="421"/>
                    <a:pt x="738" y="418"/>
                    <a:pt x="739" y="421"/>
                  </a:cubicBezTo>
                  <a:close/>
                  <a:moveTo>
                    <a:pt x="825" y="422"/>
                  </a:moveTo>
                  <a:cubicBezTo>
                    <a:pt x="828" y="421"/>
                    <a:pt x="830" y="422"/>
                    <a:pt x="831" y="420"/>
                  </a:cubicBezTo>
                  <a:cubicBezTo>
                    <a:pt x="829" y="419"/>
                    <a:pt x="825" y="419"/>
                    <a:pt x="825" y="422"/>
                  </a:cubicBezTo>
                  <a:close/>
                  <a:moveTo>
                    <a:pt x="734" y="428"/>
                  </a:moveTo>
                  <a:cubicBezTo>
                    <a:pt x="744" y="430"/>
                    <a:pt x="754" y="429"/>
                    <a:pt x="762" y="426"/>
                  </a:cubicBezTo>
                  <a:cubicBezTo>
                    <a:pt x="755" y="419"/>
                    <a:pt x="740" y="423"/>
                    <a:pt x="734" y="428"/>
                  </a:cubicBezTo>
                  <a:close/>
                  <a:moveTo>
                    <a:pt x="855" y="428"/>
                  </a:moveTo>
                  <a:cubicBezTo>
                    <a:pt x="860" y="426"/>
                    <a:pt x="872" y="428"/>
                    <a:pt x="872" y="424"/>
                  </a:cubicBezTo>
                  <a:cubicBezTo>
                    <a:pt x="869" y="427"/>
                    <a:pt x="855" y="421"/>
                    <a:pt x="855" y="428"/>
                  </a:cubicBezTo>
                  <a:close/>
                  <a:moveTo>
                    <a:pt x="953" y="427"/>
                  </a:moveTo>
                  <a:cubicBezTo>
                    <a:pt x="953" y="425"/>
                    <a:pt x="953" y="424"/>
                    <a:pt x="952" y="424"/>
                  </a:cubicBezTo>
                  <a:cubicBezTo>
                    <a:pt x="951" y="424"/>
                    <a:pt x="950" y="425"/>
                    <a:pt x="948" y="424"/>
                  </a:cubicBezTo>
                  <a:cubicBezTo>
                    <a:pt x="951" y="428"/>
                    <a:pt x="951" y="434"/>
                    <a:pt x="956" y="436"/>
                  </a:cubicBezTo>
                  <a:cubicBezTo>
                    <a:pt x="954" y="431"/>
                    <a:pt x="956" y="426"/>
                    <a:pt x="954" y="424"/>
                  </a:cubicBezTo>
                  <a:cubicBezTo>
                    <a:pt x="953" y="425"/>
                    <a:pt x="956" y="427"/>
                    <a:pt x="953" y="427"/>
                  </a:cubicBezTo>
                  <a:close/>
                  <a:moveTo>
                    <a:pt x="817" y="430"/>
                  </a:moveTo>
                  <a:cubicBezTo>
                    <a:pt x="821" y="429"/>
                    <a:pt x="827" y="433"/>
                    <a:pt x="828" y="428"/>
                  </a:cubicBezTo>
                  <a:cubicBezTo>
                    <a:pt x="824" y="426"/>
                    <a:pt x="818" y="425"/>
                    <a:pt x="817" y="430"/>
                  </a:cubicBezTo>
                  <a:close/>
                  <a:moveTo>
                    <a:pt x="783" y="430"/>
                  </a:moveTo>
                  <a:cubicBezTo>
                    <a:pt x="789" y="430"/>
                    <a:pt x="796" y="433"/>
                    <a:pt x="799" y="428"/>
                  </a:cubicBezTo>
                  <a:cubicBezTo>
                    <a:pt x="795" y="429"/>
                    <a:pt x="786" y="428"/>
                    <a:pt x="783" y="430"/>
                  </a:cubicBezTo>
                  <a:close/>
                  <a:moveTo>
                    <a:pt x="757" y="433"/>
                  </a:moveTo>
                  <a:cubicBezTo>
                    <a:pt x="762" y="433"/>
                    <a:pt x="766" y="431"/>
                    <a:pt x="771" y="433"/>
                  </a:cubicBezTo>
                  <a:cubicBezTo>
                    <a:pt x="768" y="430"/>
                    <a:pt x="759" y="431"/>
                    <a:pt x="757" y="433"/>
                  </a:cubicBezTo>
                  <a:close/>
                  <a:moveTo>
                    <a:pt x="824" y="436"/>
                  </a:moveTo>
                  <a:cubicBezTo>
                    <a:pt x="828" y="437"/>
                    <a:pt x="829" y="439"/>
                    <a:pt x="832" y="440"/>
                  </a:cubicBezTo>
                  <a:cubicBezTo>
                    <a:pt x="834" y="438"/>
                    <a:pt x="838" y="437"/>
                    <a:pt x="838" y="434"/>
                  </a:cubicBezTo>
                  <a:cubicBezTo>
                    <a:pt x="834" y="433"/>
                    <a:pt x="826" y="433"/>
                    <a:pt x="824" y="436"/>
                  </a:cubicBezTo>
                  <a:close/>
                  <a:moveTo>
                    <a:pt x="792" y="437"/>
                  </a:moveTo>
                  <a:cubicBezTo>
                    <a:pt x="795" y="438"/>
                    <a:pt x="796" y="443"/>
                    <a:pt x="799" y="445"/>
                  </a:cubicBezTo>
                  <a:cubicBezTo>
                    <a:pt x="800" y="443"/>
                    <a:pt x="799" y="438"/>
                    <a:pt x="800" y="435"/>
                  </a:cubicBezTo>
                  <a:cubicBezTo>
                    <a:pt x="797" y="437"/>
                    <a:pt x="793" y="434"/>
                    <a:pt x="792" y="437"/>
                  </a:cubicBezTo>
                  <a:close/>
                  <a:moveTo>
                    <a:pt x="811" y="452"/>
                  </a:moveTo>
                  <a:cubicBezTo>
                    <a:pt x="817" y="451"/>
                    <a:pt x="821" y="447"/>
                    <a:pt x="825" y="443"/>
                  </a:cubicBezTo>
                  <a:cubicBezTo>
                    <a:pt x="818" y="437"/>
                    <a:pt x="809" y="441"/>
                    <a:pt x="811" y="452"/>
                  </a:cubicBezTo>
                  <a:close/>
                  <a:moveTo>
                    <a:pt x="835" y="442"/>
                  </a:moveTo>
                  <a:cubicBezTo>
                    <a:pt x="836" y="443"/>
                    <a:pt x="837" y="443"/>
                    <a:pt x="839" y="443"/>
                  </a:cubicBezTo>
                  <a:cubicBezTo>
                    <a:pt x="839" y="441"/>
                    <a:pt x="839" y="440"/>
                    <a:pt x="838" y="439"/>
                  </a:cubicBezTo>
                  <a:cubicBezTo>
                    <a:pt x="837" y="439"/>
                    <a:pt x="837" y="439"/>
                    <a:pt x="836" y="439"/>
                  </a:cubicBezTo>
                  <a:cubicBezTo>
                    <a:pt x="836" y="441"/>
                    <a:pt x="835" y="441"/>
                    <a:pt x="835" y="442"/>
                  </a:cubicBezTo>
                  <a:close/>
                  <a:moveTo>
                    <a:pt x="847" y="451"/>
                  </a:moveTo>
                  <a:cubicBezTo>
                    <a:pt x="845" y="449"/>
                    <a:pt x="847" y="443"/>
                    <a:pt x="844" y="441"/>
                  </a:cubicBezTo>
                  <a:cubicBezTo>
                    <a:pt x="843" y="444"/>
                    <a:pt x="843" y="452"/>
                    <a:pt x="847" y="451"/>
                  </a:cubicBezTo>
                  <a:close/>
                  <a:moveTo>
                    <a:pt x="816" y="453"/>
                  </a:moveTo>
                  <a:cubicBezTo>
                    <a:pt x="816" y="456"/>
                    <a:pt x="819" y="456"/>
                    <a:pt x="820" y="457"/>
                  </a:cubicBezTo>
                  <a:cubicBezTo>
                    <a:pt x="824" y="454"/>
                    <a:pt x="830" y="453"/>
                    <a:pt x="833" y="449"/>
                  </a:cubicBezTo>
                  <a:cubicBezTo>
                    <a:pt x="828" y="440"/>
                    <a:pt x="823" y="453"/>
                    <a:pt x="816" y="453"/>
                  </a:cubicBezTo>
                  <a:close/>
                  <a:moveTo>
                    <a:pt x="825" y="459"/>
                  </a:moveTo>
                  <a:cubicBezTo>
                    <a:pt x="831" y="465"/>
                    <a:pt x="843" y="462"/>
                    <a:pt x="839" y="451"/>
                  </a:cubicBezTo>
                  <a:cubicBezTo>
                    <a:pt x="833" y="453"/>
                    <a:pt x="828" y="455"/>
                    <a:pt x="825" y="459"/>
                  </a:cubicBezTo>
                  <a:close/>
                  <a:moveTo>
                    <a:pt x="805" y="465"/>
                  </a:moveTo>
                  <a:cubicBezTo>
                    <a:pt x="805" y="465"/>
                    <a:pt x="807" y="466"/>
                    <a:pt x="807" y="465"/>
                  </a:cubicBezTo>
                  <a:cubicBezTo>
                    <a:pt x="805" y="464"/>
                    <a:pt x="808" y="463"/>
                    <a:pt x="807" y="462"/>
                  </a:cubicBezTo>
                  <a:cubicBezTo>
                    <a:pt x="806" y="462"/>
                    <a:pt x="805" y="463"/>
                    <a:pt x="805" y="465"/>
                  </a:cubicBezTo>
                  <a:close/>
                  <a:moveTo>
                    <a:pt x="837" y="466"/>
                  </a:moveTo>
                  <a:cubicBezTo>
                    <a:pt x="838" y="466"/>
                    <a:pt x="840" y="466"/>
                    <a:pt x="840" y="465"/>
                  </a:cubicBezTo>
                  <a:cubicBezTo>
                    <a:pt x="839" y="464"/>
                    <a:pt x="840" y="462"/>
                    <a:pt x="837" y="463"/>
                  </a:cubicBezTo>
                  <a:cubicBezTo>
                    <a:pt x="837" y="463"/>
                    <a:pt x="837" y="464"/>
                    <a:pt x="837" y="466"/>
                  </a:cubicBezTo>
                  <a:close/>
                  <a:moveTo>
                    <a:pt x="814" y="464"/>
                  </a:moveTo>
                  <a:cubicBezTo>
                    <a:pt x="813" y="468"/>
                    <a:pt x="819" y="467"/>
                    <a:pt x="818" y="471"/>
                  </a:cubicBezTo>
                  <a:cubicBezTo>
                    <a:pt x="822" y="471"/>
                    <a:pt x="823" y="469"/>
                    <a:pt x="826" y="467"/>
                  </a:cubicBezTo>
                  <a:cubicBezTo>
                    <a:pt x="822" y="466"/>
                    <a:pt x="819" y="462"/>
                    <a:pt x="814" y="464"/>
                  </a:cubicBezTo>
                  <a:close/>
                  <a:moveTo>
                    <a:pt x="849" y="476"/>
                  </a:moveTo>
                  <a:cubicBezTo>
                    <a:pt x="849" y="471"/>
                    <a:pt x="849" y="467"/>
                    <a:pt x="846" y="466"/>
                  </a:cubicBezTo>
                  <a:cubicBezTo>
                    <a:pt x="844" y="469"/>
                    <a:pt x="846" y="475"/>
                    <a:pt x="849" y="476"/>
                  </a:cubicBezTo>
                  <a:close/>
                  <a:moveTo>
                    <a:pt x="811" y="476"/>
                  </a:moveTo>
                  <a:cubicBezTo>
                    <a:pt x="818" y="477"/>
                    <a:pt x="817" y="467"/>
                    <a:pt x="811" y="467"/>
                  </a:cubicBezTo>
                  <a:cubicBezTo>
                    <a:pt x="811" y="469"/>
                    <a:pt x="809" y="473"/>
                    <a:pt x="811" y="476"/>
                  </a:cubicBezTo>
                  <a:close/>
                  <a:moveTo>
                    <a:pt x="822" y="474"/>
                  </a:moveTo>
                  <a:cubicBezTo>
                    <a:pt x="822" y="475"/>
                    <a:pt x="822" y="476"/>
                    <a:pt x="822" y="477"/>
                  </a:cubicBezTo>
                  <a:cubicBezTo>
                    <a:pt x="824" y="477"/>
                    <a:pt x="824" y="478"/>
                    <a:pt x="826" y="478"/>
                  </a:cubicBezTo>
                  <a:cubicBezTo>
                    <a:pt x="828" y="475"/>
                    <a:pt x="833" y="475"/>
                    <a:pt x="835" y="471"/>
                  </a:cubicBezTo>
                  <a:cubicBezTo>
                    <a:pt x="830" y="467"/>
                    <a:pt x="826" y="472"/>
                    <a:pt x="822" y="474"/>
                  </a:cubicBezTo>
                  <a:close/>
                  <a:moveTo>
                    <a:pt x="825" y="482"/>
                  </a:moveTo>
                  <a:cubicBezTo>
                    <a:pt x="829" y="485"/>
                    <a:pt x="836" y="487"/>
                    <a:pt x="841" y="483"/>
                  </a:cubicBezTo>
                  <a:cubicBezTo>
                    <a:pt x="842" y="480"/>
                    <a:pt x="841" y="479"/>
                    <a:pt x="841" y="475"/>
                  </a:cubicBezTo>
                  <a:cubicBezTo>
                    <a:pt x="834" y="473"/>
                    <a:pt x="831" y="480"/>
                    <a:pt x="825" y="482"/>
                  </a:cubicBezTo>
                  <a:close/>
                  <a:moveTo>
                    <a:pt x="802" y="482"/>
                  </a:moveTo>
                  <a:cubicBezTo>
                    <a:pt x="804" y="483"/>
                    <a:pt x="806" y="480"/>
                    <a:pt x="806" y="478"/>
                  </a:cubicBezTo>
                  <a:cubicBezTo>
                    <a:pt x="804" y="477"/>
                    <a:pt x="803" y="476"/>
                    <a:pt x="801" y="476"/>
                  </a:cubicBezTo>
                  <a:cubicBezTo>
                    <a:pt x="801" y="478"/>
                    <a:pt x="802" y="479"/>
                    <a:pt x="802" y="482"/>
                  </a:cubicBezTo>
                  <a:close/>
                  <a:moveTo>
                    <a:pt x="816" y="477"/>
                  </a:moveTo>
                  <a:cubicBezTo>
                    <a:pt x="816" y="479"/>
                    <a:pt x="819" y="480"/>
                    <a:pt x="822" y="480"/>
                  </a:cubicBezTo>
                  <a:cubicBezTo>
                    <a:pt x="821" y="475"/>
                    <a:pt x="819" y="476"/>
                    <a:pt x="816" y="477"/>
                  </a:cubicBezTo>
                  <a:close/>
                  <a:moveTo>
                    <a:pt x="813" y="482"/>
                  </a:moveTo>
                  <a:cubicBezTo>
                    <a:pt x="814" y="482"/>
                    <a:pt x="814" y="483"/>
                    <a:pt x="816" y="482"/>
                  </a:cubicBezTo>
                  <a:cubicBezTo>
                    <a:pt x="816" y="482"/>
                    <a:pt x="816" y="481"/>
                    <a:pt x="816" y="480"/>
                  </a:cubicBezTo>
                  <a:cubicBezTo>
                    <a:pt x="814" y="480"/>
                    <a:pt x="813" y="481"/>
                    <a:pt x="813" y="482"/>
                  </a:cubicBezTo>
                  <a:close/>
                  <a:moveTo>
                    <a:pt x="812" y="487"/>
                  </a:moveTo>
                  <a:cubicBezTo>
                    <a:pt x="813" y="485"/>
                    <a:pt x="812" y="484"/>
                    <a:pt x="811" y="484"/>
                  </a:cubicBezTo>
                  <a:cubicBezTo>
                    <a:pt x="810" y="485"/>
                    <a:pt x="810" y="487"/>
                    <a:pt x="812" y="487"/>
                  </a:cubicBezTo>
                  <a:close/>
                  <a:moveTo>
                    <a:pt x="805" y="490"/>
                  </a:moveTo>
                  <a:cubicBezTo>
                    <a:pt x="806" y="489"/>
                    <a:pt x="807" y="484"/>
                    <a:pt x="805" y="484"/>
                  </a:cubicBezTo>
                  <a:cubicBezTo>
                    <a:pt x="805" y="487"/>
                    <a:pt x="803" y="489"/>
                    <a:pt x="805" y="490"/>
                  </a:cubicBezTo>
                  <a:close/>
                  <a:moveTo>
                    <a:pt x="809" y="500"/>
                  </a:moveTo>
                  <a:cubicBezTo>
                    <a:pt x="814" y="500"/>
                    <a:pt x="820" y="494"/>
                    <a:pt x="826" y="491"/>
                  </a:cubicBezTo>
                  <a:cubicBezTo>
                    <a:pt x="818" y="483"/>
                    <a:pt x="807" y="488"/>
                    <a:pt x="809" y="500"/>
                  </a:cubicBezTo>
                  <a:close/>
                  <a:moveTo>
                    <a:pt x="838" y="487"/>
                  </a:moveTo>
                  <a:cubicBezTo>
                    <a:pt x="838" y="489"/>
                    <a:pt x="839" y="490"/>
                    <a:pt x="842" y="490"/>
                  </a:cubicBezTo>
                  <a:cubicBezTo>
                    <a:pt x="842" y="489"/>
                    <a:pt x="842" y="488"/>
                    <a:pt x="842" y="487"/>
                  </a:cubicBezTo>
                  <a:cubicBezTo>
                    <a:pt x="841" y="486"/>
                    <a:pt x="839" y="486"/>
                    <a:pt x="838" y="487"/>
                  </a:cubicBezTo>
                  <a:close/>
                  <a:moveTo>
                    <a:pt x="850" y="498"/>
                  </a:moveTo>
                  <a:cubicBezTo>
                    <a:pt x="851" y="496"/>
                    <a:pt x="850" y="490"/>
                    <a:pt x="848" y="488"/>
                  </a:cubicBezTo>
                  <a:cubicBezTo>
                    <a:pt x="846" y="491"/>
                    <a:pt x="846" y="498"/>
                    <a:pt x="850" y="498"/>
                  </a:cubicBezTo>
                  <a:close/>
                  <a:moveTo>
                    <a:pt x="697" y="493"/>
                  </a:moveTo>
                  <a:cubicBezTo>
                    <a:pt x="701" y="494"/>
                    <a:pt x="701" y="489"/>
                    <a:pt x="698" y="489"/>
                  </a:cubicBezTo>
                  <a:cubicBezTo>
                    <a:pt x="698" y="491"/>
                    <a:pt x="697" y="491"/>
                    <a:pt x="697" y="493"/>
                  </a:cubicBezTo>
                  <a:close/>
                  <a:moveTo>
                    <a:pt x="829" y="493"/>
                  </a:moveTo>
                  <a:cubicBezTo>
                    <a:pt x="823" y="497"/>
                    <a:pt x="815" y="500"/>
                    <a:pt x="811" y="504"/>
                  </a:cubicBezTo>
                  <a:cubicBezTo>
                    <a:pt x="818" y="520"/>
                    <a:pt x="830" y="505"/>
                    <a:pt x="836" y="497"/>
                  </a:cubicBezTo>
                  <a:cubicBezTo>
                    <a:pt x="835" y="495"/>
                    <a:pt x="833" y="493"/>
                    <a:pt x="829" y="493"/>
                  </a:cubicBezTo>
                  <a:close/>
                  <a:moveTo>
                    <a:pt x="803" y="498"/>
                  </a:moveTo>
                  <a:cubicBezTo>
                    <a:pt x="805" y="496"/>
                    <a:pt x="803" y="494"/>
                    <a:pt x="801" y="494"/>
                  </a:cubicBezTo>
                  <a:cubicBezTo>
                    <a:pt x="800" y="497"/>
                    <a:pt x="801" y="498"/>
                    <a:pt x="803" y="498"/>
                  </a:cubicBezTo>
                  <a:close/>
                  <a:moveTo>
                    <a:pt x="827" y="514"/>
                  </a:moveTo>
                  <a:cubicBezTo>
                    <a:pt x="835" y="512"/>
                    <a:pt x="848" y="513"/>
                    <a:pt x="840" y="502"/>
                  </a:cubicBezTo>
                  <a:cubicBezTo>
                    <a:pt x="840" y="501"/>
                    <a:pt x="843" y="499"/>
                    <a:pt x="840" y="499"/>
                  </a:cubicBezTo>
                  <a:cubicBezTo>
                    <a:pt x="837" y="505"/>
                    <a:pt x="827" y="507"/>
                    <a:pt x="827" y="514"/>
                  </a:cubicBezTo>
                  <a:close/>
                  <a:moveTo>
                    <a:pt x="801" y="509"/>
                  </a:moveTo>
                  <a:cubicBezTo>
                    <a:pt x="805" y="509"/>
                    <a:pt x="804" y="501"/>
                    <a:pt x="801" y="501"/>
                  </a:cubicBezTo>
                  <a:cubicBezTo>
                    <a:pt x="801" y="504"/>
                    <a:pt x="801" y="506"/>
                    <a:pt x="801" y="509"/>
                  </a:cubicBezTo>
                  <a:close/>
                  <a:moveTo>
                    <a:pt x="809" y="514"/>
                  </a:moveTo>
                  <a:cubicBezTo>
                    <a:pt x="812" y="513"/>
                    <a:pt x="814" y="515"/>
                    <a:pt x="816" y="514"/>
                  </a:cubicBezTo>
                  <a:cubicBezTo>
                    <a:pt x="814" y="511"/>
                    <a:pt x="811" y="510"/>
                    <a:pt x="809" y="508"/>
                  </a:cubicBezTo>
                  <a:cubicBezTo>
                    <a:pt x="808" y="509"/>
                    <a:pt x="809" y="511"/>
                    <a:pt x="809" y="514"/>
                  </a:cubicBezTo>
                  <a:close/>
                  <a:moveTo>
                    <a:pt x="835" y="521"/>
                  </a:moveTo>
                  <a:cubicBezTo>
                    <a:pt x="838" y="523"/>
                    <a:pt x="840" y="521"/>
                    <a:pt x="843" y="522"/>
                  </a:cubicBezTo>
                  <a:cubicBezTo>
                    <a:pt x="843" y="520"/>
                    <a:pt x="843" y="517"/>
                    <a:pt x="843" y="515"/>
                  </a:cubicBezTo>
                  <a:cubicBezTo>
                    <a:pt x="840" y="516"/>
                    <a:pt x="838" y="519"/>
                    <a:pt x="835" y="521"/>
                  </a:cubicBezTo>
                  <a:close/>
                  <a:moveTo>
                    <a:pt x="809" y="517"/>
                  </a:moveTo>
                  <a:cubicBezTo>
                    <a:pt x="810" y="520"/>
                    <a:pt x="807" y="523"/>
                    <a:pt x="809" y="523"/>
                  </a:cubicBezTo>
                  <a:cubicBezTo>
                    <a:pt x="811" y="520"/>
                    <a:pt x="816" y="519"/>
                    <a:pt x="815" y="516"/>
                  </a:cubicBezTo>
                  <a:cubicBezTo>
                    <a:pt x="813" y="517"/>
                    <a:pt x="810" y="516"/>
                    <a:pt x="809" y="517"/>
                  </a:cubicBezTo>
                  <a:close/>
                  <a:moveTo>
                    <a:pt x="831" y="521"/>
                  </a:moveTo>
                  <a:cubicBezTo>
                    <a:pt x="833" y="519"/>
                    <a:pt x="835" y="519"/>
                    <a:pt x="835" y="516"/>
                  </a:cubicBezTo>
                  <a:cubicBezTo>
                    <a:pt x="831" y="516"/>
                    <a:pt x="830" y="516"/>
                    <a:pt x="825" y="516"/>
                  </a:cubicBezTo>
                  <a:cubicBezTo>
                    <a:pt x="826" y="519"/>
                    <a:pt x="828" y="520"/>
                    <a:pt x="831" y="521"/>
                  </a:cubicBezTo>
                  <a:close/>
                  <a:moveTo>
                    <a:pt x="803" y="521"/>
                  </a:moveTo>
                  <a:cubicBezTo>
                    <a:pt x="805" y="522"/>
                    <a:pt x="806" y="517"/>
                    <a:pt x="803" y="517"/>
                  </a:cubicBezTo>
                  <a:cubicBezTo>
                    <a:pt x="802" y="517"/>
                    <a:pt x="803" y="520"/>
                    <a:pt x="803" y="521"/>
                  </a:cubicBezTo>
                  <a:close/>
                  <a:moveTo>
                    <a:pt x="848" y="520"/>
                  </a:moveTo>
                  <a:cubicBezTo>
                    <a:pt x="849" y="519"/>
                    <a:pt x="849" y="517"/>
                    <a:pt x="848" y="517"/>
                  </a:cubicBezTo>
                  <a:cubicBezTo>
                    <a:pt x="847" y="518"/>
                    <a:pt x="847" y="519"/>
                    <a:pt x="848" y="520"/>
                  </a:cubicBezTo>
                  <a:close/>
                  <a:moveTo>
                    <a:pt x="816" y="523"/>
                  </a:moveTo>
                  <a:cubicBezTo>
                    <a:pt x="819" y="522"/>
                    <a:pt x="821" y="522"/>
                    <a:pt x="825" y="522"/>
                  </a:cubicBezTo>
                  <a:cubicBezTo>
                    <a:pt x="824" y="517"/>
                    <a:pt x="816" y="517"/>
                    <a:pt x="816" y="523"/>
                  </a:cubicBezTo>
                  <a:close/>
                  <a:moveTo>
                    <a:pt x="779" y="526"/>
                  </a:moveTo>
                  <a:cubicBezTo>
                    <a:pt x="784" y="528"/>
                    <a:pt x="791" y="528"/>
                    <a:pt x="794" y="525"/>
                  </a:cubicBezTo>
                  <a:cubicBezTo>
                    <a:pt x="793" y="524"/>
                    <a:pt x="792" y="523"/>
                    <a:pt x="792" y="523"/>
                  </a:cubicBezTo>
                  <a:cubicBezTo>
                    <a:pt x="793" y="522"/>
                    <a:pt x="794" y="522"/>
                    <a:pt x="794" y="519"/>
                  </a:cubicBezTo>
                  <a:cubicBezTo>
                    <a:pt x="793" y="519"/>
                    <a:pt x="793" y="518"/>
                    <a:pt x="792" y="519"/>
                  </a:cubicBezTo>
                  <a:cubicBezTo>
                    <a:pt x="790" y="523"/>
                    <a:pt x="782" y="521"/>
                    <a:pt x="779" y="526"/>
                  </a:cubicBezTo>
                  <a:close/>
                  <a:moveTo>
                    <a:pt x="867" y="521"/>
                  </a:moveTo>
                  <a:cubicBezTo>
                    <a:pt x="863" y="520"/>
                    <a:pt x="861" y="519"/>
                    <a:pt x="857" y="519"/>
                  </a:cubicBezTo>
                  <a:cubicBezTo>
                    <a:pt x="857" y="522"/>
                    <a:pt x="866" y="523"/>
                    <a:pt x="867" y="521"/>
                  </a:cubicBezTo>
                  <a:close/>
                  <a:moveTo>
                    <a:pt x="884" y="525"/>
                  </a:moveTo>
                  <a:cubicBezTo>
                    <a:pt x="879" y="524"/>
                    <a:pt x="876" y="522"/>
                    <a:pt x="871" y="522"/>
                  </a:cubicBezTo>
                  <a:cubicBezTo>
                    <a:pt x="873" y="525"/>
                    <a:pt x="880" y="526"/>
                    <a:pt x="884" y="525"/>
                  </a:cubicBezTo>
                  <a:close/>
                  <a:moveTo>
                    <a:pt x="844" y="532"/>
                  </a:moveTo>
                  <a:cubicBezTo>
                    <a:pt x="844" y="530"/>
                    <a:pt x="844" y="526"/>
                    <a:pt x="843" y="524"/>
                  </a:cubicBezTo>
                  <a:cubicBezTo>
                    <a:pt x="840" y="524"/>
                    <a:pt x="837" y="524"/>
                    <a:pt x="835" y="524"/>
                  </a:cubicBezTo>
                  <a:cubicBezTo>
                    <a:pt x="837" y="528"/>
                    <a:pt x="841" y="530"/>
                    <a:pt x="844" y="532"/>
                  </a:cubicBezTo>
                  <a:close/>
                  <a:moveTo>
                    <a:pt x="853" y="534"/>
                  </a:moveTo>
                  <a:cubicBezTo>
                    <a:pt x="852" y="530"/>
                    <a:pt x="854" y="525"/>
                    <a:pt x="850" y="525"/>
                  </a:cubicBezTo>
                  <a:cubicBezTo>
                    <a:pt x="850" y="528"/>
                    <a:pt x="847" y="535"/>
                    <a:pt x="853" y="534"/>
                  </a:cubicBezTo>
                  <a:close/>
                  <a:moveTo>
                    <a:pt x="809" y="527"/>
                  </a:moveTo>
                  <a:cubicBezTo>
                    <a:pt x="809" y="528"/>
                    <a:pt x="809" y="529"/>
                    <a:pt x="808" y="529"/>
                  </a:cubicBezTo>
                  <a:cubicBezTo>
                    <a:pt x="808" y="531"/>
                    <a:pt x="810" y="532"/>
                    <a:pt x="811" y="533"/>
                  </a:cubicBezTo>
                  <a:cubicBezTo>
                    <a:pt x="809" y="533"/>
                    <a:pt x="808" y="535"/>
                    <a:pt x="809" y="536"/>
                  </a:cubicBezTo>
                  <a:cubicBezTo>
                    <a:pt x="817" y="536"/>
                    <a:pt x="822" y="532"/>
                    <a:pt x="825" y="525"/>
                  </a:cubicBezTo>
                  <a:cubicBezTo>
                    <a:pt x="821" y="527"/>
                    <a:pt x="813" y="525"/>
                    <a:pt x="809" y="527"/>
                  </a:cubicBezTo>
                  <a:close/>
                  <a:moveTo>
                    <a:pt x="857" y="527"/>
                  </a:moveTo>
                  <a:cubicBezTo>
                    <a:pt x="859" y="528"/>
                    <a:pt x="857" y="533"/>
                    <a:pt x="859" y="535"/>
                  </a:cubicBezTo>
                  <a:cubicBezTo>
                    <a:pt x="863" y="534"/>
                    <a:pt x="864" y="535"/>
                    <a:pt x="868" y="533"/>
                  </a:cubicBezTo>
                  <a:cubicBezTo>
                    <a:pt x="870" y="530"/>
                    <a:pt x="866" y="530"/>
                    <a:pt x="868" y="527"/>
                  </a:cubicBezTo>
                  <a:cubicBezTo>
                    <a:pt x="866" y="527"/>
                    <a:pt x="865" y="526"/>
                    <a:pt x="863" y="526"/>
                  </a:cubicBezTo>
                  <a:cubicBezTo>
                    <a:pt x="861" y="528"/>
                    <a:pt x="866" y="529"/>
                    <a:pt x="865" y="532"/>
                  </a:cubicBezTo>
                  <a:cubicBezTo>
                    <a:pt x="865" y="532"/>
                    <a:pt x="865" y="532"/>
                    <a:pt x="864" y="532"/>
                  </a:cubicBezTo>
                  <a:cubicBezTo>
                    <a:pt x="863" y="529"/>
                    <a:pt x="858" y="530"/>
                    <a:pt x="859" y="525"/>
                  </a:cubicBezTo>
                  <a:cubicBezTo>
                    <a:pt x="858" y="525"/>
                    <a:pt x="857" y="526"/>
                    <a:pt x="857" y="527"/>
                  </a:cubicBezTo>
                  <a:close/>
                  <a:moveTo>
                    <a:pt x="831" y="527"/>
                  </a:moveTo>
                  <a:cubicBezTo>
                    <a:pt x="827" y="528"/>
                    <a:pt x="824" y="532"/>
                    <a:pt x="821" y="536"/>
                  </a:cubicBezTo>
                  <a:cubicBezTo>
                    <a:pt x="829" y="535"/>
                    <a:pt x="834" y="535"/>
                    <a:pt x="841" y="536"/>
                  </a:cubicBezTo>
                  <a:cubicBezTo>
                    <a:pt x="839" y="531"/>
                    <a:pt x="835" y="529"/>
                    <a:pt x="831" y="527"/>
                  </a:cubicBezTo>
                  <a:close/>
                  <a:moveTo>
                    <a:pt x="744" y="539"/>
                  </a:moveTo>
                  <a:cubicBezTo>
                    <a:pt x="757" y="536"/>
                    <a:pt x="771" y="533"/>
                    <a:pt x="783" y="528"/>
                  </a:cubicBezTo>
                  <a:cubicBezTo>
                    <a:pt x="766" y="525"/>
                    <a:pt x="756" y="535"/>
                    <a:pt x="744" y="539"/>
                  </a:cubicBezTo>
                  <a:close/>
                  <a:moveTo>
                    <a:pt x="799" y="532"/>
                  </a:moveTo>
                  <a:cubicBezTo>
                    <a:pt x="801" y="532"/>
                    <a:pt x="801" y="528"/>
                    <a:pt x="799" y="528"/>
                  </a:cubicBezTo>
                  <a:cubicBezTo>
                    <a:pt x="797" y="529"/>
                    <a:pt x="798" y="530"/>
                    <a:pt x="799" y="532"/>
                  </a:cubicBezTo>
                  <a:close/>
                  <a:moveTo>
                    <a:pt x="872" y="534"/>
                  </a:moveTo>
                  <a:cubicBezTo>
                    <a:pt x="876" y="533"/>
                    <a:pt x="880" y="532"/>
                    <a:pt x="881" y="528"/>
                  </a:cubicBezTo>
                  <a:cubicBezTo>
                    <a:pt x="875" y="529"/>
                    <a:pt x="873" y="528"/>
                    <a:pt x="872" y="534"/>
                  </a:cubicBezTo>
                  <a:close/>
                  <a:moveTo>
                    <a:pt x="787" y="532"/>
                  </a:moveTo>
                  <a:cubicBezTo>
                    <a:pt x="788" y="534"/>
                    <a:pt x="790" y="535"/>
                    <a:pt x="792" y="536"/>
                  </a:cubicBezTo>
                  <a:cubicBezTo>
                    <a:pt x="792" y="532"/>
                    <a:pt x="791" y="533"/>
                    <a:pt x="793" y="530"/>
                  </a:cubicBezTo>
                  <a:cubicBezTo>
                    <a:pt x="790" y="530"/>
                    <a:pt x="790" y="532"/>
                    <a:pt x="787" y="532"/>
                  </a:cubicBezTo>
                  <a:close/>
                  <a:moveTo>
                    <a:pt x="878" y="535"/>
                  </a:moveTo>
                  <a:cubicBezTo>
                    <a:pt x="884" y="535"/>
                    <a:pt x="890" y="535"/>
                    <a:pt x="891" y="531"/>
                  </a:cubicBezTo>
                  <a:cubicBezTo>
                    <a:pt x="887" y="529"/>
                    <a:pt x="879" y="530"/>
                    <a:pt x="878" y="535"/>
                  </a:cubicBezTo>
                  <a:close/>
                  <a:moveTo>
                    <a:pt x="893" y="535"/>
                  </a:moveTo>
                  <a:cubicBezTo>
                    <a:pt x="894" y="535"/>
                    <a:pt x="901" y="535"/>
                    <a:pt x="902" y="533"/>
                  </a:cubicBezTo>
                  <a:cubicBezTo>
                    <a:pt x="900" y="532"/>
                    <a:pt x="893" y="531"/>
                    <a:pt x="893" y="535"/>
                  </a:cubicBezTo>
                  <a:close/>
                  <a:moveTo>
                    <a:pt x="776" y="534"/>
                  </a:moveTo>
                  <a:cubicBezTo>
                    <a:pt x="775" y="535"/>
                    <a:pt x="776" y="538"/>
                    <a:pt x="775" y="538"/>
                  </a:cubicBezTo>
                  <a:cubicBezTo>
                    <a:pt x="774" y="534"/>
                    <a:pt x="768" y="536"/>
                    <a:pt x="767" y="538"/>
                  </a:cubicBezTo>
                  <a:cubicBezTo>
                    <a:pt x="773" y="541"/>
                    <a:pt x="782" y="538"/>
                    <a:pt x="788" y="538"/>
                  </a:cubicBezTo>
                  <a:cubicBezTo>
                    <a:pt x="786" y="533"/>
                    <a:pt x="781" y="533"/>
                    <a:pt x="776" y="534"/>
                  </a:cubicBezTo>
                  <a:close/>
                  <a:moveTo>
                    <a:pt x="911" y="534"/>
                  </a:moveTo>
                  <a:cubicBezTo>
                    <a:pt x="908" y="535"/>
                    <a:pt x="904" y="533"/>
                    <a:pt x="903" y="534"/>
                  </a:cubicBezTo>
                  <a:cubicBezTo>
                    <a:pt x="905" y="535"/>
                    <a:pt x="910" y="537"/>
                    <a:pt x="911" y="534"/>
                  </a:cubicBezTo>
                  <a:close/>
                  <a:moveTo>
                    <a:pt x="854" y="540"/>
                  </a:moveTo>
                  <a:cubicBezTo>
                    <a:pt x="855" y="538"/>
                    <a:pt x="853" y="538"/>
                    <a:pt x="851" y="538"/>
                  </a:cubicBezTo>
                  <a:cubicBezTo>
                    <a:pt x="851" y="540"/>
                    <a:pt x="853" y="540"/>
                    <a:pt x="854" y="540"/>
                  </a:cubicBezTo>
                  <a:close/>
                  <a:moveTo>
                    <a:pt x="859" y="542"/>
                  </a:moveTo>
                  <a:cubicBezTo>
                    <a:pt x="861" y="541"/>
                    <a:pt x="863" y="541"/>
                    <a:pt x="863" y="538"/>
                  </a:cubicBezTo>
                  <a:cubicBezTo>
                    <a:pt x="861" y="537"/>
                    <a:pt x="858" y="538"/>
                    <a:pt x="859" y="542"/>
                  </a:cubicBezTo>
                  <a:close/>
                  <a:moveTo>
                    <a:pt x="872" y="538"/>
                  </a:moveTo>
                  <a:cubicBezTo>
                    <a:pt x="871" y="541"/>
                    <a:pt x="874" y="539"/>
                    <a:pt x="875" y="540"/>
                  </a:cubicBezTo>
                  <a:cubicBezTo>
                    <a:pt x="876" y="537"/>
                    <a:pt x="873" y="537"/>
                    <a:pt x="872" y="538"/>
                  </a:cubicBezTo>
                  <a:close/>
                  <a:moveTo>
                    <a:pt x="879" y="539"/>
                  </a:moveTo>
                  <a:cubicBezTo>
                    <a:pt x="880" y="540"/>
                    <a:pt x="883" y="540"/>
                    <a:pt x="883" y="538"/>
                  </a:cubicBezTo>
                  <a:cubicBezTo>
                    <a:pt x="881" y="538"/>
                    <a:pt x="880" y="537"/>
                    <a:pt x="879" y="539"/>
                  </a:cubicBezTo>
                  <a:close/>
                  <a:moveTo>
                    <a:pt x="751" y="541"/>
                  </a:moveTo>
                  <a:cubicBezTo>
                    <a:pt x="756" y="543"/>
                    <a:pt x="759" y="540"/>
                    <a:pt x="765" y="540"/>
                  </a:cubicBezTo>
                  <a:cubicBezTo>
                    <a:pt x="762" y="535"/>
                    <a:pt x="755" y="541"/>
                    <a:pt x="751" y="541"/>
                  </a:cubicBezTo>
                  <a:close/>
                  <a:moveTo>
                    <a:pt x="864" y="543"/>
                  </a:moveTo>
                  <a:cubicBezTo>
                    <a:pt x="867" y="542"/>
                    <a:pt x="870" y="542"/>
                    <a:pt x="871" y="540"/>
                  </a:cubicBezTo>
                  <a:cubicBezTo>
                    <a:pt x="869" y="539"/>
                    <a:pt x="864" y="538"/>
                    <a:pt x="864" y="543"/>
                  </a:cubicBezTo>
                  <a:close/>
                  <a:moveTo>
                    <a:pt x="797" y="540"/>
                  </a:moveTo>
                  <a:cubicBezTo>
                    <a:pt x="797" y="543"/>
                    <a:pt x="802" y="542"/>
                    <a:pt x="802" y="540"/>
                  </a:cubicBezTo>
                  <a:cubicBezTo>
                    <a:pt x="801" y="540"/>
                    <a:pt x="798" y="540"/>
                    <a:pt x="797" y="540"/>
                  </a:cubicBezTo>
                  <a:close/>
                  <a:moveTo>
                    <a:pt x="827" y="545"/>
                  </a:moveTo>
                  <a:cubicBezTo>
                    <a:pt x="832" y="543"/>
                    <a:pt x="837" y="545"/>
                    <a:pt x="842" y="542"/>
                  </a:cubicBezTo>
                  <a:cubicBezTo>
                    <a:pt x="837" y="540"/>
                    <a:pt x="830" y="541"/>
                    <a:pt x="825" y="540"/>
                  </a:cubicBezTo>
                  <a:cubicBezTo>
                    <a:pt x="824" y="543"/>
                    <a:pt x="828" y="541"/>
                    <a:pt x="827" y="545"/>
                  </a:cubicBezTo>
                  <a:close/>
                  <a:moveTo>
                    <a:pt x="790" y="543"/>
                  </a:moveTo>
                  <a:cubicBezTo>
                    <a:pt x="786" y="543"/>
                    <a:pt x="784" y="543"/>
                    <a:pt x="779" y="543"/>
                  </a:cubicBezTo>
                  <a:cubicBezTo>
                    <a:pt x="781" y="546"/>
                    <a:pt x="788" y="546"/>
                    <a:pt x="792" y="545"/>
                  </a:cubicBezTo>
                  <a:cubicBezTo>
                    <a:pt x="790" y="543"/>
                    <a:pt x="793" y="541"/>
                    <a:pt x="790" y="540"/>
                  </a:cubicBezTo>
                  <a:cubicBezTo>
                    <a:pt x="790" y="541"/>
                    <a:pt x="790" y="542"/>
                    <a:pt x="790" y="543"/>
                  </a:cubicBezTo>
                  <a:close/>
                  <a:moveTo>
                    <a:pt x="822" y="543"/>
                  </a:moveTo>
                  <a:cubicBezTo>
                    <a:pt x="822" y="542"/>
                    <a:pt x="822" y="542"/>
                    <a:pt x="822" y="541"/>
                  </a:cubicBezTo>
                  <a:cubicBezTo>
                    <a:pt x="821" y="541"/>
                    <a:pt x="820" y="541"/>
                    <a:pt x="819" y="541"/>
                  </a:cubicBezTo>
                  <a:cubicBezTo>
                    <a:pt x="818" y="544"/>
                    <a:pt x="822" y="544"/>
                    <a:pt x="822" y="543"/>
                  </a:cubicBezTo>
                  <a:close/>
                  <a:moveTo>
                    <a:pt x="763" y="545"/>
                  </a:moveTo>
                  <a:cubicBezTo>
                    <a:pt x="763" y="547"/>
                    <a:pt x="772" y="547"/>
                    <a:pt x="772" y="545"/>
                  </a:cubicBezTo>
                  <a:cubicBezTo>
                    <a:pt x="770" y="544"/>
                    <a:pt x="765" y="544"/>
                    <a:pt x="763" y="545"/>
                  </a:cubicBezTo>
                  <a:close/>
                  <a:moveTo>
                    <a:pt x="807" y="568"/>
                  </a:moveTo>
                  <a:cubicBezTo>
                    <a:pt x="820" y="569"/>
                    <a:pt x="823" y="557"/>
                    <a:pt x="827" y="549"/>
                  </a:cubicBezTo>
                  <a:cubicBezTo>
                    <a:pt x="815" y="545"/>
                    <a:pt x="806" y="555"/>
                    <a:pt x="807" y="568"/>
                  </a:cubicBezTo>
                  <a:close/>
                  <a:moveTo>
                    <a:pt x="841" y="549"/>
                  </a:moveTo>
                  <a:cubicBezTo>
                    <a:pt x="842" y="550"/>
                    <a:pt x="843" y="550"/>
                    <a:pt x="843" y="551"/>
                  </a:cubicBezTo>
                  <a:cubicBezTo>
                    <a:pt x="841" y="551"/>
                    <a:pt x="840" y="552"/>
                    <a:pt x="839" y="552"/>
                  </a:cubicBezTo>
                  <a:cubicBezTo>
                    <a:pt x="840" y="554"/>
                    <a:pt x="840" y="557"/>
                    <a:pt x="842" y="558"/>
                  </a:cubicBezTo>
                  <a:cubicBezTo>
                    <a:pt x="842" y="555"/>
                    <a:pt x="844" y="558"/>
                    <a:pt x="846" y="557"/>
                  </a:cubicBezTo>
                  <a:cubicBezTo>
                    <a:pt x="847" y="554"/>
                    <a:pt x="844" y="553"/>
                    <a:pt x="842" y="552"/>
                  </a:cubicBezTo>
                  <a:cubicBezTo>
                    <a:pt x="845" y="553"/>
                    <a:pt x="846" y="551"/>
                    <a:pt x="846" y="549"/>
                  </a:cubicBezTo>
                  <a:cubicBezTo>
                    <a:pt x="845" y="548"/>
                    <a:pt x="841" y="547"/>
                    <a:pt x="841" y="549"/>
                  </a:cubicBezTo>
                  <a:close/>
                  <a:moveTo>
                    <a:pt x="809" y="552"/>
                  </a:moveTo>
                  <a:cubicBezTo>
                    <a:pt x="811" y="552"/>
                    <a:pt x="811" y="548"/>
                    <a:pt x="809" y="549"/>
                  </a:cubicBezTo>
                  <a:cubicBezTo>
                    <a:pt x="808" y="549"/>
                    <a:pt x="807" y="553"/>
                    <a:pt x="809" y="552"/>
                  </a:cubicBezTo>
                  <a:close/>
                  <a:moveTo>
                    <a:pt x="801" y="551"/>
                  </a:moveTo>
                  <a:cubicBezTo>
                    <a:pt x="802" y="551"/>
                    <a:pt x="801" y="553"/>
                    <a:pt x="803" y="553"/>
                  </a:cubicBezTo>
                  <a:cubicBezTo>
                    <a:pt x="803" y="552"/>
                    <a:pt x="803" y="551"/>
                    <a:pt x="803" y="550"/>
                  </a:cubicBezTo>
                  <a:cubicBezTo>
                    <a:pt x="802" y="550"/>
                    <a:pt x="801" y="550"/>
                    <a:pt x="801" y="551"/>
                  </a:cubicBezTo>
                  <a:close/>
                  <a:moveTo>
                    <a:pt x="828" y="554"/>
                  </a:moveTo>
                  <a:cubicBezTo>
                    <a:pt x="823" y="563"/>
                    <a:pt x="816" y="571"/>
                    <a:pt x="812" y="581"/>
                  </a:cubicBezTo>
                  <a:cubicBezTo>
                    <a:pt x="823" y="582"/>
                    <a:pt x="836" y="579"/>
                    <a:pt x="848" y="579"/>
                  </a:cubicBezTo>
                  <a:cubicBezTo>
                    <a:pt x="842" y="570"/>
                    <a:pt x="837" y="560"/>
                    <a:pt x="828" y="554"/>
                  </a:cubicBezTo>
                  <a:close/>
                  <a:moveTo>
                    <a:pt x="855" y="562"/>
                  </a:moveTo>
                  <a:cubicBezTo>
                    <a:pt x="857" y="561"/>
                    <a:pt x="855" y="558"/>
                    <a:pt x="854" y="557"/>
                  </a:cubicBezTo>
                  <a:cubicBezTo>
                    <a:pt x="854" y="559"/>
                    <a:pt x="853" y="562"/>
                    <a:pt x="855" y="562"/>
                  </a:cubicBezTo>
                  <a:close/>
                  <a:moveTo>
                    <a:pt x="842" y="564"/>
                  </a:moveTo>
                  <a:cubicBezTo>
                    <a:pt x="842" y="563"/>
                    <a:pt x="841" y="561"/>
                    <a:pt x="840" y="562"/>
                  </a:cubicBezTo>
                  <a:cubicBezTo>
                    <a:pt x="839" y="563"/>
                    <a:pt x="840" y="565"/>
                    <a:pt x="842" y="564"/>
                  </a:cubicBezTo>
                  <a:close/>
                  <a:moveTo>
                    <a:pt x="794" y="575"/>
                  </a:moveTo>
                  <a:cubicBezTo>
                    <a:pt x="795" y="571"/>
                    <a:pt x="799" y="569"/>
                    <a:pt x="799" y="564"/>
                  </a:cubicBezTo>
                  <a:cubicBezTo>
                    <a:pt x="798" y="564"/>
                    <a:pt x="797" y="563"/>
                    <a:pt x="796" y="563"/>
                  </a:cubicBezTo>
                  <a:cubicBezTo>
                    <a:pt x="794" y="565"/>
                    <a:pt x="792" y="573"/>
                    <a:pt x="794" y="575"/>
                  </a:cubicBezTo>
                  <a:close/>
                  <a:moveTo>
                    <a:pt x="848" y="575"/>
                  </a:moveTo>
                  <a:cubicBezTo>
                    <a:pt x="849" y="571"/>
                    <a:pt x="846" y="566"/>
                    <a:pt x="842" y="565"/>
                  </a:cubicBezTo>
                  <a:cubicBezTo>
                    <a:pt x="843" y="569"/>
                    <a:pt x="847" y="571"/>
                    <a:pt x="848" y="575"/>
                  </a:cubicBezTo>
                  <a:close/>
                  <a:moveTo>
                    <a:pt x="859" y="582"/>
                  </a:moveTo>
                  <a:cubicBezTo>
                    <a:pt x="859" y="576"/>
                    <a:pt x="859" y="570"/>
                    <a:pt x="855" y="568"/>
                  </a:cubicBezTo>
                  <a:cubicBezTo>
                    <a:pt x="852" y="575"/>
                    <a:pt x="856" y="579"/>
                    <a:pt x="859" y="582"/>
                  </a:cubicBezTo>
                  <a:close/>
                  <a:moveTo>
                    <a:pt x="805" y="581"/>
                  </a:moveTo>
                  <a:cubicBezTo>
                    <a:pt x="811" y="581"/>
                    <a:pt x="811" y="575"/>
                    <a:pt x="814" y="572"/>
                  </a:cubicBezTo>
                  <a:cubicBezTo>
                    <a:pt x="811" y="570"/>
                    <a:pt x="809" y="572"/>
                    <a:pt x="807" y="571"/>
                  </a:cubicBezTo>
                  <a:cubicBezTo>
                    <a:pt x="805" y="573"/>
                    <a:pt x="805" y="578"/>
                    <a:pt x="805" y="581"/>
                  </a:cubicBezTo>
                  <a:close/>
                  <a:moveTo>
                    <a:pt x="792" y="581"/>
                  </a:moveTo>
                  <a:cubicBezTo>
                    <a:pt x="794" y="583"/>
                    <a:pt x="797" y="582"/>
                    <a:pt x="799" y="581"/>
                  </a:cubicBezTo>
                  <a:cubicBezTo>
                    <a:pt x="799" y="578"/>
                    <a:pt x="799" y="574"/>
                    <a:pt x="797" y="573"/>
                  </a:cubicBezTo>
                  <a:cubicBezTo>
                    <a:pt x="797" y="577"/>
                    <a:pt x="793" y="577"/>
                    <a:pt x="792" y="581"/>
                  </a:cubicBezTo>
                  <a:close/>
                  <a:moveTo>
                    <a:pt x="806" y="590"/>
                  </a:moveTo>
                  <a:cubicBezTo>
                    <a:pt x="809" y="591"/>
                    <a:pt x="810" y="590"/>
                    <a:pt x="814" y="590"/>
                  </a:cubicBezTo>
                  <a:cubicBezTo>
                    <a:pt x="814" y="587"/>
                    <a:pt x="817" y="587"/>
                    <a:pt x="817" y="584"/>
                  </a:cubicBezTo>
                  <a:cubicBezTo>
                    <a:pt x="810" y="582"/>
                    <a:pt x="807" y="585"/>
                    <a:pt x="806" y="590"/>
                  </a:cubicBezTo>
                  <a:close/>
                  <a:moveTo>
                    <a:pt x="828" y="591"/>
                  </a:moveTo>
                  <a:cubicBezTo>
                    <a:pt x="837" y="590"/>
                    <a:pt x="842" y="590"/>
                    <a:pt x="848" y="586"/>
                  </a:cubicBezTo>
                  <a:cubicBezTo>
                    <a:pt x="848" y="588"/>
                    <a:pt x="845" y="589"/>
                    <a:pt x="848" y="589"/>
                  </a:cubicBezTo>
                  <a:cubicBezTo>
                    <a:pt x="852" y="580"/>
                    <a:pt x="831" y="585"/>
                    <a:pt x="822" y="584"/>
                  </a:cubicBezTo>
                  <a:cubicBezTo>
                    <a:pt x="824" y="587"/>
                    <a:pt x="826" y="589"/>
                    <a:pt x="828" y="591"/>
                  </a:cubicBezTo>
                  <a:close/>
                  <a:moveTo>
                    <a:pt x="800" y="588"/>
                  </a:moveTo>
                  <a:cubicBezTo>
                    <a:pt x="801" y="585"/>
                    <a:pt x="797" y="586"/>
                    <a:pt x="794" y="586"/>
                  </a:cubicBezTo>
                  <a:cubicBezTo>
                    <a:pt x="795" y="587"/>
                    <a:pt x="798" y="590"/>
                    <a:pt x="800" y="588"/>
                  </a:cubicBezTo>
                  <a:close/>
                  <a:moveTo>
                    <a:pt x="817" y="590"/>
                  </a:moveTo>
                  <a:cubicBezTo>
                    <a:pt x="818" y="592"/>
                    <a:pt x="821" y="591"/>
                    <a:pt x="824" y="591"/>
                  </a:cubicBezTo>
                  <a:cubicBezTo>
                    <a:pt x="822" y="589"/>
                    <a:pt x="822" y="586"/>
                    <a:pt x="820" y="586"/>
                  </a:cubicBezTo>
                  <a:cubicBezTo>
                    <a:pt x="818" y="587"/>
                    <a:pt x="818" y="589"/>
                    <a:pt x="817" y="590"/>
                  </a:cubicBezTo>
                  <a:close/>
                  <a:moveTo>
                    <a:pt x="792" y="596"/>
                  </a:moveTo>
                  <a:cubicBezTo>
                    <a:pt x="791" y="592"/>
                    <a:pt x="794" y="589"/>
                    <a:pt x="790" y="588"/>
                  </a:cubicBezTo>
                  <a:cubicBezTo>
                    <a:pt x="790" y="590"/>
                    <a:pt x="788" y="596"/>
                    <a:pt x="792" y="596"/>
                  </a:cubicBezTo>
                  <a:close/>
                  <a:moveTo>
                    <a:pt x="806" y="601"/>
                  </a:moveTo>
                  <a:cubicBezTo>
                    <a:pt x="806" y="597"/>
                    <a:pt x="811" y="598"/>
                    <a:pt x="810" y="594"/>
                  </a:cubicBezTo>
                  <a:cubicBezTo>
                    <a:pt x="809" y="593"/>
                    <a:pt x="806" y="593"/>
                    <a:pt x="805" y="592"/>
                  </a:cubicBezTo>
                  <a:cubicBezTo>
                    <a:pt x="806" y="596"/>
                    <a:pt x="802" y="601"/>
                    <a:pt x="806" y="601"/>
                  </a:cubicBezTo>
                  <a:close/>
                  <a:moveTo>
                    <a:pt x="835" y="595"/>
                  </a:moveTo>
                  <a:cubicBezTo>
                    <a:pt x="836" y="595"/>
                    <a:pt x="837" y="595"/>
                    <a:pt x="838" y="595"/>
                  </a:cubicBezTo>
                  <a:cubicBezTo>
                    <a:pt x="838" y="594"/>
                    <a:pt x="838" y="593"/>
                    <a:pt x="837" y="592"/>
                  </a:cubicBezTo>
                  <a:cubicBezTo>
                    <a:pt x="837" y="594"/>
                    <a:pt x="835" y="593"/>
                    <a:pt x="835" y="595"/>
                  </a:cubicBezTo>
                  <a:close/>
                  <a:moveTo>
                    <a:pt x="838" y="599"/>
                  </a:moveTo>
                  <a:cubicBezTo>
                    <a:pt x="842" y="601"/>
                    <a:pt x="849" y="600"/>
                    <a:pt x="851" y="601"/>
                  </a:cubicBezTo>
                  <a:cubicBezTo>
                    <a:pt x="851" y="597"/>
                    <a:pt x="851" y="595"/>
                    <a:pt x="850" y="592"/>
                  </a:cubicBezTo>
                  <a:cubicBezTo>
                    <a:pt x="844" y="593"/>
                    <a:pt x="839" y="592"/>
                    <a:pt x="838" y="599"/>
                  </a:cubicBezTo>
                  <a:close/>
                  <a:moveTo>
                    <a:pt x="814" y="594"/>
                  </a:moveTo>
                  <a:cubicBezTo>
                    <a:pt x="814" y="597"/>
                    <a:pt x="810" y="597"/>
                    <a:pt x="811" y="602"/>
                  </a:cubicBezTo>
                  <a:cubicBezTo>
                    <a:pt x="811" y="604"/>
                    <a:pt x="815" y="603"/>
                    <a:pt x="814" y="605"/>
                  </a:cubicBezTo>
                  <a:cubicBezTo>
                    <a:pt x="812" y="607"/>
                    <a:pt x="811" y="603"/>
                    <a:pt x="809" y="602"/>
                  </a:cubicBezTo>
                  <a:cubicBezTo>
                    <a:pt x="808" y="605"/>
                    <a:pt x="805" y="606"/>
                    <a:pt x="805" y="609"/>
                  </a:cubicBezTo>
                  <a:cubicBezTo>
                    <a:pt x="807" y="611"/>
                    <a:pt x="812" y="610"/>
                    <a:pt x="816" y="610"/>
                  </a:cubicBezTo>
                  <a:cubicBezTo>
                    <a:pt x="815" y="609"/>
                    <a:pt x="816" y="608"/>
                    <a:pt x="817" y="607"/>
                  </a:cubicBezTo>
                  <a:cubicBezTo>
                    <a:pt x="817" y="609"/>
                    <a:pt x="819" y="610"/>
                    <a:pt x="821" y="610"/>
                  </a:cubicBezTo>
                  <a:cubicBezTo>
                    <a:pt x="823" y="605"/>
                    <a:pt x="827" y="602"/>
                    <a:pt x="828" y="597"/>
                  </a:cubicBezTo>
                  <a:cubicBezTo>
                    <a:pt x="826" y="592"/>
                    <a:pt x="819" y="593"/>
                    <a:pt x="814" y="594"/>
                  </a:cubicBezTo>
                  <a:close/>
                  <a:moveTo>
                    <a:pt x="856" y="598"/>
                  </a:moveTo>
                  <a:cubicBezTo>
                    <a:pt x="856" y="596"/>
                    <a:pt x="857" y="593"/>
                    <a:pt x="855" y="593"/>
                  </a:cubicBezTo>
                  <a:cubicBezTo>
                    <a:pt x="855" y="595"/>
                    <a:pt x="853" y="598"/>
                    <a:pt x="856" y="598"/>
                  </a:cubicBezTo>
                  <a:close/>
                  <a:moveTo>
                    <a:pt x="799" y="602"/>
                  </a:moveTo>
                  <a:cubicBezTo>
                    <a:pt x="797" y="600"/>
                    <a:pt x="800" y="594"/>
                    <a:pt x="797" y="594"/>
                  </a:cubicBezTo>
                  <a:cubicBezTo>
                    <a:pt x="796" y="597"/>
                    <a:pt x="797" y="601"/>
                    <a:pt x="799" y="602"/>
                  </a:cubicBezTo>
                  <a:close/>
                  <a:moveTo>
                    <a:pt x="831" y="596"/>
                  </a:moveTo>
                  <a:cubicBezTo>
                    <a:pt x="831" y="597"/>
                    <a:pt x="833" y="597"/>
                    <a:pt x="832" y="599"/>
                  </a:cubicBezTo>
                  <a:cubicBezTo>
                    <a:pt x="835" y="599"/>
                    <a:pt x="835" y="596"/>
                    <a:pt x="833" y="595"/>
                  </a:cubicBezTo>
                  <a:cubicBezTo>
                    <a:pt x="833" y="596"/>
                    <a:pt x="832" y="596"/>
                    <a:pt x="831" y="596"/>
                  </a:cubicBezTo>
                  <a:close/>
                  <a:moveTo>
                    <a:pt x="920" y="599"/>
                  </a:moveTo>
                  <a:cubicBezTo>
                    <a:pt x="922" y="600"/>
                    <a:pt x="925" y="601"/>
                    <a:pt x="926" y="603"/>
                  </a:cubicBezTo>
                  <a:cubicBezTo>
                    <a:pt x="926" y="599"/>
                    <a:pt x="924" y="598"/>
                    <a:pt x="922" y="596"/>
                  </a:cubicBezTo>
                  <a:cubicBezTo>
                    <a:pt x="921" y="597"/>
                    <a:pt x="921" y="598"/>
                    <a:pt x="920" y="599"/>
                  </a:cubicBezTo>
                  <a:close/>
                  <a:moveTo>
                    <a:pt x="815" y="629"/>
                  </a:moveTo>
                  <a:cubicBezTo>
                    <a:pt x="810" y="630"/>
                    <a:pt x="808" y="638"/>
                    <a:pt x="807" y="641"/>
                  </a:cubicBezTo>
                  <a:cubicBezTo>
                    <a:pt x="825" y="639"/>
                    <a:pt x="839" y="641"/>
                    <a:pt x="855" y="638"/>
                  </a:cubicBezTo>
                  <a:cubicBezTo>
                    <a:pt x="846" y="626"/>
                    <a:pt x="839" y="612"/>
                    <a:pt x="829" y="601"/>
                  </a:cubicBezTo>
                  <a:cubicBezTo>
                    <a:pt x="829" y="601"/>
                    <a:pt x="828" y="601"/>
                    <a:pt x="828" y="601"/>
                  </a:cubicBezTo>
                  <a:cubicBezTo>
                    <a:pt x="826" y="610"/>
                    <a:pt x="817" y="617"/>
                    <a:pt x="815" y="629"/>
                  </a:cubicBezTo>
                  <a:close/>
                  <a:moveTo>
                    <a:pt x="848" y="620"/>
                  </a:moveTo>
                  <a:cubicBezTo>
                    <a:pt x="847" y="627"/>
                    <a:pt x="854" y="627"/>
                    <a:pt x="853" y="634"/>
                  </a:cubicBezTo>
                  <a:cubicBezTo>
                    <a:pt x="860" y="629"/>
                    <a:pt x="848" y="622"/>
                    <a:pt x="850" y="618"/>
                  </a:cubicBezTo>
                  <a:cubicBezTo>
                    <a:pt x="842" y="615"/>
                    <a:pt x="844" y="604"/>
                    <a:pt x="835" y="603"/>
                  </a:cubicBezTo>
                  <a:cubicBezTo>
                    <a:pt x="838" y="610"/>
                    <a:pt x="842" y="616"/>
                    <a:pt x="848" y="620"/>
                  </a:cubicBezTo>
                  <a:close/>
                  <a:moveTo>
                    <a:pt x="931" y="604"/>
                  </a:moveTo>
                  <a:cubicBezTo>
                    <a:pt x="932" y="605"/>
                    <a:pt x="935" y="605"/>
                    <a:pt x="934" y="603"/>
                  </a:cubicBezTo>
                  <a:cubicBezTo>
                    <a:pt x="933" y="603"/>
                    <a:pt x="931" y="603"/>
                    <a:pt x="931" y="604"/>
                  </a:cubicBezTo>
                  <a:close/>
                  <a:moveTo>
                    <a:pt x="847" y="609"/>
                  </a:moveTo>
                  <a:cubicBezTo>
                    <a:pt x="849" y="607"/>
                    <a:pt x="851" y="607"/>
                    <a:pt x="850" y="603"/>
                  </a:cubicBezTo>
                  <a:cubicBezTo>
                    <a:pt x="848" y="603"/>
                    <a:pt x="845" y="603"/>
                    <a:pt x="842" y="603"/>
                  </a:cubicBezTo>
                  <a:cubicBezTo>
                    <a:pt x="842" y="607"/>
                    <a:pt x="845" y="608"/>
                    <a:pt x="847" y="609"/>
                  </a:cubicBezTo>
                  <a:close/>
                  <a:moveTo>
                    <a:pt x="930" y="608"/>
                  </a:moveTo>
                  <a:cubicBezTo>
                    <a:pt x="930" y="607"/>
                    <a:pt x="930" y="606"/>
                    <a:pt x="930" y="604"/>
                  </a:cubicBezTo>
                  <a:cubicBezTo>
                    <a:pt x="928" y="605"/>
                    <a:pt x="929" y="603"/>
                    <a:pt x="927" y="603"/>
                  </a:cubicBezTo>
                  <a:cubicBezTo>
                    <a:pt x="927" y="606"/>
                    <a:pt x="928" y="607"/>
                    <a:pt x="930" y="608"/>
                  </a:cubicBezTo>
                  <a:close/>
                  <a:moveTo>
                    <a:pt x="792" y="618"/>
                  </a:moveTo>
                  <a:cubicBezTo>
                    <a:pt x="790" y="619"/>
                    <a:pt x="791" y="616"/>
                    <a:pt x="789" y="617"/>
                  </a:cubicBezTo>
                  <a:cubicBezTo>
                    <a:pt x="789" y="619"/>
                    <a:pt x="788" y="620"/>
                    <a:pt x="788" y="622"/>
                  </a:cubicBezTo>
                  <a:cubicBezTo>
                    <a:pt x="796" y="624"/>
                    <a:pt x="792" y="614"/>
                    <a:pt x="793" y="608"/>
                  </a:cubicBezTo>
                  <a:cubicBezTo>
                    <a:pt x="792" y="608"/>
                    <a:pt x="792" y="608"/>
                    <a:pt x="791" y="608"/>
                  </a:cubicBezTo>
                  <a:cubicBezTo>
                    <a:pt x="790" y="612"/>
                    <a:pt x="790" y="616"/>
                    <a:pt x="792" y="618"/>
                  </a:cubicBezTo>
                  <a:close/>
                  <a:moveTo>
                    <a:pt x="861" y="623"/>
                  </a:moveTo>
                  <a:cubicBezTo>
                    <a:pt x="863" y="620"/>
                    <a:pt x="864" y="612"/>
                    <a:pt x="861" y="610"/>
                  </a:cubicBezTo>
                  <a:cubicBezTo>
                    <a:pt x="860" y="613"/>
                    <a:pt x="859" y="621"/>
                    <a:pt x="861" y="623"/>
                  </a:cubicBezTo>
                  <a:close/>
                  <a:moveTo>
                    <a:pt x="853" y="619"/>
                  </a:moveTo>
                  <a:cubicBezTo>
                    <a:pt x="854" y="617"/>
                    <a:pt x="852" y="614"/>
                    <a:pt x="853" y="612"/>
                  </a:cubicBezTo>
                  <a:cubicBezTo>
                    <a:pt x="852" y="612"/>
                    <a:pt x="851" y="612"/>
                    <a:pt x="850" y="612"/>
                  </a:cubicBezTo>
                  <a:cubicBezTo>
                    <a:pt x="848" y="614"/>
                    <a:pt x="851" y="617"/>
                    <a:pt x="853" y="619"/>
                  </a:cubicBezTo>
                  <a:close/>
                  <a:moveTo>
                    <a:pt x="814" y="624"/>
                  </a:moveTo>
                  <a:cubicBezTo>
                    <a:pt x="813" y="618"/>
                    <a:pt x="818" y="619"/>
                    <a:pt x="818" y="614"/>
                  </a:cubicBezTo>
                  <a:cubicBezTo>
                    <a:pt x="814" y="614"/>
                    <a:pt x="810" y="613"/>
                    <a:pt x="809" y="616"/>
                  </a:cubicBezTo>
                  <a:cubicBezTo>
                    <a:pt x="808" y="615"/>
                    <a:pt x="806" y="614"/>
                    <a:pt x="803" y="614"/>
                  </a:cubicBezTo>
                  <a:cubicBezTo>
                    <a:pt x="803" y="618"/>
                    <a:pt x="807" y="617"/>
                    <a:pt x="807" y="620"/>
                  </a:cubicBezTo>
                  <a:cubicBezTo>
                    <a:pt x="804" y="622"/>
                    <a:pt x="808" y="626"/>
                    <a:pt x="807" y="629"/>
                  </a:cubicBezTo>
                  <a:cubicBezTo>
                    <a:pt x="803" y="628"/>
                    <a:pt x="806" y="621"/>
                    <a:pt x="803" y="619"/>
                  </a:cubicBezTo>
                  <a:cubicBezTo>
                    <a:pt x="801" y="623"/>
                    <a:pt x="800" y="628"/>
                    <a:pt x="803" y="631"/>
                  </a:cubicBezTo>
                  <a:cubicBezTo>
                    <a:pt x="811" y="632"/>
                    <a:pt x="812" y="625"/>
                    <a:pt x="808" y="620"/>
                  </a:cubicBezTo>
                  <a:cubicBezTo>
                    <a:pt x="810" y="621"/>
                    <a:pt x="810" y="625"/>
                    <a:pt x="814" y="624"/>
                  </a:cubicBezTo>
                  <a:close/>
                  <a:moveTo>
                    <a:pt x="861" y="628"/>
                  </a:moveTo>
                  <a:cubicBezTo>
                    <a:pt x="862" y="628"/>
                    <a:pt x="864" y="629"/>
                    <a:pt x="865" y="628"/>
                  </a:cubicBezTo>
                  <a:cubicBezTo>
                    <a:pt x="865" y="625"/>
                    <a:pt x="865" y="622"/>
                    <a:pt x="863" y="621"/>
                  </a:cubicBezTo>
                  <a:cubicBezTo>
                    <a:pt x="863" y="624"/>
                    <a:pt x="861" y="625"/>
                    <a:pt x="861" y="628"/>
                  </a:cubicBezTo>
                  <a:close/>
                  <a:moveTo>
                    <a:pt x="785" y="634"/>
                  </a:moveTo>
                  <a:cubicBezTo>
                    <a:pt x="788" y="632"/>
                    <a:pt x="789" y="629"/>
                    <a:pt x="790" y="625"/>
                  </a:cubicBezTo>
                  <a:cubicBezTo>
                    <a:pt x="789" y="625"/>
                    <a:pt x="789" y="624"/>
                    <a:pt x="788" y="625"/>
                  </a:cubicBezTo>
                  <a:cubicBezTo>
                    <a:pt x="786" y="627"/>
                    <a:pt x="786" y="631"/>
                    <a:pt x="785" y="634"/>
                  </a:cubicBezTo>
                  <a:close/>
                  <a:moveTo>
                    <a:pt x="785" y="642"/>
                  </a:moveTo>
                  <a:cubicBezTo>
                    <a:pt x="786" y="642"/>
                    <a:pt x="790" y="641"/>
                    <a:pt x="794" y="642"/>
                  </a:cubicBezTo>
                  <a:cubicBezTo>
                    <a:pt x="793" y="637"/>
                    <a:pt x="795" y="629"/>
                    <a:pt x="792" y="627"/>
                  </a:cubicBezTo>
                  <a:cubicBezTo>
                    <a:pt x="791" y="633"/>
                    <a:pt x="785" y="635"/>
                    <a:pt x="785" y="642"/>
                  </a:cubicBezTo>
                  <a:close/>
                  <a:moveTo>
                    <a:pt x="862" y="634"/>
                  </a:moveTo>
                  <a:cubicBezTo>
                    <a:pt x="866" y="635"/>
                    <a:pt x="865" y="641"/>
                    <a:pt x="869" y="643"/>
                  </a:cubicBezTo>
                  <a:cubicBezTo>
                    <a:pt x="869" y="638"/>
                    <a:pt x="867" y="635"/>
                    <a:pt x="865" y="631"/>
                  </a:cubicBezTo>
                  <a:cubicBezTo>
                    <a:pt x="863" y="631"/>
                    <a:pt x="862" y="632"/>
                    <a:pt x="862" y="634"/>
                  </a:cubicBezTo>
                  <a:close/>
                  <a:moveTo>
                    <a:pt x="801" y="641"/>
                  </a:moveTo>
                  <a:cubicBezTo>
                    <a:pt x="804" y="640"/>
                    <a:pt x="805" y="638"/>
                    <a:pt x="806" y="635"/>
                  </a:cubicBezTo>
                  <a:cubicBezTo>
                    <a:pt x="805" y="634"/>
                    <a:pt x="803" y="634"/>
                    <a:pt x="801" y="634"/>
                  </a:cubicBezTo>
                  <a:cubicBezTo>
                    <a:pt x="801" y="637"/>
                    <a:pt x="800" y="638"/>
                    <a:pt x="801" y="641"/>
                  </a:cubicBezTo>
                  <a:close/>
                  <a:moveTo>
                    <a:pt x="865" y="641"/>
                  </a:moveTo>
                  <a:cubicBezTo>
                    <a:pt x="863" y="640"/>
                    <a:pt x="863" y="636"/>
                    <a:pt x="860" y="636"/>
                  </a:cubicBezTo>
                  <a:cubicBezTo>
                    <a:pt x="859" y="640"/>
                    <a:pt x="863" y="643"/>
                    <a:pt x="865" y="641"/>
                  </a:cubicBezTo>
                  <a:close/>
                  <a:moveTo>
                    <a:pt x="801" y="650"/>
                  </a:moveTo>
                  <a:cubicBezTo>
                    <a:pt x="807" y="651"/>
                    <a:pt x="817" y="651"/>
                    <a:pt x="816" y="643"/>
                  </a:cubicBezTo>
                  <a:cubicBezTo>
                    <a:pt x="809" y="643"/>
                    <a:pt x="801" y="643"/>
                    <a:pt x="801" y="650"/>
                  </a:cubicBezTo>
                  <a:close/>
                  <a:moveTo>
                    <a:pt x="822" y="643"/>
                  </a:moveTo>
                  <a:cubicBezTo>
                    <a:pt x="822" y="644"/>
                    <a:pt x="822" y="644"/>
                    <a:pt x="822" y="645"/>
                  </a:cubicBezTo>
                  <a:cubicBezTo>
                    <a:pt x="821" y="647"/>
                    <a:pt x="820" y="644"/>
                    <a:pt x="818" y="645"/>
                  </a:cubicBezTo>
                  <a:cubicBezTo>
                    <a:pt x="818" y="647"/>
                    <a:pt x="816" y="648"/>
                    <a:pt x="816" y="650"/>
                  </a:cubicBezTo>
                  <a:cubicBezTo>
                    <a:pt x="818" y="651"/>
                    <a:pt x="820" y="653"/>
                    <a:pt x="822" y="651"/>
                  </a:cubicBezTo>
                  <a:cubicBezTo>
                    <a:pt x="824" y="648"/>
                    <a:pt x="820" y="648"/>
                    <a:pt x="822" y="646"/>
                  </a:cubicBezTo>
                  <a:cubicBezTo>
                    <a:pt x="824" y="645"/>
                    <a:pt x="825" y="649"/>
                    <a:pt x="826" y="650"/>
                  </a:cubicBezTo>
                  <a:cubicBezTo>
                    <a:pt x="835" y="650"/>
                    <a:pt x="850" y="653"/>
                    <a:pt x="853" y="643"/>
                  </a:cubicBezTo>
                  <a:cubicBezTo>
                    <a:pt x="840" y="643"/>
                    <a:pt x="833" y="644"/>
                    <a:pt x="822" y="643"/>
                  </a:cubicBezTo>
                  <a:close/>
                  <a:moveTo>
                    <a:pt x="861" y="647"/>
                  </a:moveTo>
                  <a:cubicBezTo>
                    <a:pt x="862" y="647"/>
                    <a:pt x="863" y="647"/>
                    <a:pt x="863" y="647"/>
                  </a:cubicBezTo>
                  <a:cubicBezTo>
                    <a:pt x="864" y="645"/>
                    <a:pt x="863" y="644"/>
                    <a:pt x="861" y="644"/>
                  </a:cubicBezTo>
                  <a:cubicBezTo>
                    <a:pt x="861" y="645"/>
                    <a:pt x="861" y="646"/>
                    <a:pt x="861" y="647"/>
                  </a:cubicBezTo>
                  <a:close/>
                  <a:moveTo>
                    <a:pt x="794" y="649"/>
                  </a:moveTo>
                  <a:cubicBezTo>
                    <a:pt x="795" y="647"/>
                    <a:pt x="795" y="646"/>
                    <a:pt x="794" y="645"/>
                  </a:cubicBezTo>
                  <a:cubicBezTo>
                    <a:pt x="791" y="646"/>
                    <a:pt x="789" y="644"/>
                    <a:pt x="788" y="646"/>
                  </a:cubicBezTo>
                  <a:cubicBezTo>
                    <a:pt x="790" y="647"/>
                    <a:pt x="790" y="650"/>
                    <a:pt x="794" y="649"/>
                  </a:cubicBezTo>
                  <a:close/>
                  <a:moveTo>
                    <a:pt x="851" y="650"/>
                  </a:moveTo>
                  <a:cubicBezTo>
                    <a:pt x="854" y="649"/>
                    <a:pt x="857" y="649"/>
                    <a:pt x="857" y="646"/>
                  </a:cubicBezTo>
                  <a:cubicBezTo>
                    <a:pt x="854" y="644"/>
                    <a:pt x="852" y="648"/>
                    <a:pt x="851" y="650"/>
                  </a:cubicBezTo>
                  <a:close/>
                  <a:moveTo>
                    <a:pt x="782" y="661"/>
                  </a:moveTo>
                  <a:cubicBezTo>
                    <a:pt x="785" y="659"/>
                    <a:pt x="786" y="652"/>
                    <a:pt x="785" y="648"/>
                  </a:cubicBezTo>
                  <a:cubicBezTo>
                    <a:pt x="784" y="648"/>
                    <a:pt x="784" y="648"/>
                    <a:pt x="783" y="648"/>
                  </a:cubicBezTo>
                  <a:cubicBezTo>
                    <a:pt x="782" y="651"/>
                    <a:pt x="782" y="656"/>
                    <a:pt x="782" y="661"/>
                  </a:cubicBezTo>
                  <a:close/>
                  <a:moveTo>
                    <a:pt x="792" y="664"/>
                  </a:moveTo>
                  <a:cubicBezTo>
                    <a:pt x="798" y="664"/>
                    <a:pt x="789" y="656"/>
                    <a:pt x="794" y="653"/>
                  </a:cubicBezTo>
                  <a:cubicBezTo>
                    <a:pt x="793" y="653"/>
                    <a:pt x="793" y="652"/>
                    <a:pt x="792" y="653"/>
                  </a:cubicBezTo>
                  <a:cubicBezTo>
                    <a:pt x="790" y="656"/>
                    <a:pt x="790" y="661"/>
                    <a:pt x="792" y="664"/>
                  </a:cubicBezTo>
                  <a:close/>
                  <a:moveTo>
                    <a:pt x="829" y="656"/>
                  </a:moveTo>
                  <a:cubicBezTo>
                    <a:pt x="830" y="656"/>
                    <a:pt x="831" y="656"/>
                    <a:pt x="832" y="656"/>
                  </a:cubicBezTo>
                  <a:cubicBezTo>
                    <a:pt x="832" y="654"/>
                    <a:pt x="831" y="653"/>
                    <a:pt x="830" y="653"/>
                  </a:cubicBezTo>
                  <a:cubicBezTo>
                    <a:pt x="829" y="653"/>
                    <a:pt x="829" y="654"/>
                    <a:pt x="829" y="656"/>
                  </a:cubicBezTo>
                  <a:close/>
                  <a:moveTo>
                    <a:pt x="842" y="659"/>
                  </a:moveTo>
                  <a:cubicBezTo>
                    <a:pt x="843" y="665"/>
                    <a:pt x="851" y="661"/>
                    <a:pt x="857" y="661"/>
                  </a:cubicBezTo>
                  <a:cubicBezTo>
                    <a:pt x="857" y="657"/>
                    <a:pt x="857" y="656"/>
                    <a:pt x="856" y="653"/>
                  </a:cubicBezTo>
                  <a:cubicBezTo>
                    <a:pt x="849" y="652"/>
                    <a:pt x="846" y="655"/>
                    <a:pt x="842" y="659"/>
                  </a:cubicBezTo>
                  <a:close/>
                  <a:moveTo>
                    <a:pt x="841" y="656"/>
                  </a:moveTo>
                  <a:cubicBezTo>
                    <a:pt x="841" y="654"/>
                    <a:pt x="840" y="653"/>
                    <a:pt x="838" y="653"/>
                  </a:cubicBezTo>
                  <a:cubicBezTo>
                    <a:pt x="838" y="655"/>
                    <a:pt x="839" y="656"/>
                    <a:pt x="841" y="656"/>
                  </a:cubicBezTo>
                  <a:close/>
                  <a:moveTo>
                    <a:pt x="805" y="659"/>
                  </a:moveTo>
                  <a:cubicBezTo>
                    <a:pt x="807" y="658"/>
                    <a:pt x="809" y="657"/>
                    <a:pt x="809" y="654"/>
                  </a:cubicBezTo>
                  <a:cubicBezTo>
                    <a:pt x="806" y="654"/>
                    <a:pt x="804" y="654"/>
                    <a:pt x="801" y="654"/>
                  </a:cubicBezTo>
                  <a:cubicBezTo>
                    <a:pt x="801" y="657"/>
                    <a:pt x="804" y="657"/>
                    <a:pt x="805" y="659"/>
                  </a:cubicBezTo>
                  <a:close/>
                  <a:moveTo>
                    <a:pt x="807" y="663"/>
                  </a:moveTo>
                  <a:cubicBezTo>
                    <a:pt x="805" y="665"/>
                    <a:pt x="803" y="668"/>
                    <a:pt x="802" y="672"/>
                  </a:cubicBezTo>
                  <a:cubicBezTo>
                    <a:pt x="805" y="673"/>
                    <a:pt x="811" y="672"/>
                    <a:pt x="815" y="673"/>
                  </a:cubicBezTo>
                  <a:cubicBezTo>
                    <a:pt x="816" y="673"/>
                    <a:pt x="814" y="671"/>
                    <a:pt x="816" y="671"/>
                  </a:cubicBezTo>
                  <a:cubicBezTo>
                    <a:pt x="819" y="671"/>
                    <a:pt x="818" y="674"/>
                    <a:pt x="821" y="673"/>
                  </a:cubicBezTo>
                  <a:cubicBezTo>
                    <a:pt x="823" y="667"/>
                    <a:pt x="828" y="664"/>
                    <a:pt x="829" y="657"/>
                  </a:cubicBezTo>
                  <a:cubicBezTo>
                    <a:pt x="822" y="652"/>
                    <a:pt x="809" y="653"/>
                    <a:pt x="808" y="662"/>
                  </a:cubicBezTo>
                  <a:cubicBezTo>
                    <a:pt x="810" y="666"/>
                    <a:pt x="815" y="666"/>
                    <a:pt x="816" y="671"/>
                  </a:cubicBezTo>
                  <a:cubicBezTo>
                    <a:pt x="812" y="669"/>
                    <a:pt x="809" y="667"/>
                    <a:pt x="807" y="663"/>
                  </a:cubicBezTo>
                  <a:close/>
                  <a:moveTo>
                    <a:pt x="863" y="661"/>
                  </a:moveTo>
                  <a:cubicBezTo>
                    <a:pt x="863" y="659"/>
                    <a:pt x="865" y="655"/>
                    <a:pt x="862" y="655"/>
                  </a:cubicBezTo>
                  <a:cubicBezTo>
                    <a:pt x="861" y="656"/>
                    <a:pt x="861" y="660"/>
                    <a:pt x="863" y="661"/>
                  </a:cubicBezTo>
                  <a:close/>
                  <a:moveTo>
                    <a:pt x="833" y="661"/>
                  </a:moveTo>
                  <a:cubicBezTo>
                    <a:pt x="836" y="661"/>
                    <a:pt x="837" y="660"/>
                    <a:pt x="837" y="658"/>
                  </a:cubicBezTo>
                  <a:cubicBezTo>
                    <a:pt x="836" y="657"/>
                    <a:pt x="836" y="655"/>
                    <a:pt x="833" y="655"/>
                  </a:cubicBezTo>
                  <a:cubicBezTo>
                    <a:pt x="832" y="656"/>
                    <a:pt x="832" y="660"/>
                    <a:pt x="833" y="661"/>
                  </a:cubicBezTo>
                  <a:close/>
                  <a:moveTo>
                    <a:pt x="803" y="663"/>
                  </a:moveTo>
                  <a:cubicBezTo>
                    <a:pt x="805" y="661"/>
                    <a:pt x="802" y="658"/>
                    <a:pt x="799" y="657"/>
                  </a:cubicBezTo>
                  <a:cubicBezTo>
                    <a:pt x="798" y="660"/>
                    <a:pt x="801" y="663"/>
                    <a:pt x="803" y="663"/>
                  </a:cubicBezTo>
                  <a:close/>
                  <a:moveTo>
                    <a:pt x="802" y="709"/>
                  </a:moveTo>
                  <a:cubicBezTo>
                    <a:pt x="823" y="709"/>
                    <a:pt x="842" y="708"/>
                    <a:pt x="862" y="708"/>
                  </a:cubicBezTo>
                  <a:cubicBezTo>
                    <a:pt x="852" y="691"/>
                    <a:pt x="841" y="676"/>
                    <a:pt x="830" y="661"/>
                  </a:cubicBezTo>
                  <a:cubicBezTo>
                    <a:pt x="821" y="678"/>
                    <a:pt x="810" y="692"/>
                    <a:pt x="802" y="709"/>
                  </a:cubicBezTo>
                  <a:close/>
                  <a:moveTo>
                    <a:pt x="837" y="665"/>
                  </a:moveTo>
                  <a:cubicBezTo>
                    <a:pt x="840" y="672"/>
                    <a:pt x="845" y="677"/>
                    <a:pt x="849" y="683"/>
                  </a:cubicBezTo>
                  <a:cubicBezTo>
                    <a:pt x="850" y="682"/>
                    <a:pt x="851" y="680"/>
                    <a:pt x="851" y="677"/>
                  </a:cubicBezTo>
                  <a:cubicBezTo>
                    <a:pt x="846" y="673"/>
                    <a:pt x="845" y="662"/>
                    <a:pt x="837" y="665"/>
                  </a:cubicBezTo>
                  <a:close/>
                  <a:moveTo>
                    <a:pt x="850" y="672"/>
                  </a:moveTo>
                  <a:cubicBezTo>
                    <a:pt x="853" y="671"/>
                    <a:pt x="854" y="670"/>
                    <a:pt x="855" y="667"/>
                  </a:cubicBezTo>
                  <a:cubicBezTo>
                    <a:pt x="852" y="667"/>
                    <a:pt x="851" y="665"/>
                    <a:pt x="847" y="666"/>
                  </a:cubicBezTo>
                  <a:cubicBezTo>
                    <a:pt x="847" y="669"/>
                    <a:pt x="850" y="669"/>
                    <a:pt x="850" y="672"/>
                  </a:cubicBezTo>
                  <a:close/>
                  <a:moveTo>
                    <a:pt x="798" y="668"/>
                  </a:moveTo>
                  <a:cubicBezTo>
                    <a:pt x="798" y="669"/>
                    <a:pt x="798" y="671"/>
                    <a:pt x="800" y="670"/>
                  </a:cubicBezTo>
                  <a:cubicBezTo>
                    <a:pt x="800" y="669"/>
                    <a:pt x="801" y="669"/>
                    <a:pt x="801" y="667"/>
                  </a:cubicBezTo>
                  <a:cubicBezTo>
                    <a:pt x="799" y="667"/>
                    <a:pt x="798" y="667"/>
                    <a:pt x="798" y="668"/>
                  </a:cubicBezTo>
                  <a:close/>
                  <a:moveTo>
                    <a:pt x="792" y="671"/>
                  </a:moveTo>
                  <a:cubicBezTo>
                    <a:pt x="794" y="672"/>
                    <a:pt x="794" y="668"/>
                    <a:pt x="792" y="668"/>
                  </a:cubicBezTo>
                  <a:cubicBezTo>
                    <a:pt x="792" y="669"/>
                    <a:pt x="790" y="670"/>
                    <a:pt x="792" y="671"/>
                  </a:cubicBezTo>
                  <a:close/>
                  <a:moveTo>
                    <a:pt x="780" y="687"/>
                  </a:moveTo>
                  <a:cubicBezTo>
                    <a:pt x="781" y="688"/>
                    <a:pt x="783" y="688"/>
                    <a:pt x="783" y="689"/>
                  </a:cubicBezTo>
                  <a:cubicBezTo>
                    <a:pt x="778" y="691"/>
                    <a:pt x="777" y="696"/>
                    <a:pt x="777" y="702"/>
                  </a:cubicBezTo>
                  <a:cubicBezTo>
                    <a:pt x="782" y="697"/>
                    <a:pt x="784" y="689"/>
                    <a:pt x="788" y="684"/>
                  </a:cubicBezTo>
                  <a:cubicBezTo>
                    <a:pt x="786" y="679"/>
                    <a:pt x="789" y="673"/>
                    <a:pt x="786" y="669"/>
                  </a:cubicBezTo>
                  <a:cubicBezTo>
                    <a:pt x="784" y="676"/>
                    <a:pt x="783" y="681"/>
                    <a:pt x="780" y="687"/>
                  </a:cubicBezTo>
                  <a:close/>
                  <a:moveTo>
                    <a:pt x="855" y="676"/>
                  </a:moveTo>
                  <a:cubicBezTo>
                    <a:pt x="857" y="678"/>
                    <a:pt x="856" y="683"/>
                    <a:pt x="859" y="683"/>
                  </a:cubicBezTo>
                  <a:cubicBezTo>
                    <a:pt x="859" y="682"/>
                    <a:pt x="860" y="675"/>
                    <a:pt x="858" y="674"/>
                  </a:cubicBezTo>
                  <a:cubicBezTo>
                    <a:pt x="857" y="675"/>
                    <a:pt x="855" y="675"/>
                    <a:pt x="855" y="676"/>
                  </a:cubicBezTo>
                  <a:close/>
                  <a:moveTo>
                    <a:pt x="870" y="689"/>
                  </a:moveTo>
                  <a:cubicBezTo>
                    <a:pt x="869" y="684"/>
                    <a:pt x="873" y="677"/>
                    <a:pt x="869" y="674"/>
                  </a:cubicBezTo>
                  <a:cubicBezTo>
                    <a:pt x="868" y="677"/>
                    <a:pt x="866" y="686"/>
                    <a:pt x="870" y="689"/>
                  </a:cubicBezTo>
                  <a:close/>
                  <a:moveTo>
                    <a:pt x="807" y="695"/>
                  </a:moveTo>
                  <a:cubicBezTo>
                    <a:pt x="810" y="687"/>
                    <a:pt x="815" y="684"/>
                    <a:pt x="818" y="676"/>
                  </a:cubicBezTo>
                  <a:cubicBezTo>
                    <a:pt x="810" y="676"/>
                    <a:pt x="804" y="677"/>
                    <a:pt x="799" y="676"/>
                  </a:cubicBezTo>
                  <a:cubicBezTo>
                    <a:pt x="800" y="682"/>
                    <a:pt x="803" y="690"/>
                    <a:pt x="807" y="695"/>
                  </a:cubicBezTo>
                  <a:close/>
                  <a:moveTo>
                    <a:pt x="852" y="683"/>
                  </a:moveTo>
                  <a:cubicBezTo>
                    <a:pt x="853" y="684"/>
                    <a:pt x="853" y="686"/>
                    <a:pt x="855" y="685"/>
                  </a:cubicBezTo>
                  <a:cubicBezTo>
                    <a:pt x="855" y="684"/>
                    <a:pt x="855" y="683"/>
                    <a:pt x="855" y="682"/>
                  </a:cubicBezTo>
                  <a:cubicBezTo>
                    <a:pt x="854" y="682"/>
                    <a:pt x="852" y="682"/>
                    <a:pt x="852" y="683"/>
                  </a:cubicBezTo>
                  <a:close/>
                  <a:moveTo>
                    <a:pt x="796" y="696"/>
                  </a:moveTo>
                  <a:cubicBezTo>
                    <a:pt x="799" y="696"/>
                    <a:pt x="802" y="697"/>
                    <a:pt x="803" y="696"/>
                  </a:cubicBezTo>
                  <a:cubicBezTo>
                    <a:pt x="802" y="691"/>
                    <a:pt x="798" y="691"/>
                    <a:pt x="800" y="685"/>
                  </a:cubicBezTo>
                  <a:cubicBezTo>
                    <a:pt x="798" y="685"/>
                    <a:pt x="799" y="682"/>
                    <a:pt x="797" y="683"/>
                  </a:cubicBezTo>
                  <a:cubicBezTo>
                    <a:pt x="799" y="689"/>
                    <a:pt x="796" y="690"/>
                    <a:pt x="796" y="696"/>
                  </a:cubicBezTo>
                  <a:close/>
                  <a:moveTo>
                    <a:pt x="868" y="694"/>
                  </a:moveTo>
                  <a:cubicBezTo>
                    <a:pt x="871" y="695"/>
                    <a:pt x="872" y="693"/>
                    <a:pt x="874" y="694"/>
                  </a:cubicBezTo>
                  <a:cubicBezTo>
                    <a:pt x="874" y="690"/>
                    <a:pt x="874" y="685"/>
                    <a:pt x="871" y="684"/>
                  </a:cubicBezTo>
                  <a:cubicBezTo>
                    <a:pt x="872" y="690"/>
                    <a:pt x="868" y="690"/>
                    <a:pt x="868" y="694"/>
                  </a:cubicBezTo>
                  <a:close/>
                  <a:moveTo>
                    <a:pt x="853" y="687"/>
                  </a:moveTo>
                  <a:cubicBezTo>
                    <a:pt x="855" y="693"/>
                    <a:pt x="858" y="698"/>
                    <a:pt x="862" y="702"/>
                  </a:cubicBezTo>
                  <a:cubicBezTo>
                    <a:pt x="862" y="695"/>
                    <a:pt x="861" y="685"/>
                    <a:pt x="853" y="687"/>
                  </a:cubicBezTo>
                  <a:close/>
                  <a:moveTo>
                    <a:pt x="775" y="711"/>
                  </a:moveTo>
                  <a:cubicBezTo>
                    <a:pt x="779" y="710"/>
                    <a:pt x="785" y="711"/>
                    <a:pt x="789" y="709"/>
                  </a:cubicBezTo>
                  <a:cubicBezTo>
                    <a:pt x="788" y="703"/>
                    <a:pt x="790" y="694"/>
                    <a:pt x="786" y="691"/>
                  </a:cubicBezTo>
                  <a:cubicBezTo>
                    <a:pt x="785" y="700"/>
                    <a:pt x="778" y="703"/>
                    <a:pt x="775" y="711"/>
                  </a:cubicBezTo>
                  <a:close/>
                  <a:moveTo>
                    <a:pt x="878" y="711"/>
                  </a:moveTo>
                  <a:cubicBezTo>
                    <a:pt x="878" y="706"/>
                    <a:pt x="877" y="702"/>
                    <a:pt x="876" y="697"/>
                  </a:cubicBezTo>
                  <a:cubicBezTo>
                    <a:pt x="874" y="696"/>
                    <a:pt x="871" y="696"/>
                    <a:pt x="868" y="696"/>
                  </a:cubicBezTo>
                  <a:cubicBezTo>
                    <a:pt x="871" y="702"/>
                    <a:pt x="875" y="706"/>
                    <a:pt x="878" y="711"/>
                  </a:cubicBezTo>
                  <a:close/>
                  <a:moveTo>
                    <a:pt x="795" y="709"/>
                  </a:moveTo>
                  <a:cubicBezTo>
                    <a:pt x="801" y="709"/>
                    <a:pt x="800" y="703"/>
                    <a:pt x="803" y="700"/>
                  </a:cubicBezTo>
                  <a:cubicBezTo>
                    <a:pt x="802" y="699"/>
                    <a:pt x="799" y="700"/>
                    <a:pt x="797" y="699"/>
                  </a:cubicBezTo>
                  <a:cubicBezTo>
                    <a:pt x="795" y="701"/>
                    <a:pt x="795" y="705"/>
                    <a:pt x="795" y="709"/>
                  </a:cubicBezTo>
                  <a:close/>
                  <a:moveTo>
                    <a:pt x="868" y="709"/>
                  </a:moveTo>
                  <a:cubicBezTo>
                    <a:pt x="871" y="709"/>
                    <a:pt x="875" y="715"/>
                    <a:pt x="878" y="712"/>
                  </a:cubicBezTo>
                  <a:cubicBezTo>
                    <a:pt x="873" y="710"/>
                    <a:pt x="871" y="706"/>
                    <a:pt x="870" y="702"/>
                  </a:cubicBezTo>
                  <a:cubicBezTo>
                    <a:pt x="869" y="702"/>
                    <a:pt x="868" y="702"/>
                    <a:pt x="868" y="702"/>
                  </a:cubicBezTo>
                  <a:cubicBezTo>
                    <a:pt x="868" y="704"/>
                    <a:pt x="868" y="706"/>
                    <a:pt x="868" y="709"/>
                  </a:cubicBezTo>
                  <a:close/>
                  <a:moveTo>
                    <a:pt x="822" y="713"/>
                  </a:moveTo>
                  <a:cubicBezTo>
                    <a:pt x="822" y="716"/>
                    <a:pt x="825" y="716"/>
                    <a:pt x="826" y="717"/>
                  </a:cubicBezTo>
                  <a:cubicBezTo>
                    <a:pt x="835" y="715"/>
                    <a:pt x="856" y="722"/>
                    <a:pt x="860" y="713"/>
                  </a:cubicBezTo>
                  <a:cubicBezTo>
                    <a:pt x="849" y="713"/>
                    <a:pt x="833" y="711"/>
                    <a:pt x="822" y="713"/>
                  </a:cubicBezTo>
                  <a:close/>
                  <a:moveTo>
                    <a:pt x="815" y="717"/>
                  </a:moveTo>
                  <a:cubicBezTo>
                    <a:pt x="817" y="718"/>
                    <a:pt x="820" y="718"/>
                    <a:pt x="822" y="717"/>
                  </a:cubicBezTo>
                  <a:cubicBezTo>
                    <a:pt x="822" y="715"/>
                    <a:pt x="820" y="714"/>
                    <a:pt x="818" y="713"/>
                  </a:cubicBezTo>
                  <a:cubicBezTo>
                    <a:pt x="817" y="715"/>
                    <a:pt x="815" y="715"/>
                    <a:pt x="815" y="717"/>
                  </a:cubicBezTo>
                  <a:close/>
                  <a:moveTo>
                    <a:pt x="797" y="715"/>
                  </a:moveTo>
                  <a:cubicBezTo>
                    <a:pt x="797" y="715"/>
                    <a:pt x="797" y="716"/>
                    <a:pt x="797" y="717"/>
                  </a:cubicBezTo>
                  <a:cubicBezTo>
                    <a:pt x="802" y="718"/>
                    <a:pt x="813" y="719"/>
                    <a:pt x="814" y="714"/>
                  </a:cubicBezTo>
                  <a:cubicBezTo>
                    <a:pt x="808" y="714"/>
                    <a:pt x="801" y="713"/>
                    <a:pt x="797" y="715"/>
                  </a:cubicBezTo>
                  <a:close/>
                  <a:moveTo>
                    <a:pt x="773" y="717"/>
                  </a:moveTo>
                  <a:cubicBezTo>
                    <a:pt x="773" y="721"/>
                    <a:pt x="771" y="726"/>
                    <a:pt x="773" y="730"/>
                  </a:cubicBezTo>
                  <a:cubicBezTo>
                    <a:pt x="778" y="729"/>
                    <a:pt x="776" y="721"/>
                    <a:pt x="779" y="717"/>
                  </a:cubicBezTo>
                  <a:cubicBezTo>
                    <a:pt x="777" y="716"/>
                    <a:pt x="776" y="717"/>
                    <a:pt x="773" y="717"/>
                  </a:cubicBezTo>
                  <a:close/>
                  <a:moveTo>
                    <a:pt x="784" y="730"/>
                  </a:moveTo>
                  <a:cubicBezTo>
                    <a:pt x="785" y="730"/>
                    <a:pt x="786" y="730"/>
                    <a:pt x="787" y="730"/>
                  </a:cubicBezTo>
                  <a:cubicBezTo>
                    <a:pt x="789" y="728"/>
                    <a:pt x="789" y="725"/>
                    <a:pt x="790" y="722"/>
                  </a:cubicBezTo>
                  <a:cubicBezTo>
                    <a:pt x="787" y="722"/>
                    <a:pt x="787" y="720"/>
                    <a:pt x="783" y="720"/>
                  </a:cubicBezTo>
                  <a:cubicBezTo>
                    <a:pt x="783" y="721"/>
                    <a:pt x="783" y="728"/>
                    <a:pt x="784" y="730"/>
                  </a:cubicBezTo>
                  <a:close/>
                  <a:moveTo>
                    <a:pt x="858" y="729"/>
                  </a:moveTo>
                  <a:cubicBezTo>
                    <a:pt x="855" y="730"/>
                    <a:pt x="853" y="733"/>
                    <a:pt x="853" y="737"/>
                  </a:cubicBezTo>
                  <a:cubicBezTo>
                    <a:pt x="855" y="736"/>
                    <a:pt x="857" y="738"/>
                    <a:pt x="859" y="738"/>
                  </a:cubicBezTo>
                  <a:cubicBezTo>
                    <a:pt x="861" y="737"/>
                    <a:pt x="858" y="734"/>
                    <a:pt x="859" y="734"/>
                  </a:cubicBezTo>
                  <a:cubicBezTo>
                    <a:pt x="863" y="734"/>
                    <a:pt x="863" y="737"/>
                    <a:pt x="866" y="738"/>
                  </a:cubicBezTo>
                  <a:cubicBezTo>
                    <a:pt x="865" y="732"/>
                    <a:pt x="865" y="725"/>
                    <a:pt x="863" y="720"/>
                  </a:cubicBezTo>
                  <a:cubicBezTo>
                    <a:pt x="859" y="721"/>
                    <a:pt x="857" y="724"/>
                    <a:pt x="858" y="729"/>
                  </a:cubicBezTo>
                  <a:close/>
                  <a:moveTo>
                    <a:pt x="873" y="729"/>
                  </a:moveTo>
                  <a:cubicBezTo>
                    <a:pt x="874" y="727"/>
                    <a:pt x="874" y="721"/>
                    <a:pt x="872" y="720"/>
                  </a:cubicBezTo>
                  <a:cubicBezTo>
                    <a:pt x="871" y="722"/>
                    <a:pt x="870" y="729"/>
                    <a:pt x="873" y="729"/>
                  </a:cubicBezTo>
                  <a:close/>
                  <a:moveTo>
                    <a:pt x="881" y="724"/>
                  </a:moveTo>
                  <a:cubicBezTo>
                    <a:pt x="881" y="722"/>
                    <a:pt x="881" y="721"/>
                    <a:pt x="881" y="720"/>
                  </a:cubicBezTo>
                  <a:cubicBezTo>
                    <a:pt x="880" y="720"/>
                    <a:pt x="879" y="720"/>
                    <a:pt x="878" y="720"/>
                  </a:cubicBezTo>
                  <a:cubicBezTo>
                    <a:pt x="878" y="722"/>
                    <a:pt x="878" y="724"/>
                    <a:pt x="881" y="724"/>
                  </a:cubicBezTo>
                  <a:close/>
                  <a:moveTo>
                    <a:pt x="840" y="722"/>
                  </a:moveTo>
                  <a:cubicBezTo>
                    <a:pt x="843" y="728"/>
                    <a:pt x="847" y="726"/>
                    <a:pt x="853" y="728"/>
                  </a:cubicBezTo>
                  <a:cubicBezTo>
                    <a:pt x="854" y="726"/>
                    <a:pt x="857" y="725"/>
                    <a:pt x="857" y="722"/>
                  </a:cubicBezTo>
                  <a:cubicBezTo>
                    <a:pt x="852" y="720"/>
                    <a:pt x="846" y="722"/>
                    <a:pt x="840" y="722"/>
                  </a:cubicBezTo>
                  <a:close/>
                  <a:moveTo>
                    <a:pt x="811" y="722"/>
                  </a:moveTo>
                  <a:cubicBezTo>
                    <a:pt x="808" y="728"/>
                    <a:pt x="803" y="730"/>
                    <a:pt x="801" y="737"/>
                  </a:cubicBezTo>
                  <a:cubicBezTo>
                    <a:pt x="807" y="737"/>
                    <a:pt x="818" y="741"/>
                    <a:pt x="823" y="738"/>
                  </a:cubicBezTo>
                  <a:cubicBezTo>
                    <a:pt x="826" y="737"/>
                    <a:pt x="829" y="730"/>
                    <a:pt x="829" y="728"/>
                  </a:cubicBezTo>
                  <a:cubicBezTo>
                    <a:pt x="829" y="725"/>
                    <a:pt x="827" y="724"/>
                    <a:pt x="825" y="722"/>
                  </a:cubicBezTo>
                  <a:cubicBezTo>
                    <a:pt x="821" y="722"/>
                    <a:pt x="817" y="722"/>
                    <a:pt x="811" y="722"/>
                  </a:cubicBezTo>
                  <a:close/>
                  <a:moveTo>
                    <a:pt x="829" y="722"/>
                  </a:moveTo>
                  <a:cubicBezTo>
                    <a:pt x="829" y="725"/>
                    <a:pt x="831" y="724"/>
                    <a:pt x="833" y="724"/>
                  </a:cubicBezTo>
                  <a:cubicBezTo>
                    <a:pt x="835" y="721"/>
                    <a:pt x="830" y="721"/>
                    <a:pt x="829" y="722"/>
                  </a:cubicBezTo>
                  <a:close/>
                  <a:moveTo>
                    <a:pt x="795" y="723"/>
                  </a:moveTo>
                  <a:cubicBezTo>
                    <a:pt x="793" y="727"/>
                    <a:pt x="797" y="729"/>
                    <a:pt x="800" y="730"/>
                  </a:cubicBezTo>
                  <a:cubicBezTo>
                    <a:pt x="803" y="729"/>
                    <a:pt x="807" y="725"/>
                    <a:pt x="807" y="722"/>
                  </a:cubicBezTo>
                  <a:cubicBezTo>
                    <a:pt x="803" y="722"/>
                    <a:pt x="800" y="723"/>
                    <a:pt x="795" y="723"/>
                  </a:cubicBezTo>
                  <a:close/>
                  <a:moveTo>
                    <a:pt x="833" y="727"/>
                  </a:moveTo>
                  <a:cubicBezTo>
                    <a:pt x="835" y="729"/>
                    <a:pt x="837" y="728"/>
                    <a:pt x="840" y="727"/>
                  </a:cubicBezTo>
                  <a:cubicBezTo>
                    <a:pt x="839" y="723"/>
                    <a:pt x="834" y="723"/>
                    <a:pt x="833" y="727"/>
                  </a:cubicBezTo>
                  <a:close/>
                  <a:moveTo>
                    <a:pt x="882" y="732"/>
                  </a:moveTo>
                  <a:cubicBezTo>
                    <a:pt x="883" y="738"/>
                    <a:pt x="882" y="725"/>
                    <a:pt x="880" y="724"/>
                  </a:cubicBezTo>
                  <a:cubicBezTo>
                    <a:pt x="879" y="728"/>
                    <a:pt x="881" y="729"/>
                    <a:pt x="882" y="732"/>
                  </a:cubicBezTo>
                  <a:close/>
                  <a:moveTo>
                    <a:pt x="852" y="730"/>
                  </a:moveTo>
                  <a:cubicBezTo>
                    <a:pt x="851" y="729"/>
                    <a:pt x="849" y="729"/>
                    <a:pt x="848" y="728"/>
                  </a:cubicBezTo>
                  <a:cubicBezTo>
                    <a:pt x="846" y="732"/>
                    <a:pt x="852" y="734"/>
                    <a:pt x="852" y="730"/>
                  </a:cubicBezTo>
                  <a:close/>
                  <a:moveTo>
                    <a:pt x="836" y="730"/>
                  </a:moveTo>
                  <a:cubicBezTo>
                    <a:pt x="838" y="736"/>
                    <a:pt x="841" y="740"/>
                    <a:pt x="846" y="743"/>
                  </a:cubicBezTo>
                  <a:cubicBezTo>
                    <a:pt x="847" y="741"/>
                    <a:pt x="848" y="740"/>
                    <a:pt x="848" y="737"/>
                  </a:cubicBezTo>
                  <a:cubicBezTo>
                    <a:pt x="845" y="733"/>
                    <a:pt x="843" y="728"/>
                    <a:pt x="836" y="730"/>
                  </a:cubicBezTo>
                  <a:close/>
                  <a:moveTo>
                    <a:pt x="786" y="737"/>
                  </a:moveTo>
                  <a:cubicBezTo>
                    <a:pt x="788" y="736"/>
                    <a:pt x="786" y="732"/>
                    <a:pt x="786" y="731"/>
                  </a:cubicBezTo>
                  <a:cubicBezTo>
                    <a:pt x="786" y="731"/>
                    <a:pt x="785" y="731"/>
                    <a:pt x="784" y="731"/>
                  </a:cubicBezTo>
                  <a:cubicBezTo>
                    <a:pt x="783" y="733"/>
                    <a:pt x="784" y="736"/>
                    <a:pt x="786" y="737"/>
                  </a:cubicBezTo>
                  <a:close/>
                  <a:moveTo>
                    <a:pt x="793" y="739"/>
                  </a:moveTo>
                  <a:cubicBezTo>
                    <a:pt x="796" y="738"/>
                    <a:pt x="798" y="737"/>
                    <a:pt x="798" y="733"/>
                  </a:cubicBezTo>
                  <a:cubicBezTo>
                    <a:pt x="797" y="732"/>
                    <a:pt x="796" y="731"/>
                    <a:pt x="794" y="731"/>
                  </a:cubicBezTo>
                  <a:cubicBezTo>
                    <a:pt x="792" y="733"/>
                    <a:pt x="793" y="737"/>
                    <a:pt x="793" y="739"/>
                  </a:cubicBezTo>
                  <a:close/>
                  <a:moveTo>
                    <a:pt x="870" y="782"/>
                  </a:moveTo>
                  <a:cubicBezTo>
                    <a:pt x="870" y="781"/>
                    <a:pt x="870" y="780"/>
                    <a:pt x="869" y="780"/>
                  </a:cubicBezTo>
                  <a:cubicBezTo>
                    <a:pt x="862" y="770"/>
                    <a:pt x="854" y="760"/>
                    <a:pt x="846" y="750"/>
                  </a:cubicBezTo>
                  <a:cubicBezTo>
                    <a:pt x="841" y="744"/>
                    <a:pt x="838" y="736"/>
                    <a:pt x="831" y="731"/>
                  </a:cubicBezTo>
                  <a:cubicBezTo>
                    <a:pt x="818" y="749"/>
                    <a:pt x="804" y="769"/>
                    <a:pt x="794" y="787"/>
                  </a:cubicBezTo>
                  <a:cubicBezTo>
                    <a:pt x="818" y="786"/>
                    <a:pt x="847" y="787"/>
                    <a:pt x="873" y="786"/>
                  </a:cubicBezTo>
                  <a:cubicBezTo>
                    <a:pt x="871" y="780"/>
                    <a:pt x="873" y="774"/>
                    <a:pt x="870" y="766"/>
                  </a:cubicBezTo>
                  <a:cubicBezTo>
                    <a:pt x="869" y="766"/>
                    <a:pt x="867" y="768"/>
                    <a:pt x="866" y="766"/>
                  </a:cubicBezTo>
                  <a:cubicBezTo>
                    <a:pt x="867" y="764"/>
                    <a:pt x="870" y="767"/>
                    <a:pt x="870" y="764"/>
                  </a:cubicBezTo>
                  <a:cubicBezTo>
                    <a:pt x="863" y="759"/>
                    <a:pt x="862" y="745"/>
                    <a:pt x="848" y="748"/>
                  </a:cubicBezTo>
                  <a:cubicBezTo>
                    <a:pt x="853" y="754"/>
                    <a:pt x="857" y="762"/>
                    <a:pt x="864" y="766"/>
                  </a:cubicBezTo>
                  <a:cubicBezTo>
                    <a:pt x="862" y="772"/>
                    <a:pt x="874" y="776"/>
                    <a:pt x="870" y="782"/>
                  </a:cubicBezTo>
                  <a:close/>
                  <a:moveTo>
                    <a:pt x="769" y="741"/>
                  </a:moveTo>
                  <a:cubicBezTo>
                    <a:pt x="772" y="739"/>
                    <a:pt x="774" y="738"/>
                    <a:pt x="774" y="734"/>
                  </a:cubicBezTo>
                  <a:cubicBezTo>
                    <a:pt x="774" y="733"/>
                    <a:pt x="773" y="733"/>
                    <a:pt x="773" y="732"/>
                  </a:cubicBezTo>
                  <a:cubicBezTo>
                    <a:pt x="772" y="736"/>
                    <a:pt x="769" y="737"/>
                    <a:pt x="769" y="741"/>
                  </a:cubicBezTo>
                  <a:close/>
                  <a:moveTo>
                    <a:pt x="773" y="748"/>
                  </a:moveTo>
                  <a:cubicBezTo>
                    <a:pt x="776" y="747"/>
                    <a:pt x="779" y="748"/>
                    <a:pt x="780" y="747"/>
                  </a:cubicBezTo>
                  <a:cubicBezTo>
                    <a:pt x="779" y="742"/>
                    <a:pt x="782" y="735"/>
                    <a:pt x="779" y="732"/>
                  </a:cubicBezTo>
                  <a:cubicBezTo>
                    <a:pt x="777" y="738"/>
                    <a:pt x="775" y="742"/>
                    <a:pt x="773" y="748"/>
                  </a:cubicBezTo>
                  <a:close/>
                  <a:moveTo>
                    <a:pt x="1189" y="741"/>
                  </a:moveTo>
                  <a:cubicBezTo>
                    <a:pt x="1189" y="740"/>
                    <a:pt x="1190" y="733"/>
                    <a:pt x="1187" y="732"/>
                  </a:cubicBezTo>
                  <a:cubicBezTo>
                    <a:pt x="1187" y="734"/>
                    <a:pt x="1185" y="741"/>
                    <a:pt x="1189" y="741"/>
                  </a:cubicBezTo>
                  <a:close/>
                  <a:moveTo>
                    <a:pt x="878" y="752"/>
                  </a:moveTo>
                  <a:cubicBezTo>
                    <a:pt x="880" y="752"/>
                    <a:pt x="881" y="752"/>
                    <a:pt x="883" y="752"/>
                  </a:cubicBezTo>
                  <a:cubicBezTo>
                    <a:pt x="880" y="745"/>
                    <a:pt x="880" y="738"/>
                    <a:pt x="878" y="733"/>
                  </a:cubicBezTo>
                  <a:cubicBezTo>
                    <a:pt x="877" y="739"/>
                    <a:pt x="878" y="745"/>
                    <a:pt x="878" y="752"/>
                  </a:cubicBezTo>
                  <a:close/>
                  <a:moveTo>
                    <a:pt x="855" y="741"/>
                  </a:moveTo>
                  <a:cubicBezTo>
                    <a:pt x="858" y="741"/>
                    <a:pt x="856" y="746"/>
                    <a:pt x="860" y="745"/>
                  </a:cubicBezTo>
                  <a:cubicBezTo>
                    <a:pt x="860" y="744"/>
                    <a:pt x="860" y="742"/>
                    <a:pt x="861" y="742"/>
                  </a:cubicBezTo>
                  <a:cubicBezTo>
                    <a:pt x="861" y="744"/>
                    <a:pt x="865" y="745"/>
                    <a:pt x="867" y="744"/>
                  </a:cubicBezTo>
                  <a:cubicBezTo>
                    <a:pt x="867" y="742"/>
                    <a:pt x="866" y="743"/>
                    <a:pt x="866" y="741"/>
                  </a:cubicBezTo>
                  <a:cubicBezTo>
                    <a:pt x="861" y="739"/>
                    <a:pt x="858" y="739"/>
                    <a:pt x="855" y="741"/>
                  </a:cubicBezTo>
                  <a:close/>
                  <a:moveTo>
                    <a:pt x="800" y="741"/>
                  </a:moveTo>
                  <a:cubicBezTo>
                    <a:pt x="800" y="744"/>
                    <a:pt x="799" y="745"/>
                    <a:pt x="797" y="745"/>
                  </a:cubicBezTo>
                  <a:cubicBezTo>
                    <a:pt x="798" y="744"/>
                    <a:pt x="799" y="743"/>
                    <a:pt x="799" y="741"/>
                  </a:cubicBezTo>
                  <a:cubicBezTo>
                    <a:pt x="794" y="743"/>
                    <a:pt x="789" y="749"/>
                    <a:pt x="792" y="756"/>
                  </a:cubicBezTo>
                  <a:cubicBezTo>
                    <a:pt x="798" y="755"/>
                    <a:pt x="807" y="755"/>
                    <a:pt x="813" y="754"/>
                  </a:cubicBezTo>
                  <a:cubicBezTo>
                    <a:pt x="814" y="748"/>
                    <a:pt x="820" y="747"/>
                    <a:pt x="820" y="740"/>
                  </a:cubicBezTo>
                  <a:cubicBezTo>
                    <a:pt x="815" y="739"/>
                    <a:pt x="809" y="742"/>
                    <a:pt x="805" y="739"/>
                  </a:cubicBezTo>
                  <a:cubicBezTo>
                    <a:pt x="802" y="745"/>
                    <a:pt x="812" y="750"/>
                    <a:pt x="809" y="754"/>
                  </a:cubicBezTo>
                  <a:cubicBezTo>
                    <a:pt x="805" y="750"/>
                    <a:pt x="805" y="743"/>
                    <a:pt x="800" y="741"/>
                  </a:cubicBezTo>
                  <a:close/>
                  <a:moveTo>
                    <a:pt x="848" y="743"/>
                  </a:moveTo>
                  <a:cubicBezTo>
                    <a:pt x="848" y="744"/>
                    <a:pt x="849" y="744"/>
                    <a:pt x="848" y="745"/>
                  </a:cubicBezTo>
                  <a:cubicBezTo>
                    <a:pt x="850" y="744"/>
                    <a:pt x="851" y="745"/>
                    <a:pt x="854" y="745"/>
                  </a:cubicBezTo>
                  <a:cubicBezTo>
                    <a:pt x="853" y="742"/>
                    <a:pt x="852" y="741"/>
                    <a:pt x="850" y="739"/>
                  </a:cubicBezTo>
                  <a:cubicBezTo>
                    <a:pt x="850" y="742"/>
                    <a:pt x="848" y="741"/>
                    <a:pt x="848" y="743"/>
                  </a:cubicBezTo>
                  <a:close/>
                  <a:moveTo>
                    <a:pt x="873" y="745"/>
                  </a:moveTo>
                  <a:cubicBezTo>
                    <a:pt x="875" y="744"/>
                    <a:pt x="874" y="742"/>
                    <a:pt x="872" y="741"/>
                  </a:cubicBezTo>
                  <a:cubicBezTo>
                    <a:pt x="871" y="742"/>
                    <a:pt x="871" y="745"/>
                    <a:pt x="873" y="745"/>
                  </a:cubicBezTo>
                  <a:close/>
                  <a:moveTo>
                    <a:pt x="1178" y="747"/>
                  </a:moveTo>
                  <a:cubicBezTo>
                    <a:pt x="1180" y="748"/>
                    <a:pt x="1183" y="748"/>
                    <a:pt x="1183" y="745"/>
                  </a:cubicBezTo>
                  <a:cubicBezTo>
                    <a:pt x="1180" y="744"/>
                    <a:pt x="1179" y="746"/>
                    <a:pt x="1178" y="747"/>
                  </a:cubicBezTo>
                  <a:close/>
                  <a:moveTo>
                    <a:pt x="1186" y="745"/>
                  </a:moveTo>
                  <a:cubicBezTo>
                    <a:pt x="1186" y="747"/>
                    <a:pt x="1187" y="748"/>
                    <a:pt x="1188" y="748"/>
                  </a:cubicBezTo>
                  <a:cubicBezTo>
                    <a:pt x="1189" y="747"/>
                    <a:pt x="1191" y="747"/>
                    <a:pt x="1191" y="745"/>
                  </a:cubicBezTo>
                  <a:cubicBezTo>
                    <a:pt x="1189" y="745"/>
                    <a:pt x="1187" y="744"/>
                    <a:pt x="1186" y="745"/>
                  </a:cubicBezTo>
                  <a:close/>
                  <a:moveTo>
                    <a:pt x="861" y="749"/>
                  </a:moveTo>
                  <a:cubicBezTo>
                    <a:pt x="862" y="750"/>
                    <a:pt x="864" y="751"/>
                    <a:pt x="864" y="753"/>
                  </a:cubicBezTo>
                  <a:cubicBezTo>
                    <a:pt x="867" y="752"/>
                    <a:pt x="868" y="754"/>
                    <a:pt x="869" y="753"/>
                  </a:cubicBezTo>
                  <a:cubicBezTo>
                    <a:pt x="869" y="750"/>
                    <a:pt x="866" y="751"/>
                    <a:pt x="867" y="748"/>
                  </a:cubicBezTo>
                  <a:cubicBezTo>
                    <a:pt x="864" y="749"/>
                    <a:pt x="862" y="746"/>
                    <a:pt x="861" y="749"/>
                  </a:cubicBezTo>
                  <a:close/>
                  <a:moveTo>
                    <a:pt x="771" y="759"/>
                  </a:moveTo>
                  <a:cubicBezTo>
                    <a:pt x="768" y="765"/>
                    <a:pt x="763" y="776"/>
                    <a:pt x="764" y="782"/>
                  </a:cubicBezTo>
                  <a:cubicBezTo>
                    <a:pt x="766" y="779"/>
                    <a:pt x="767" y="774"/>
                    <a:pt x="771" y="773"/>
                  </a:cubicBezTo>
                  <a:cubicBezTo>
                    <a:pt x="772" y="764"/>
                    <a:pt x="784" y="762"/>
                    <a:pt x="779" y="750"/>
                  </a:cubicBezTo>
                  <a:cubicBezTo>
                    <a:pt x="774" y="750"/>
                    <a:pt x="770" y="751"/>
                    <a:pt x="771" y="759"/>
                  </a:cubicBezTo>
                  <a:close/>
                  <a:moveTo>
                    <a:pt x="1186" y="759"/>
                  </a:moveTo>
                  <a:cubicBezTo>
                    <a:pt x="1188" y="759"/>
                    <a:pt x="1190" y="759"/>
                    <a:pt x="1191" y="760"/>
                  </a:cubicBezTo>
                  <a:cubicBezTo>
                    <a:pt x="1190" y="757"/>
                    <a:pt x="1192" y="753"/>
                    <a:pt x="1190" y="752"/>
                  </a:cubicBezTo>
                  <a:cubicBezTo>
                    <a:pt x="1192" y="758"/>
                    <a:pt x="1184" y="754"/>
                    <a:pt x="1186" y="759"/>
                  </a:cubicBezTo>
                  <a:close/>
                  <a:moveTo>
                    <a:pt x="878" y="755"/>
                  </a:moveTo>
                  <a:cubicBezTo>
                    <a:pt x="878" y="761"/>
                    <a:pt x="876" y="771"/>
                    <a:pt x="881" y="773"/>
                  </a:cubicBezTo>
                  <a:cubicBezTo>
                    <a:pt x="883" y="772"/>
                    <a:pt x="883" y="768"/>
                    <a:pt x="885" y="767"/>
                  </a:cubicBezTo>
                  <a:cubicBezTo>
                    <a:pt x="885" y="771"/>
                    <a:pt x="883" y="772"/>
                    <a:pt x="883" y="774"/>
                  </a:cubicBezTo>
                  <a:cubicBezTo>
                    <a:pt x="885" y="779"/>
                    <a:pt x="889" y="784"/>
                    <a:pt x="892" y="789"/>
                  </a:cubicBezTo>
                  <a:cubicBezTo>
                    <a:pt x="891" y="776"/>
                    <a:pt x="886" y="765"/>
                    <a:pt x="883" y="754"/>
                  </a:cubicBezTo>
                  <a:cubicBezTo>
                    <a:pt x="881" y="754"/>
                    <a:pt x="880" y="758"/>
                    <a:pt x="878" y="755"/>
                  </a:cubicBezTo>
                  <a:close/>
                  <a:moveTo>
                    <a:pt x="786" y="764"/>
                  </a:moveTo>
                  <a:cubicBezTo>
                    <a:pt x="785" y="762"/>
                    <a:pt x="787" y="757"/>
                    <a:pt x="784" y="758"/>
                  </a:cubicBezTo>
                  <a:cubicBezTo>
                    <a:pt x="783" y="760"/>
                    <a:pt x="783" y="763"/>
                    <a:pt x="786" y="764"/>
                  </a:cubicBezTo>
                  <a:close/>
                  <a:moveTo>
                    <a:pt x="789" y="778"/>
                  </a:moveTo>
                  <a:cubicBezTo>
                    <a:pt x="793" y="777"/>
                    <a:pt x="796" y="777"/>
                    <a:pt x="798" y="776"/>
                  </a:cubicBezTo>
                  <a:cubicBezTo>
                    <a:pt x="802" y="772"/>
                    <a:pt x="807" y="763"/>
                    <a:pt x="808" y="758"/>
                  </a:cubicBezTo>
                  <a:cubicBezTo>
                    <a:pt x="802" y="758"/>
                    <a:pt x="796" y="759"/>
                    <a:pt x="791" y="758"/>
                  </a:cubicBezTo>
                  <a:cubicBezTo>
                    <a:pt x="791" y="764"/>
                    <a:pt x="788" y="771"/>
                    <a:pt x="789" y="778"/>
                  </a:cubicBezTo>
                  <a:close/>
                  <a:moveTo>
                    <a:pt x="1189" y="767"/>
                  </a:moveTo>
                  <a:cubicBezTo>
                    <a:pt x="1190" y="766"/>
                    <a:pt x="1191" y="765"/>
                    <a:pt x="1191" y="763"/>
                  </a:cubicBezTo>
                  <a:cubicBezTo>
                    <a:pt x="1189" y="763"/>
                    <a:pt x="1188" y="764"/>
                    <a:pt x="1187" y="763"/>
                  </a:cubicBezTo>
                  <a:cubicBezTo>
                    <a:pt x="1186" y="765"/>
                    <a:pt x="1187" y="766"/>
                    <a:pt x="1189" y="767"/>
                  </a:cubicBezTo>
                  <a:close/>
                  <a:moveTo>
                    <a:pt x="762" y="789"/>
                  </a:moveTo>
                  <a:cubicBezTo>
                    <a:pt x="768" y="788"/>
                    <a:pt x="776" y="789"/>
                    <a:pt x="781" y="788"/>
                  </a:cubicBezTo>
                  <a:cubicBezTo>
                    <a:pt x="780" y="780"/>
                    <a:pt x="782" y="769"/>
                    <a:pt x="779" y="764"/>
                  </a:cubicBezTo>
                  <a:cubicBezTo>
                    <a:pt x="775" y="773"/>
                    <a:pt x="765" y="781"/>
                    <a:pt x="762" y="789"/>
                  </a:cubicBezTo>
                  <a:close/>
                  <a:moveTo>
                    <a:pt x="1191" y="775"/>
                  </a:moveTo>
                  <a:cubicBezTo>
                    <a:pt x="1191" y="773"/>
                    <a:pt x="1191" y="772"/>
                    <a:pt x="1191" y="771"/>
                  </a:cubicBezTo>
                  <a:cubicBezTo>
                    <a:pt x="1189" y="771"/>
                    <a:pt x="1188" y="771"/>
                    <a:pt x="1187" y="771"/>
                  </a:cubicBezTo>
                  <a:cubicBezTo>
                    <a:pt x="1185" y="773"/>
                    <a:pt x="1187" y="776"/>
                    <a:pt x="1191" y="775"/>
                  </a:cubicBezTo>
                  <a:close/>
                  <a:moveTo>
                    <a:pt x="878" y="786"/>
                  </a:moveTo>
                  <a:cubicBezTo>
                    <a:pt x="883" y="787"/>
                    <a:pt x="886" y="790"/>
                    <a:pt x="891" y="791"/>
                  </a:cubicBezTo>
                  <a:cubicBezTo>
                    <a:pt x="887" y="785"/>
                    <a:pt x="883" y="780"/>
                    <a:pt x="878" y="775"/>
                  </a:cubicBezTo>
                  <a:cubicBezTo>
                    <a:pt x="877" y="778"/>
                    <a:pt x="879" y="782"/>
                    <a:pt x="878" y="786"/>
                  </a:cubicBezTo>
                  <a:close/>
                  <a:moveTo>
                    <a:pt x="1187" y="782"/>
                  </a:moveTo>
                  <a:cubicBezTo>
                    <a:pt x="1191" y="781"/>
                    <a:pt x="1191" y="784"/>
                    <a:pt x="1193" y="785"/>
                  </a:cubicBezTo>
                  <a:cubicBezTo>
                    <a:pt x="1194" y="778"/>
                    <a:pt x="1187" y="779"/>
                    <a:pt x="1185" y="776"/>
                  </a:cubicBezTo>
                  <a:cubicBezTo>
                    <a:pt x="1184" y="779"/>
                    <a:pt x="1187" y="780"/>
                    <a:pt x="1187" y="782"/>
                  </a:cubicBezTo>
                  <a:close/>
                  <a:moveTo>
                    <a:pt x="787" y="788"/>
                  </a:moveTo>
                  <a:cubicBezTo>
                    <a:pt x="792" y="787"/>
                    <a:pt x="794" y="782"/>
                    <a:pt x="794" y="779"/>
                  </a:cubicBezTo>
                  <a:cubicBezTo>
                    <a:pt x="788" y="777"/>
                    <a:pt x="787" y="782"/>
                    <a:pt x="787" y="788"/>
                  </a:cubicBezTo>
                  <a:close/>
                  <a:moveTo>
                    <a:pt x="1186" y="796"/>
                  </a:moveTo>
                  <a:cubicBezTo>
                    <a:pt x="1187" y="795"/>
                    <a:pt x="1187" y="793"/>
                    <a:pt x="1187" y="791"/>
                  </a:cubicBezTo>
                  <a:cubicBezTo>
                    <a:pt x="1188" y="791"/>
                    <a:pt x="1189" y="790"/>
                    <a:pt x="1191" y="791"/>
                  </a:cubicBezTo>
                  <a:cubicBezTo>
                    <a:pt x="1191" y="788"/>
                    <a:pt x="1190" y="786"/>
                    <a:pt x="1188" y="786"/>
                  </a:cubicBezTo>
                  <a:cubicBezTo>
                    <a:pt x="1188" y="788"/>
                    <a:pt x="1180" y="793"/>
                    <a:pt x="1186" y="796"/>
                  </a:cubicBezTo>
                  <a:close/>
                  <a:moveTo>
                    <a:pt x="822" y="790"/>
                  </a:moveTo>
                  <a:cubicBezTo>
                    <a:pt x="821" y="794"/>
                    <a:pt x="825" y="795"/>
                    <a:pt x="827" y="797"/>
                  </a:cubicBezTo>
                  <a:cubicBezTo>
                    <a:pt x="834" y="797"/>
                    <a:pt x="845" y="796"/>
                    <a:pt x="851" y="796"/>
                  </a:cubicBezTo>
                  <a:cubicBezTo>
                    <a:pt x="860" y="795"/>
                    <a:pt x="870" y="797"/>
                    <a:pt x="873" y="790"/>
                  </a:cubicBezTo>
                  <a:cubicBezTo>
                    <a:pt x="861" y="789"/>
                    <a:pt x="838" y="789"/>
                    <a:pt x="822" y="790"/>
                  </a:cubicBezTo>
                  <a:close/>
                  <a:moveTo>
                    <a:pt x="1209" y="791"/>
                  </a:moveTo>
                  <a:cubicBezTo>
                    <a:pt x="1204" y="795"/>
                    <a:pt x="1201" y="789"/>
                    <a:pt x="1197" y="790"/>
                  </a:cubicBezTo>
                  <a:cubicBezTo>
                    <a:pt x="1197" y="793"/>
                    <a:pt x="1198" y="793"/>
                    <a:pt x="1198" y="796"/>
                  </a:cubicBezTo>
                  <a:cubicBezTo>
                    <a:pt x="1206" y="796"/>
                    <a:pt x="1216" y="798"/>
                    <a:pt x="1224" y="795"/>
                  </a:cubicBezTo>
                  <a:cubicBezTo>
                    <a:pt x="1219" y="794"/>
                    <a:pt x="1211" y="795"/>
                    <a:pt x="1209" y="791"/>
                  </a:cubicBezTo>
                  <a:close/>
                  <a:moveTo>
                    <a:pt x="788" y="797"/>
                  </a:moveTo>
                  <a:cubicBezTo>
                    <a:pt x="795" y="794"/>
                    <a:pt x="811" y="801"/>
                    <a:pt x="812" y="791"/>
                  </a:cubicBezTo>
                  <a:cubicBezTo>
                    <a:pt x="803" y="792"/>
                    <a:pt x="788" y="788"/>
                    <a:pt x="788" y="797"/>
                  </a:cubicBezTo>
                  <a:close/>
                  <a:moveTo>
                    <a:pt x="879" y="791"/>
                  </a:moveTo>
                  <a:cubicBezTo>
                    <a:pt x="879" y="794"/>
                    <a:pt x="882" y="794"/>
                    <a:pt x="885" y="794"/>
                  </a:cubicBezTo>
                  <a:cubicBezTo>
                    <a:pt x="885" y="793"/>
                    <a:pt x="885" y="793"/>
                    <a:pt x="885" y="792"/>
                  </a:cubicBezTo>
                  <a:cubicBezTo>
                    <a:pt x="883" y="791"/>
                    <a:pt x="880" y="790"/>
                    <a:pt x="879" y="791"/>
                  </a:cubicBezTo>
                  <a:close/>
                  <a:moveTo>
                    <a:pt x="1167" y="795"/>
                  </a:moveTo>
                  <a:cubicBezTo>
                    <a:pt x="1170" y="797"/>
                    <a:pt x="1175" y="798"/>
                    <a:pt x="1180" y="797"/>
                  </a:cubicBezTo>
                  <a:cubicBezTo>
                    <a:pt x="1181" y="795"/>
                    <a:pt x="1180" y="793"/>
                    <a:pt x="1181" y="791"/>
                  </a:cubicBezTo>
                  <a:cubicBezTo>
                    <a:pt x="1176" y="789"/>
                    <a:pt x="1171" y="794"/>
                    <a:pt x="1167" y="795"/>
                  </a:cubicBezTo>
                  <a:close/>
                  <a:moveTo>
                    <a:pt x="1188" y="797"/>
                  </a:moveTo>
                  <a:cubicBezTo>
                    <a:pt x="1191" y="797"/>
                    <a:pt x="1192" y="796"/>
                    <a:pt x="1194" y="795"/>
                  </a:cubicBezTo>
                  <a:cubicBezTo>
                    <a:pt x="1194" y="793"/>
                    <a:pt x="1194" y="791"/>
                    <a:pt x="1191" y="791"/>
                  </a:cubicBezTo>
                  <a:cubicBezTo>
                    <a:pt x="1193" y="795"/>
                    <a:pt x="1189" y="795"/>
                    <a:pt x="1188" y="797"/>
                  </a:cubicBezTo>
                  <a:close/>
                  <a:moveTo>
                    <a:pt x="770" y="792"/>
                  </a:moveTo>
                  <a:cubicBezTo>
                    <a:pt x="771" y="796"/>
                    <a:pt x="778" y="794"/>
                    <a:pt x="781" y="796"/>
                  </a:cubicBezTo>
                  <a:cubicBezTo>
                    <a:pt x="781" y="794"/>
                    <a:pt x="781" y="793"/>
                    <a:pt x="781" y="791"/>
                  </a:cubicBezTo>
                  <a:cubicBezTo>
                    <a:pt x="777" y="791"/>
                    <a:pt x="774" y="792"/>
                    <a:pt x="770" y="792"/>
                  </a:cubicBezTo>
                  <a:close/>
                  <a:moveTo>
                    <a:pt x="812" y="796"/>
                  </a:moveTo>
                  <a:cubicBezTo>
                    <a:pt x="814" y="798"/>
                    <a:pt x="818" y="798"/>
                    <a:pt x="822" y="797"/>
                  </a:cubicBezTo>
                  <a:cubicBezTo>
                    <a:pt x="821" y="794"/>
                    <a:pt x="819" y="792"/>
                    <a:pt x="816" y="791"/>
                  </a:cubicBezTo>
                  <a:cubicBezTo>
                    <a:pt x="815" y="793"/>
                    <a:pt x="813" y="794"/>
                    <a:pt x="812" y="796"/>
                  </a:cubicBezTo>
                  <a:close/>
                  <a:moveTo>
                    <a:pt x="758" y="808"/>
                  </a:moveTo>
                  <a:cubicBezTo>
                    <a:pt x="760" y="810"/>
                    <a:pt x="762" y="809"/>
                    <a:pt x="764" y="808"/>
                  </a:cubicBezTo>
                  <a:cubicBezTo>
                    <a:pt x="763" y="801"/>
                    <a:pt x="769" y="801"/>
                    <a:pt x="768" y="795"/>
                  </a:cubicBezTo>
                  <a:cubicBezTo>
                    <a:pt x="758" y="789"/>
                    <a:pt x="759" y="801"/>
                    <a:pt x="758" y="808"/>
                  </a:cubicBezTo>
                  <a:close/>
                  <a:moveTo>
                    <a:pt x="1155" y="798"/>
                  </a:moveTo>
                  <a:cubicBezTo>
                    <a:pt x="1159" y="799"/>
                    <a:pt x="1160" y="797"/>
                    <a:pt x="1163" y="797"/>
                  </a:cubicBezTo>
                  <a:cubicBezTo>
                    <a:pt x="1163" y="795"/>
                    <a:pt x="1160" y="796"/>
                    <a:pt x="1158" y="795"/>
                  </a:cubicBezTo>
                  <a:cubicBezTo>
                    <a:pt x="1158" y="797"/>
                    <a:pt x="1156" y="797"/>
                    <a:pt x="1155" y="798"/>
                  </a:cubicBezTo>
                  <a:close/>
                  <a:moveTo>
                    <a:pt x="773" y="809"/>
                  </a:moveTo>
                  <a:cubicBezTo>
                    <a:pt x="775" y="809"/>
                    <a:pt x="776" y="809"/>
                    <a:pt x="778" y="809"/>
                  </a:cubicBezTo>
                  <a:cubicBezTo>
                    <a:pt x="780" y="806"/>
                    <a:pt x="780" y="803"/>
                    <a:pt x="781" y="799"/>
                  </a:cubicBezTo>
                  <a:cubicBezTo>
                    <a:pt x="778" y="800"/>
                    <a:pt x="776" y="797"/>
                    <a:pt x="773" y="797"/>
                  </a:cubicBezTo>
                  <a:cubicBezTo>
                    <a:pt x="773" y="801"/>
                    <a:pt x="772" y="806"/>
                    <a:pt x="773" y="809"/>
                  </a:cubicBezTo>
                  <a:close/>
                  <a:moveTo>
                    <a:pt x="891" y="801"/>
                  </a:moveTo>
                  <a:cubicBezTo>
                    <a:pt x="892" y="801"/>
                    <a:pt x="893" y="802"/>
                    <a:pt x="893" y="802"/>
                  </a:cubicBezTo>
                  <a:cubicBezTo>
                    <a:pt x="895" y="801"/>
                    <a:pt x="896" y="799"/>
                    <a:pt x="894" y="797"/>
                  </a:cubicBezTo>
                  <a:cubicBezTo>
                    <a:pt x="893" y="797"/>
                    <a:pt x="893" y="797"/>
                    <a:pt x="892" y="797"/>
                  </a:cubicBezTo>
                  <a:cubicBezTo>
                    <a:pt x="891" y="798"/>
                    <a:pt x="891" y="800"/>
                    <a:pt x="891" y="801"/>
                  </a:cubicBezTo>
                  <a:close/>
                  <a:moveTo>
                    <a:pt x="866" y="810"/>
                  </a:moveTo>
                  <a:cubicBezTo>
                    <a:pt x="862" y="810"/>
                    <a:pt x="862" y="814"/>
                    <a:pt x="860" y="815"/>
                  </a:cubicBezTo>
                  <a:cubicBezTo>
                    <a:pt x="863" y="819"/>
                    <a:pt x="866" y="823"/>
                    <a:pt x="869" y="826"/>
                  </a:cubicBezTo>
                  <a:cubicBezTo>
                    <a:pt x="872" y="826"/>
                    <a:pt x="875" y="826"/>
                    <a:pt x="878" y="826"/>
                  </a:cubicBezTo>
                  <a:cubicBezTo>
                    <a:pt x="879" y="823"/>
                    <a:pt x="874" y="823"/>
                    <a:pt x="876" y="821"/>
                  </a:cubicBezTo>
                  <a:cubicBezTo>
                    <a:pt x="877" y="821"/>
                    <a:pt x="878" y="823"/>
                    <a:pt x="878" y="821"/>
                  </a:cubicBezTo>
                  <a:cubicBezTo>
                    <a:pt x="876" y="817"/>
                    <a:pt x="878" y="813"/>
                    <a:pt x="876" y="808"/>
                  </a:cubicBezTo>
                  <a:cubicBezTo>
                    <a:pt x="874" y="808"/>
                    <a:pt x="869" y="809"/>
                    <a:pt x="869" y="807"/>
                  </a:cubicBezTo>
                  <a:cubicBezTo>
                    <a:pt x="871" y="807"/>
                    <a:pt x="875" y="808"/>
                    <a:pt x="876" y="806"/>
                  </a:cubicBezTo>
                  <a:cubicBezTo>
                    <a:pt x="876" y="803"/>
                    <a:pt x="876" y="800"/>
                    <a:pt x="874" y="798"/>
                  </a:cubicBezTo>
                  <a:cubicBezTo>
                    <a:pt x="867" y="799"/>
                    <a:pt x="866" y="805"/>
                    <a:pt x="866" y="810"/>
                  </a:cubicBezTo>
                  <a:close/>
                  <a:moveTo>
                    <a:pt x="880" y="806"/>
                  </a:moveTo>
                  <a:cubicBezTo>
                    <a:pt x="883" y="805"/>
                    <a:pt x="882" y="806"/>
                    <a:pt x="885" y="808"/>
                  </a:cubicBezTo>
                  <a:cubicBezTo>
                    <a:pt x="886" y="806"/>
                    <a:pt x="885" y="800"/>
                    <a:pt x="885" y="798"/>
                  </a:cubicBezTo>
                  <a:cubicBezTo>
                    <a:pt x="884" y="798"/>
                    <a:pt x="883" y="798"/>
                    <a:pt x="882" y="798"/>
                  </a:cubicBezTo>
                  <a:cubicBezTo>
                    <a:pt x="882" y="801"/>
                    <a:pt x="879" y="802"/>
                    <a:pt x="880" y="806"/>
                  </a:cubicBezTo>
                  <a:close/>
                  <a:moveTo>
                    <a:pt x="796" y="821"/>
                  </a:moveTo>
                  <a:cubicBezTo>
                    <a:pt x="794" y="821"/>
                    <a:pt x="793" y="822"/>
                    <a:pt x="792" y="819"/>
                  </a:cubicBezTo>
                  <a:cubicBezTo>
                    <a:pt x="788" y="823"/>
                    <a:pt x="780" y="828"/>
                    <a:pt x="784" y="836"/>
                  </a:cubicBezTo>
                  <a:cubicBezTo>
                    <a:pt x="791" y="835"/>
                    <a:pt x="798" y="836"/>
                    <a:pt x="803" y="836"/>
                  </a:cubicBezTo>
                  <a:cubicBezTo>
                    <a:pt x="805" y="830"/>
                    <a:pt x="798" y="826"/>
                    <a:pt x="796" y="821"/>
                  </a:cubicBezTo>
                  <a:close/>
                  <a:moveTo>
                    <a:pt x="807" y="835"/>
                  </a:moveTo>
                  <a:cubicBezTo>
                    <a:pt x="812" y="829"/>
                    <a:pt x="818" y="825"/>
                    <a:pt x="820" y="817"/>
                  </a:cubicBezTo>
                  <a:cubicBezTo>
                    <a:pt x="826" y="815"/>
                    <a:pt x="828" y="811"/>
                    <a:pt x="831" y="806"/>
                  </a:cubicBezTo>
                  <a:cubicBezTo>
                    <a:pt x="828" y="803"/>
                    <a:pt x="827" y="801"/>
                    <a:pt x="824" y="799"/>
                  </a:cubicBezTo>
                  <a:cubicBezTo>
                    <a:pt x="818" y="798"/>
                    <a:pt x="813" y="799"/>
                    <a:pt x="808" y="799"/>
                  </a:cubicBezTo>
                  <a:cubicBezTo>
                    <a:pt x="805" y="805"/>
                    <a:pt x="799" y="809"/>
                    <a:pt x="795" y="814"/>
                  </a:cubicBezTo>
                  <a:cubicBezTo>
                    <a:pt x="799" y="821"/>
                    <a:pt x="802" y="830"/>
                    <a:pt x="807" y="835"/>
                  </a:cubicBezTo>
                  <a:close/>
                  <a:moveTo>
                    <a:pt x="829" y="800"/>
                  </a:moveTo>
                  <a:cubicBezTo>
                    <a:pt x="830" y="801"/>
                    <a:pt x="831" y="803"/>
                    <a:pt x="833" y="804"/>
                  </a:cubicBezTo>
                  <a:cubicBezTo>
                    <a:pt x="834" y="802"/>
                    <a:pt x="836" y="802"/>
                    <a:pt x="836" y="799"/>
                  </a:cubicBezTo>
                  <a:cubicBezTo>
                    <a:pt x="835" y="799"/>
                    <a:pt x="829" y="798"/>
                    <a:pt x="829" y="800"/>
                  </a:cubicBezTo>
                  <a:close/>
                  <a:moveTo>
                    <a:pt x="859" y="814"/>
                  </a:moveTo>
                  <a:cubicBezTo>
                    <a:pt x="861" y="808"/>
                    <a:pt x="865" y="805"/>
                    <a:pt x="868" y="799"/>
                  </a:cubicBezTo>
                  <a:cubicBezTo>
                    <a:pt x="861" y="798"/>
                    <a:pt x="852" y="799"/>
                    <a:pt x="844" y="799"/>
                  </a:cubicBezTo>
                  <a:cubicBezTo>
                    <a:pt x="849" y="805"/>
                    <a:pt x="853" y="810"/>
                    <a:pt x="859" y="814"/>
                  </a:cubicBezTo>
                  <a:close/>
                  <a:moveTo>
                    <a:pt x="787" y="800"/>
                  </a:moveTo>
                  <a:cubicBezTo>
                    <a:pt x="786" y="804"/>
                    <a:pt x="790" y="809"/>
                    <a:pt x="795" y="810"/>
                  </a:cubicBezTo>
                  <a:cubicBezTo>
                    <a:pt x="798" y="806"/>
                    <a:pt x="803" y="804"/>
                    <a:pt x="804" y="799"/>
                  </a:cubicBezTo>
                  <a:cubicBezTo>
                    <a:pt x="798" y="799"/>
                    <a:pt x="790" y="800"/>
                    <a:pt x="787" y="800"/>
                  </a:cubicBezTo>
                  <a:close/>
                  <a:moveTo>
                    <a:pt x="840" y="799"/>
                  </a:moveTo>
                  <a:cubicBezTo>
                    <a:pt x="838" y="801"/>
                    <a:pt x="835" y="803"/>
                    <a:pt x="835" y="806"/>
                  </a:cubicBezTo>
                  <a:cubicBezTo>
                    <a:pt x="840" y="813"/>
                    <a:pt x="845" y="821"/>
                    <a:pt x="853" y="825"/>
                  </a:cubicBezTo>
                  <a:cubicBezTo>
                    <a:pt x="853" y="823"/>
                    <a:pt x="857" y="821"/>
                    <a:pt x="857" y="817"/>
                  </a:cubicBezTo>
                  <a:cubicBezTo>
                    <a:pt x="850" y="811"/>
                    <a:pt x="846" y="804"/>
                    <a:pt x="840" y="799"/>
                  </a:cubicBezTo>
                  <a:close/>
                  <a:moveTo>
                    <a:pt x="1186" y="806"/>
                  </a:moveTo>
                  <a:cubicBezTo>
                    <a:pt x="1186" y="804"/>
                    <a:pt x="1187" y="804"/>
                    <a:pt x="1187" y="802"/>
                  </a:cubicBezTo>
                  <a:cubicBezTo>
                    <a:pt x="1186" y="802"/>
                    <a:pt x="1185" y="801"/>
                    <a:pt x="1184" y="801"/>
                  </a:cubicBezTo>
                  <a:cubicBezTo>
                    <a:pt x="1184" y="804"/>
                    <a:pt x="1183" y="806"/>
                    <a:pt x="1186" y="806"/>
                  </a:cubicBezTo>
                  <a:close/>
                  <a:moveTo>
                    <a:pt x="1194" y="805"/>
                  </a:moveTo>
                  <a:cubicBezTo>
                    <a:pt x="1196" y="804"/>
                    <a:pt x="1195" y="803"/>
                    <a:pt x="1195" y="801"/>
                  </a:cubicBezTo>
                  <a:cubicBezTo>
                    <a:pt x="1194" y="802"/>
                    <a:pt x="1191" y="801"/>
                    <a:pt x="1191" y="802"/>
                  </a:cubicBezTo>
                  <a:cubicBezTo>
                    <a:pt x="1193" y="802"/>
                    <a:pt x="1192" y="805"/>
                    <a:pt x="1194" y="805"/>
                  </a:cubicBezTo>
                  <a:close/>
                  <a:moveTo>
                    <a:pt x="898" y="815"/>
                  </a:moveTo>
                  <a:cubicBezTo>
                    <a:pt x="899" y="810"/>
                    <a:pt x="896" y="808"/>
                    <a:pt x="896" y="802"/>
                  </a:cubicBezTo>
                  <a:cubicBezTo>
                    <a:pt x="896" y="802"/>
                    <a:pt x="895" y="802"/>
                    <a:pt x="894" y="802"/>
                  </a:cubicBezTo>
                  <a:cubicBezTo>
                    <a:pt x="893" y="807"/>
                    <a:pt x="895" y="813"/>
                    <a:pt x="898" y="815"/>
                  </a:cubicBezTo>
                  <a:close/>
                  <a:moveTo>
                    <a:pt x="788" y="808"/>
                  </a:moveTo>
                  <a:cubicBezTo>
                    <a:pt x="788" y="806"/>
                    <a:pt x="787" y="806"/>
                    <a:pt x="786" y="805"/>
                  </a:cubicBezTo>
                  <a:cubicBezTo>
                    <a:pt x="783" y="807"/>
                    <a:pt x="786" y="811"/>
                    <a:pt x="788" y="808"/>
                  </a:cubicBezTo>
                  <a:close/>
                  <a:moveTo>
                    <a:pt x="1185" y="808"/>
                  </a:moveTo>
                  <a:cubicBezTo>
                    <a:pt x="1187" y="810"/>
                    <a:pt x="1191" y="810"/>
                    <a:pt x="1193" y="808"/>
                  </a:cubicBezTo>
                  <a:cubicBezTo>
                    <a:pt x="1193" y="804"/>
                    <a:pt x="1186" y="804"/>
                    <a:pt x="1185" y="808"/>
                  </a:cubicBezTo>
                  <a:close/>
                  <a:moveTo>
                    <a:pt x="832" y="808"/>
                  </a:moveTo>
                  <a:cubicBezTo>
                    <a:pt x="825" y="819"/>
                    <a:pt x="815" y="828"/>
                    <a:pt x="808" y="840"/>
                  </a:cubicBezTo>
                  <a:cubicBezTo>
                    <a:pt x="803" y="843"/>
                    <a:pt x="800" y="849"/>
                    <a:pt x="796" y="854"/>
                  </a:cubicBezTo>
                  <a:cubicBezTo>
                    <a:pt x="792" y="858"/>
                    <a:pt x="786" y="864"/>
                    <a:pt x="786" y="868"/>
                  </a:cubicBezTo>
                  <a:cubicBezTo>
                    <a:pt x="817" y="867"/>
                    <a:pt x="855" y="869"/>
                    <a:pt x="884" y="867"/>
                  </a:cubicBezTo>
                  <a:cubicBezTo>
                    <a:pt x="867" y="847"/>
                    <a:pt x="850" y="827"/>
                    <a:pt x="832" y="808"/>
                  </a:cubicBezTo>
                  <a:close/>
                  <a:moveTo>
                    <a:pt x="1193" y="812"/>
                  </a:moveTo>
                  <a:cubicBezTo>
                    <a:pt x="1194" y="813"/>
                    <a:pt x="1195" y="812"/>
                    <a:pt x="1196" y="811"/>
                  </a:cubicBezTo>
                  <a:cubicBezTo>
                    <a:pt x="1195" y="811"/>
                    <a:pt x="1194" y="810"/>
                    <a:pt x="1193" y="810"/>
                  </a:cubicBezTo>
                  <a:cubicBezTo>
                    <a:pt x="1193" y="811"/>
                    <a:pt x="1192" y="811"/>
                    <a:pt x="1193" y="812"/>
                  </a:cubicBezTo>
                  <a:close/>
                  <a:moveTo>
                    <a:pt x="775" y="817"/>
                  </a:moveTo>
                  <a:cubicBezTo>
                    <a:pt x="777" y="816"/>
                    <a:pt x="778" y="814"/>
                    <a:pt x="779" y="817"/>
                  </a:cubicBezTo>
                  <a:cubicBezTo>
                    <a:pt x="780" y="814"/>
                    <a:pt x="779" y="815"/>
                    <a:pt x="779" y="812"/>
                  </a:cubicBezTo>
                  <a:cubicBezTo>
                    <a:pt x="777" y="812"/>
                    <a:pt x="777" y="810"/>
                    <a:pt x="774" y="810"/>
                  </a:cubicBezTo>
                  <a:cubicBezTo>
                    <a:pt x="772" y="812"/>
                    <a:pt x="773" y="815"/>
                    <a:pt x="775" y="817"/>
                  </a:cubicBezTo>
                  <a:close/>
                  <a:moveTo>
                    <a:pt x="784" y="823"/>
                  </a:moveTo>
                  <a:cubicBezTo>
                    <a:pt x="786" y="819"/>
                    <a:pt x="790" y="818"/>
                    <a:pt x="792" y="814"/>
                  </a:cubicBezTo>
                  <a:cubicBezTo>
                    <a:pt x="792" y="811"/>
                    <a:pt x="789" y="813"/>
                    <a:pt x="790" y="810"/>
                  </a:cubicBezTo>
                  <a:cubicBezTo>
                    <a:pt x="788" y="810"/>
                    <a:pt x="786" y="810"/>
                    <a:pt x="785" y="810"/>
                  </a:cubicBezTo>
                  <a:cubicBezTo>
                    <a:pt x="785" y="816"/>
                    <a:pt x="783" y="819"/>
                    <a:pt x="784" y="823"/>
                  </a:cubicBezTo>
                  <a:close/>
                  <a:moveTo>
                    <a:pt x="890" y="833"/>
                  </a:moveTo>
                  <a:cubicBezTo>
                    <a:pt x="894" y="833"/>
                    <a:pt x="894" y="832"/>
                    <a:pt x="898" y="832"/>
                  </a:cubicBezTo>
                  <a:cubicBezTo>
                    <a:pt x="897" y="828"/>
                    <a:pt x="894" y="827"/>
                    <a:pt x="893" y="824"/>
                  </a:cubicBezTo>
                  <a:cubicBezTo>
                    <a:pt x="894" y="823"/>
                    <a:pt x="895" y="822"/>
                    <a:pt x="895" y="820"/>
                  </a:cubicBezTo>
                  <a:cubicBezTo>
                    <a:pt x="892" y="818"/>
                    <a:pt x="892" y="813"/>
                    <a:pt x="890" y="810"/>
                  </a:cubicBezTo>
                  <a:cubicBezTo>
                    <a:pt x="891" y="816"/>
                    <a:pt x="888" y="825"/>
                    <a:pt x="890" y="833"/>
                  </a:cubicBezTo>
                  <a:close/>
                  <a:moveTo>
                    <a:pt x="1184" y="813"/>
                  </a:moveTo>
                  <a:cubicBezTo>
                    <a:pt x="1187" y="814"/>
                    <a:pt x="1187" y="810"/>
                    <a:pt x="1184" y="810"/>
                  </a:cubicBezTo>
                  <a:cubicBezTo>
                    <a:pt x="1184" y="811"/>
                    <a:pt x="1184" y="812"/>
                    <a:pt x="1184" y="813"/>
                  </a:cubicBezTo>
                  <a:close/>
                  <a:moveTo>
                    <a:pt x="760" y="819"/>
                  </a:moveTo>
                  <a:cubicBezTo>
                    <a:pt x="761" y="817"/>
                    <a:pt x="761" y="814"/>
                    <a:pt x="762" y="811"/>
                  </a:cubicBezTo>
                  <a:cubicBezTo>
                    <a:pt x="758" y="811"/>
                    <a:pt x="757" y="818"/>
                    <a:pt x="760" y="819"/>
                  </a:cubicBezTo>
                  <a:close/>
                  <a:moveTo>
                    <a:pt x="761" y="829"/>
                  </a:moveTo>
                  <a:cubicBezTo>
                    <a:pt x="764" y="829"/>
                    <a:pt x="767" y="829"/>
                    <a:pt x="770" y="830"/>
                  </a:cubicBezTo>
                  <a:cubicBezTo>
                    <a:pt x="771" y="825"/>
                    <a:pt x="771" y="817"/>
                    <a:pt x="768" y="813"/>
                  </a:cubicBezTo>
                  <a:cubicBezTo>
                    <a:pt x="765" y="814"/>
                    <a:pt x="762" y="822"/>
                    <a:pt x="761" y="829"/>
                  </a:cubicBezTo>
                  <a:close/>
                  <a:moveTo>
                    <a:pt x="1185" y="814"/>
                  </a:moveTo>
                  <a:cubicBezTo>
                    <a:pt x="1184" y="817"/>
                    <a:pt x="1187" y="816"/>
                    <a:pt x="1187" y="819"/>
                  </a:cubicBezTo>
                  <a:cubicBezTo>
                    <a:pt x="1189" y="818"/>
                    <a:pt x="1193" y="819"/>
                    <a:pt x="1192" y="815"/>
                  </a:cubicBezTo>
                  <a:cubicBezTo>
                    <a:pt x="1191" y="815"/>
                    <a:pt x="1190" y="815"/>
                    <a:pt x="1191" y="814"/>
                  </a:cubicBezTo>
                  <a:cubicBezTo>
                    <a:pt x="1188" y="813"/>
                    <a:pt x="1187" y="815"/>
                    <a:pt x="1185" y="814"/>
                  </a:cubicBezTo>
                  <a:close/>
                  <a:moveTo>
                    <a:pt x="898" y="821"/>
                  </a:moveTo>
                  <a:cubicBezTo>
                    <a:pt x="898" y="819"/>
                    <a:pt x="900" y="817"/>
                    <a:pt x="898" y="816"/>
                  </a:cubicBezTo>
                  <a:cubicBezTo>
                    <a:pt x="897" y="817"/>
                    <a:pt x="896" y="821"/>
                    <a:pt x="898" y="821"/>
                  </a:cubicBezTo>
                  <a:close/>
                  <a:moveTo>
                    <a:pt x="756" y="823"/>
                  </a:moveTo>
                  <a:cubicBezTo>
                    <a:pt x="756" y="822"/>
                    <a:pt x="758" y="818"/>
                    <a:pt x="756" y="817"/>
                  </a:cubicBezTo>
                  <a:cubicBezTo>
                    <a:pt x="755" y="819"/>
                    <a:pt x="754" y="822"/>
                    <a:pt x="756" y="823"/>
                  </a:cubicBezTo>
                  <a:close/>
                  <a:moveTo>
                    <a:pt x="1183" y="820"/>
                  </a:moveTo>
                  <a:cubicBezTo>
                    <a:pt x="1184" y="824"/>
                    <a:pt x="1186" y="827"/>
                    <a:pt x="1183" y="830"/>
                  </a:cubicBezTo>
                  <a:cubicBezTo>
                    <a:pt x="1183" y="831"/>
                    <a:pt x="1185" y="830"/>
                    <a:pt x="1186" y="831"/>
                  </a:cubicBezTo>
                  <a:cubicBezTo>
                    <a:pt x="1186" y="828"/>
                    <a:pt x="1190" y="830"/>
                    <a:pt x="1192" y="830"/>
                  </a:cubicBezTo>
                  <a:cubicBezTo>
                    <a:pt x="1191" y="827"/>
                    <a:pt x="1194" y="828"/>
                    <a:pt x="1195" y="827"/>
                  </a:cubicBezTo>
                  <a:cubicBezTo>
                    <a:pt x="1195" y="826"/>
                    <a:pt x="1195" y="824"/>
                    <a:pt x="1195" y="823"/>
                  </a:cubicBezTo>
                  <a:cubicBezTo>
                    <a:pt x="1193" y="823"/>
                    <a:pt x="1189" y="821"/>
                    <a:pt x="1186" y="823"/>
                  </a:cubicBezTo>
                  <a:cubicBezTo>
                    <a:pt x="1186" y="821"/>
                    <a:pt x="1186" y="820"/>
                    <a:pt x="1186" y="819"/>
                  </a:cubicBezTo>
                  <a:cubicBezTo>
                    <a:pt x="1184" y="818"/>
                    <a:pt x="1184" y="820"/>
                    <a:pt x="1183" y="820"/>
                  </a:cubicBezTo>
                  <a:close/>
                  <a:moveTo>
                    <a:pt x="1195" y="822"/>
                  </a:moveTo>
                  <a:cubicBezTo>
                    <a:pt x="1195" y="821"/>
                    <a:pt x="1195" y="820"/>
                    <a:pt x="1195" y="819"/>
                  </a:cubicBezTo>
                  <a:cubicBezTo>
                    <a:pt x="1194" y="819"/>
                    <a:pt x="1193" y="819"/>
                    <a:pt x="1193" y="819"/>
                  </a:cubicBezTo>
                  <a:cubicBezTo>
                    <a:pt x="1193" y="820"/>
                    <a:pt x="1193" y="822"/>
                    <a:pt x="1195" y="822"/>
                  </a:cubicBezTo>
                  <a:close/>
                  <a:moveTo>
                    <a:pt x="855" y="826"/>
                  </a:moveTo>
                  <a:cubicBezTo>
                    <a:pt x="859" y="826"/>
                    <a:pt x="861" y="827"/>
                    <a:pt x="865" y="827"/>
                  </a:cubicBezTo>
                  <a:cubicBezTo>
                    <a:pt x="863" y="823"/>
                    <a:pt x="861" y="821"/>
                    <a:pt x="857" y="819"/>
                  </a:cubicBezTo>
                  <a:cubicBezTo>
                    <a:pt x="859" y="824"/>
                    <a:pt x="854" y="824"/>
                    <a:pt x="855" y="826"/>
                  </a:cubicBezTo>
                  <a:close/>
                  <a:moveTo>
                    <a:pt x="773" y="827"/>
                  </a:moveTo>
                  <a:cubicBezTo>
                    <a:pt x="776" y="827"/>
                    <a:pt x="775" y="820"/>
                    <a:pt x="773" y="821"/>
                  </a:cubicBezTo>
                  <a:cubicBezTo>
                    <a:pt x="772" y="823"/>
                    <a:pt x="775" y="825"/>
                    <a:pt x="773" y="827"/>
                  </a:cubicBezTo>
                  <a:close/>
                  <a:moveTo>
                    <a:pt x="886" y="827"/>
                  </a:moveTo>
                  <a:cubicBezTo>
                    <a:pt x="886" y="825"/>
                    <a:pt x="886" y="823"/>
                    <a:pt x="884" y="823"/>
                  </a:cubicBezTo>
                  <a:cubicBezTo>
                    <a:pt x="883" y="825"/>
                    <a:pt x="883" y="827"/>
                    <a:pt x="886" y="827"/>
                  </a:cubicBezTo>
                  <a:close/>
                  <a:moveTo>
                    <a:pt x="1186" y="838"/>
                  </a:moveTo>
                  <a:cubicBezTo>
                    <a:pt x="1189" y="839"/>
                    <a:pt x="1194" y="838"/>
                    <a:pt x="1197" y="838"/>
                  </a:cubicBezTo>
                  <a:cubicBezTo>
                    <a:pt x="1196" y="833"/>
                    <a:pt x="1198" y="830"/>
                    <a:pt x="1196" y="828"/>
                  </a:cubicBezTo>
                  <a:cubicBezTo>
                    <a:pt x="1196" y="832"/>
                    <a:pt x="1194" y="833"/>
                    <a:pt x="1192" y="834"/>
                  </a:cubicBezTo>
                  <a:cubicBezTo>
                    <a:pt x="1193" y="834"/>
                    <a:pt x="1194" y="834"/>
                    <a:pt x="1194" y="836"/>
                  </a:cubicBezTo>
                  <a:cubicBezTo>
                    <a:pt x="1191" y="834"/>
                    <a:pt x="1186" y="834"/>
                    <a:pt x="1186" y="838"/>
                  </a:cubicBezTo>
                  <a:close/>
                  <a:moveTo>
                    <a:pt x="856" y="830"/>
                  </a:moveTo>
                  <a:cubicBezTo>
                    <a:pt x="860" y="836"/>
                    <a:pt x="864" y="843"/>
                    <a:pt x="872" y="847"/>
                  </a:cubicBezTo>
                  <a:cubicBezTo>
                    <a:pt x="874" y="853"/>
                    <a:pt x="879" y="858"/>
                    <a:pt x="884" y="862"/>
                  </a:cubicBezTo>
                  <a:cubicBezTo>
                    <a:pt x="883" y="854"/>
                    <a:pt x="880" y="848"/>
                    <a:pt x="881" y="843"/>
                  </a:cubicBezTo>
                  <a:cubicBezTo>
                    <a:pt x="874" y="838"/>
                    <a:pt x="871" y="825"/>
                    <a:pt x="856" y="830"/>
                  </a:cubicBezTo>
                  <a:close/>
                  <a:moveTo>
                    <a:pt x="874" y="831"/>
                  </a:moveTo>
                  <a:cubicBezTo>
                    <a:pt x="874" y="835"/>
                    <a:pt x="878" y="832"/>
                    <a:pt x="881" y="834"/>
                  </a:cubicBezTo>
                  <a:cubicBezTo>
                    <a:pt x="880" y="832"/>
                    <a:pt x="876" y="829"/>
                    <a:pt x="874" y="831"/>
                  </a:cubicBezTo>
                  <a:close/>
                  <a:moveTo>
                    <a:pt x="886" y="834"/>
                  </a:moveTo>
                  <a:cubicBezTo>
                    <a:pt x="888" y="832"/>
                    <a:pt x="886" y="830"/>
                    <a:pt x="884" y="830"/>
                  </a:cubicBezTo>
                  <a:cubicBezTo>
                    <a:pt x="883" y="833"/>
                    <a:pt x="885" y="833"/>
                    <a:pt x="886" y="834"/>
                  </a:cubicBezTo>
                  <a:close/>
                  <a:moveTo>
                    <a:pt x="762" y="848"/>
                  </a:moveTo>
                  <a:cubicBezTo>
                    <a:pt x="766" y="844"/>
                    <a:pt x="774" y="838"/>
                    <a:pt x="769" y="831"/>
                  </a:cubicBezTo>
                  <a:cubicBezTo>
                    <a:pt x="768" y="833"/>
                    <a:pt x="763" y="832"/>
                    <a:pt x="760" y="832"/>
                  </a:cubicBezTo>
                  <a:cubicBezTo>
                    <a:pt x="759" y="835"/>
                    <a:pt x="755" y="838"/>
                    <a:pt x="758" y="842"/>
                  </a:cubicBezTo>
                  <a:cubicBezTo>
                    <a:pt x="753" y="842"/>
                    <a:pt x="755" y="848"/>
                    <a:pt x="753" y="851"/>
                  </a:cubicBezTo>
                  <a:cubicBezTo>
                    <a:pt x="752" y="857"/>
                    <a:pt x="747" y="860"/>
                    <a:pt x="749" y="864"/>
                  </a:cubicBezTo>
                  <a:cubicBezTo>
                    <a:pt x="753" y="858"/>
                    <a:pt x="761" y="852"/>
                    <a:pt x="760" y="845"/>
                  </a:cubicBezTo>
                  <a:cubicBezTo>
                    <a:pt x="761" y="845"/>
                    <a:pt x="759" y="849"/>
                    <a:pt x="762" y="848"/>
                  </a:cubicBezTo>
                  <a:close/>
                  <a:moveTo>
                    <a:pt x="775" y="834"/>
                  </a:moveTo>
                  <a:cubicBezTo>
                    <a:pt x="776" y="834"/>
                    <a:pt x="777" y="833"/>
                    <a:pt x="777" y="831"/>
                  </a:cubicBezTo>
                  <a:cubicBezTo>
                    <a:pt x="775" y="831"/>
                    <a:pt x="774" y="832"/>
                    <a:pt x="775" y="834"/>
                  </a:cubicBezTo>
                  <a:close/>
                  <a:moveTo>
                    <a:pt x="1185" y="838"/>
                  </a:moveTo>
                  <a:cubicBezTo>
                    <a:pt x="1184" y="837"/>
                    <a:pt x="1185" y="833"/>
                    <a:pt x="1183" y="834"/>
                  </a:cubicBezTo>
                  <a:cubicBezTo>
                    <a:pt x="1182" y="836"/>
                    <a:pt x="1181" y="838"/>
                    <a:pt x="1185" y="838"/>
                  </a:cubicBezTo>
                  <a:close/>
                  <a:moveTo>
                    <a:pt x="1201" y="837"/>
                  </a:moveTo>
                  <a:cubicBezTo>
                    <a:pt x="1204" y="838"/>
                    <a:pt x="1211" y="839"/>
                    <a:pt x="1214" y="837"/>
                  </a:cubicBezTo>
                  <a:cubicBezTo>
                    <a:pt x="1209" y="837"/>
                    <a:pt x="1205" y="835"/>
                    <a:pt x="1202" y="834"/>
                  </a:cubicBezTo>
                  <a:cubicBezTo>
                    <a:pt x="1201" y="834"/>
                    <a:pt x="1201" y="835"/>
                    <a:pt x="1201" y="837"/>
                  </a:cubicBezTo>
                  <a:close/>
                  <a:moveTo>
                    <a:pt x="1168" y="838"/>
                  </a:moveTo>
                  <a:cubicBezTo>
                    <a:pt x="1171" y="839"/>
                    <a:pt x="1180" y="840"/>
                    <a:pt x="1178" y="834"/>
                  </a:cubicBezTo>
                  <a:cubicBezTo>
                    <a:pt x="1175" y="836"/>
                    <a:pt x="1171" y="836"/>
                    <a:pt x="1168" y="838"/>
                  </a:cubicBezTo>
                  <a:close/>
                  <a:moveTo>
                    <a:pt x="752" y="841"/>
                  </a:moveTo>
                  <a:cubicBezTo>
                    <a:pt x="751" y="839"/>
                    <a:pt x="755" y="837"/>
                    <a:pt x="753" y="836"/>
                  </a:cubicBezTo>
                  <a:cubicBezTo>
                    <a:pt x="753" y="838"/>
                    <a:pt x="750" y="839"/>
                    <a:pt x="752" y="841"/>
                  </a:cubicBezTo>
                  <a:close/>
                  <a:moveTo>
                    <a:pt x="889" y="838"/>
                  </a:moveTo>
                  <a:cubicBezTo>
                    <a:pt x="887" y="850"/>
                    <a:pt x="894" y="854"/>
                    <a:pt x="902" y="856"/>
                  </a:cubicBezTo>
                  <a:cubicBezTo>
                    <a:pt x="900" y="857"/>
                    <a:pt x="898" y="854"/>
                    <a:pt x="898" y="857"/>
                  </a:cubicBezTo>
                  <a:cubicBezTo>
                    <a:pt x="901" y="861"/>
                    <a:pt x="905" y="864"/>
                    <a:pt x="908" y="869"/>
                  </a:cubicBezTo>
                  <a:cubicBezTo>
                    <a:pt x="908" y="861"/>
                    <a:pt x="903" y="855"/>
                    <a:pt x="902" y="846"/>
                  </a:cubicBezTo>
                  <a:cubicBezTo>
                    <a:pt x="901" y="844"/>
                    <a:pt x="900" y="847"/>
                    <a:pt x="900" y="845"/>
                  </a:cubicBezTo>
                  <a:cubicBezTo>
                    <a:pt x="901" y="843"/>
                    <a:pt x="900" y="839"/>
                    <a:pt x="899" y="837"/>
                  </a:cubicBezTo>
                  <a:cubicBezTo>
                    <a:pt x="896" y="837"/>
                    <a:pt x="891" y="836"/>
                    <a:pt x="889" y="838"/>
                  </a:cubicBezTo>
                  <a:close/>
                  <a:moveTo>
                    <a:pt x="776" y="851"/>
                  </a:moveTo>
                  <a:cubicBezTo>
                    <a:pt x="775" y="846"/>
                    <a:pt x="778" y="844"/>
                    <a:pt x="777" y="838"/>
                  </a:cubicBezTo>
                  <a:cubicBezTo>
                    <a:pt x="776" y="838"/>
                    <a:pt x="776" y="838"/>
                    <a:pt x="775" y="838"/>
                  </a:cubicBezTo>
                  <a:cubicBezTo>
                    <a:pt x="775" y="842"/>
                    <a:pt x="773" y="849"/>
                    <a:pt x="776" y="851"/>
                  </a:cubicBezTo>
                  <a:close/>
                  <a:moveTo>
                    <a:pt x="782" y="839"/>
                  </a:moveTo>
                  <a:cubicBezTo>
                    <a:pt x="780" y="850"/>
                    <a:pt x="780" y="858"/>
                    <a:pt x="779" y="868"/>
                  </a:cubicBezTo>
                  <a:cubicBezTo>
                    <a:pt x="783" y="868"/>
                    <a:pt x="787" y="861"/>
                    <a:pt x="790" y="856"/>
                  </a:cubicBezTo>
                  <a:cubicBezTo>
                    <a:pt x="796" y="852"/>
                    <a:pt x="800" y="845"/>
                    <a:pt x="804" y="839"/>
                  </a:cubicBezTo>
                  <a:cubicBezTo>
                    <a:pt x="797" y="837"/>
                    <a:pt x="790" y="840"/>
                    <a:pt x="782" y="839"/>
                  </a:cubicBezTo>
                  <a:close/>
                  <a:moveTo>
                    <a:pt x="1183" y="848"/>
                  </a:moveTo>
                  <a:cubicBezTo>
                    <a:pt x="1184" y="847"/>
                    <a:pt x="1183" y="845"/>
                    <a:pt x="1185" y="846"/>
                  </a:cubicBezTo>
                  <a:cubicBezTo>
                    <a:pt x="1185" y="847"/>
                    <a:pt x="1186" y="847"/>
                    <a:pt x="1186" y="847"/>
                  </a:cubicBezTo>
                  <a:cubicBezTo>
                    <a:pt x="1185" y="850"/>
                    <a:pt x="1184" y="848"/>
                    <a:pt x="1183" y="849"/>
                  </a:cubicBezTo>
                  <a:cubicBezTo>
                    <a:pt x="1182" y="852"/>
                    <a:pt x="1182" y="853"/>
                    <a:pt x="1183" y="856"/>
                  </a:cubicBezTo>
                  <a:cubicBezTo>
                    <a:pt x="1189" y="856"/>
                    <a:pt x="1194" y="853"/>
                    <a:pt x="1198" y="856"/>
                  </a:cubicBezTo>
                  <a:cubicBezTo>
                    <a:pt x="1199" y="849"/>
                    <a:pt x="1192" y="849"/>
                    <a:pt x="1191" y="843"/>
                  </a:cubicBezTo>
                  <a:cubicBezTo>
                    <a:pt x="1187" y="844"/>
                    <a:pt x="1186" y="841"/>
                    <a:pt x="1183" y="841"/>
                  </a:cubicBezTo>
                  <a:cubicBezTo>
                    <a:pt x="1182" y="842"/>
                    <a:pt x="1182" y="847"/>
                    <a:pt x="1183" y="848"/>
                  </a:cubicBezTo>
                  <a:close/>
                  <a:moveTo>
                    <a:pt x="1198" y="847"/>
                  </a:moveTo>
                  <a:cubicBezTo>
                    <a:pt x="1198" y="844"/>
                    <a:pt x="1198" y="843"/>
                    <a:pt x="1197" y="841"/>
                  </a:cubicBezTo>
                  <a:cubicBezTo>
                    <a:pt x="1196" y="841"/>
                    <a:pt x="1194" y="841"/>
                    <a:pt x="1193" y="841"/>
                  </a:cubicBezTo>
                  <a:cubicBezTo>
                    <a:pt x="1192" y="845"/>
                    <a:pt x="1196" y="845"/>
                    <a:pt x="1198" y="847"/>
                  </a:cubicBezTo>
                  <a:close/>
                  <a:moveTo>
                    <a:pt x="769" y="843"/>
                  </a:moveTo>
                  <a:cubicBezTo>
                    <a:pt x="764" y="853"/>
                    <a:pt x="752" y="861"/>
                    <a:pt x="748" y="870"/>
                  </a:cubicBezTo>
                  <a:cubicBezTo>
                    <a:pt x="753" y="869"/>
                    <a:pt x="762" y="869"/>
                    <a:pt x="772" y="869"/>
                  </a:cubicBezTo>
                  <a:cubicBezTo>
                    <a:pt x="772" y="860"/>
                    <a:pt x="771" y="852"/>
                    <a:pt x="771" y="843"/>
                  </a:cubicBezTo>
                  <a:cubicBezTo>
                    <a:pt x="771" y="843"/>
                    <a:pt x="770" y="843"/>
                    <a:pt x="769" y="843"/>
                  </a:cubicBezTo>
                  <a:close/>
                  <a:moveTo>
                    <a:pt x="889" y="867"/>
                  </a:moveTo>
                  <a:cubicBezTo>
                    <a:pt x="896" y="868"/>
                    <a:pt x="900" y="871"/>
                    <a:pt x="906" y="872"/>
                  </a:cubicBezTo>
                  <a:cubicBezTo>
                    <a:pt x="901" y="865"/>
                    <a:pt x="896" y="859"/>
                    <a:pt x="889" y="853"/>
                  </a:cubicBezTo>
                  <a:cubicBezTo>
                    <a:pt x="889" y="858"/>
                    <a:pt x="889" y="863"/>
                    <a:pt x="889" y="867"/>
                  </a:cubicBezTo>
                  <a:close/>
                  <a:moveTo>
                    <a:pt x="1180" y="869"/>
                  </a:moveTo>
                  <a:cubicBezTo>
                    <a:pt x="1183" y="869"/>
                    <a:pt x="1183" y="870"/>
                    <a:pt x="1183" y="873"/>
                  </a:cubicBezTo>
                  <a:cubicBezTo>
                    <a:pt x="1182" y="872"/>
                    <a:pt x="1181" y="873"/>
                    <a:pt x="1180" y="873"/>
                  </a:cubicBezTo>
                  <a:cubicBezTo>
                    <a:pt x="1180" y="874"/>
                    <a:pt x="1180" y="875"/>
                    <a:pt x="1180" y="876"/>
                  </a:cubicBezTo>
                  <a:cubicBezTo>
                    <a:pt x="1185" y="878"/>
                    <a:pt x="1195" y="876"/>
                    <a:pt x="1201" y="875"/>
                  </a:cubicBezTo>
                  <a:cubicBezTo>
                    <a:pt x="1198" y="869"/>
                    <a:pt x="1194" y="865"/>
                    <a:pt x="1191" y="859"/>
                  </a:cubicBezTo>
                  <a:cubicBezTo>
                    <a:pt x="1183" y="854"/>
                    <a:pt x="1179" y="860"/>
                    <a:pt x="1180" y="869"/>
                  </a:cubicBezTo>
                  <a:close/>
                  <a:moveTo>
                    <a:pt x="1200" y="861"/>
                  </a:moveTo>
                  <a:cubicBezTo>
                    <a:pt x="1199" y="856"/>
                    <a:pt x="1196" y="858"/>
                    <a:pt x="1193" y="857"/>
                  </a:cubicBezTo>
                  <a:cubicBezTo>
                    <a:pt x="1192" y="861"/>
                    <a:pt x="1197" y="863"/>
                    <a:pt x="1200" y="861"/>
                  </a:cubicBezTo>
                  <a:close/>
                  <a:moveTo>
                    <a:pt x="1201" y="869"/>
                  </a:moveTo>
                  <a:cubicBezTo>
                    <a:pt x="1201" y="867"/>
                    <a:pt x="1201" y="864"/>
                    <a:pt x="1198" y="864"/>
                  </a:cubicBezTo>
                  <a:cubicBezTo>
                    <a:pt x="1198" y="867"/>
                    <a:pt x="1199" y="869"/>
                    <a:pt x="1201" y="869"/>
                  </a:cubicBezTo>
                  <a:close/>
                  <a:moveTo>
                    <a:pt x="820" y="872"/>
                  </a:moveTo>
                  <a:cubicBezTo>
                    <a:pt x="823" y="878"/>
                    <a:pt x="832" y="875"/>
                    <a:pt x="837" y="875"/>
                  </a:cubicBezTo>
                  <a:cubicBezTo>
                    <a:pt x="844" y="875"/>
                    <a:pt x="850" y="875"/>
                    <a:pt x="856" y="875"/>
                  </a:cubicBezTo>
                  <a:cubicBezTo>
                    <a:pt x="867" y="874"/>
                    <a:pt x="879" y="876"/>
                    <a:pt x="885" y="871"/>
                  </a:cubicBezTo>
                  <a:cubicBezTo>
                    <a:pt x="865" y="870"/>
                    <a:pt x="841" y="871"/>
                    <a:pt x="820" y="872"/>
                  </a:cubicBezTo>
                  <a:close/>
                  <a:moveTo>
                    <a:pt x="895" y="873"/>
                  </a:moveTo>
                  <a:cubicBezTo>
                    <a:pt x="893" y="872"/>
                    <a:pt x="892" y="872"/>
                    <a:pt x="891" y="871"/>
                  </a:cubicBezTo>
                  <a:cubicBezTo>
                    <a:pt x="889" y="874"/>
                    <a:pt x="894" y="874"/>
                    <a:pt x="895" y="873"/>
                  </a:cubicBezTo>
                  <a:close/>
                  <a:moveTo>
                    <a:pt x="779" y="875"/>
                  </a:moveTo>
                  <a:cubicBezTo>
                    <a:pt x="788" y="875"/>
                    <a:pt x="804" y="878"/>
                    <a:pt x="810" y="873"/>
                  </a:cubicBezTo>
                  <a:cubicBezTo>
                    <a:pt x="800" y="872"/>
                    <a:pt x="784" y="870"/>
                    <a:pt x="779" y="875"/>
                  </a:cubicBezTo>
                  <a:close/>
                  <a:moveTo>
                    <a:pt x="773" y="873"/>
                  </a:moveTo>
                  <a:cubicBezTo>
                    <a:pt x="769" y="873"/>
                    <a:pt x="766" y="873"/>
                    <a:pt x="762" y="873"/>
                  </a:cubicBezTo>
                  <a:cubicBezTo>
                    <a:pt x="763" y="875"/>
                    <a:pt x="772" y="876"/>
                    <a:pt x="773" y="873"/>
                  </a:cubicBezTo>
                  <a:close/>
                  <a:moveTo>
                    <a:pt x="812" y="875"/>
                  </a:moveTo>
                  <a:cubicBezTo>
                    <a:pt x="814" y="875"/>
                    <a:pt x="818" y="876"/>
                    <a:pt x="818" y="874"/>
                  </a:cubicBezTo>
                  <a:cubicBezTo>
                    <a:pt x="817" y="872"/>
                    <a:pt x="812" y="872"/>
                    <a:pt x="812" y="875"/>
                  </a:cubicBezTo>
                  <a:close/>
                  <a:moveTo>
                    <a:pt x="753" y="884"/>
                  </a:moveTo>
                  <a:cubicBezTo>
                    <a:pt x="756" y="883"/>
                    <a:pt x="757" y="880"/>
                    <a:pt x="758" y="876"/>
                  </a:cubicBezTo>
                  <a:cubicBezTo>
                    <a:pt x="755" y="874"/>
                    <a:pt x="749" y="873"/>
                    <a:pt x="746" y="874"/>
                  </a:cubicBezTo>
                  <a:cubicBezTo>
                    <a:pt x="744" y="878"/>
                    <a:pt x="745" y="884"/>
                    <a:pt x="744" y="890"/>
                  </a:cubicBezTo>
                  <a:cubicBezTo>
                    <a:pt x="747" y="891"/>
                    <a:pt x="754" y="891"/>
                    <a:pt x="753" y="886"/>
                  </a:cubicBezTo>
                  <a:cubicBezTo>
                    <a:pt x="752" y="883"/>
                    <a:pt x="748" y="882"/>
                    <a:pt x="748" y="877"/>
                  </a:cubicBezTo>
                  <a:cubicBezTo>
                    <a:pt x="750" y="879"/>
                    <a:pt x="751" y="882"/>
                    <a:pt x="753" y="884"/>
                  </a:cubicBezTo>
                  <a:close/>
                  <a:moveTo>
                    <a:pt x="763" y="876"/>
                  </a:moveTo>
                  <a:cubicBezTo>
                    <a:pt x="762" y="882"/>
                    <a:pt x="762" y="897"/>
                    <a:pt x="766" y="901"/>
                  </a:cubicBezTo>
                  <a:cubicBezTo>
                    <a:pt x="767" y="892"/>
                    <a:pt x="773" y="888"/>
                    <a:pt x="772" y="879"/>
                  </a:cubicBezTo>
                  <a:cubicBezTo>
                    <a:pt x="768" y="878"/>
                    <a:pt x="766" y="877"/>
                    <a:pt x="763" y="876"/>
                  </a:cubicBezTo>
                  <a:close/>
                  <a:moveTo>
                    <a:pt x="908" y="883"/>
                  </a:moveTo>
                  <a:cubicBezTo>
                    <a:pt x="906" y="887"/>
                    <a:pt x="908" y="892"/>
                    <a:pt x="911" y="894"/>
                  </a:cubicBezTo>
                  <a:cubicBezTo>
                    <a:pt x="915" y="889"/>
                    <a:pt x="910" y="882"/>
                    <a:pt x="910" y="877"/>
                  </a:cubicBezTo>
                  <a:cubicBezTo>
                    <a:pt x="907" y="877"/>
                    <a:pt x="906" y="876"/>
                    <a:pt x="904" y="876"/>
                  </a:cubicBezTo>
                  <a:cubicBezTo>
                    <a:pt x="904" y="880"/>
                    <a:pt x="906" y="883"/>
                    <a:pt x="908" y="883"/>
                  </a:cubicBezTo>
                  <a:close/>
                  <a:moveTo>
                    <a:pt x="874" y="892"/>
                  </a:moveTo>
                  <a:cubicBezTo>
                    <a:pt x="873" y="892"/>
                    <a:pt x="873" y="891"/>
                    <a:pt x="872" y="891"/>
                  </a:cubicBezTo>
                  <a:cubicBezTo>
                    <a:pt x="871" y="893"/>
                    <a:pt x="869" y="895"/>
                    <a:pt x="868" y="897"/>
                  </a:cubicBezTo>
                  <a:cubicBezTo>
                    <a:pt x="874" y="901"/>
                    <a:pt x="877" y="912"/>
                    <a:pt x="889" y="908"/>
                  </a:cubicBezTo>
                  <a:cubicBezTo>
                    <a:pt x="890" y="896"/>
                    <a:pt x="887" y="888"/>
                    <a:pt x="886" y="877"/>
                  </a:cubicBezTo>
                  <a:cubicBezTo>
                    <a:pt x="878" y="879"/>
                    <a:pt x="876" y="886"/>
                    <a:pt x="874" y="892"/>
                  </a:cubicBezTo>
                  <a:close/>
                  <a:moveTo>
                    <a:pt x="898" y="896"/>
                  </a:moveTo>
                  <a:cubicBezTo>
                    <a:pt x="898" y="889"/>
                    <a:pt x="899" y="881"/>
                    <a:pt x="898" y="877"/>
                  </a:cubicBezTo>
                  <a:cubicBezTo>
                    <a:pt x="896" y="877"/>
                    <a:pt x="894" y="877"/>
                    <a:pt x="892" y="877"/>
                  </a:cubicBezTo>
                  <a:cubicBezTo>
                    <a:pt x="894" y="884"/>
                    <a:pt x="895" y="891"/>
                    <a:pt x="898" y="896"/>
                  </a:cubicBezTo>
                  <a:close/>
                  <a:moveTo>
                    <a:pt x="848" y="878"/>
                  </a:moveTo>
                  <a:cubicBezTo>
                    <a:pt x="854" y="884"/>
                    <a:pt x="859" y="891"/>
                    <a:pt x="867" y="895"/>
                  </a:cubicBezTo>
                  <a:cubicBezTo>
                    <a:pt x="870" y="889"/>
                    <a:pt x="878" y="884"/>
                    <a:pt x="878" y="877"/>
                  </a:cubicBezTo>
                  <a:cubicBezTo>
                    <a:pt x="868" y="877"/>
                    <a:pt x="859" y="879"/>
                    <a:pt x="848" y="878"/>
                  </a:cubicBezTo>
                  <a:close/>
                  <a:moveTo>
                    <a:pt x="790" y="899"/>
                  </a:moveTo>
                  <a:cubicBezTo>
                    <a:pt x="784" y="902"/>
                    <a:pt x="780" y="907"/>
                    <a:pt x="775" y="913"/>
                  </a:cubicBezTo>
                  <a:cubicBezTo>
                    <a:pt x="784" y="917"/>
                    <a:pt x="801" y="912"/>
                    <a:pt x="807" y="914"/>
                  </a:cubicBezTo>
                  <a:cubicBezTo>
                    <a:pt x="814" y="904"/>
                    <a:pt x="823" y="897"/>
                    <a:pt x="831" y="888"/>
                  </a:cubicBezTo>
                  <a:cubicBezTo>
                    <a:pt x="829" y="882"/>
                    <a:pt x="820" y="875"/>
                    <a:pt x="808" y="879"/>
                  </a:cubicBezTo>
                  <a:cubicBezTo>
                    <a:pt x="802" y="884"/>
                    <a:pt x="796" y="890"/>
                    <a:pt x="791" y="896"/>
                  </a:cubicBezTo>
                  <a:cubicBezTo>
                    <a:pt x="791" y="900"/>
                    <a:pt x="797" y="902"/>
                    <a:pt x="796" y="905"/>
                  </a:cubicBezTo>
                  <a:cubicBezTo>
                    <a:pt x="792" y="904"/>
                    <a:pt x="793" y="900"/>
                    <a:pt x="790" y="899"/>
                  </a:cubicBezTo>
                  <a:close/>
                  <a:moveTo>
                    <a:pt x="833" y="885"/>
                  </a:moveTo>
                  <a:cubicBezTo>
                    <a:pt x="836" y="884"/>
                    <a:pt x="836" y="880"/>
                    <a:pt x="840" y="880"/>
                  </a:cubicBezTo>
                  <a:cubicBezTo>
                    <a:pt x="840" y="884"/>
                    <a:pt x="835" y="884"/>
                    <a:pt x="835" y="888"/>
                  </a:cubicBezTo>
                  <a:cubicBezTo>
                    <a:pt x="842" y="895"/>
                    <a:pt x="849" y="901"/>
                    <a:pt x="857" y="907"/>
                  </a:cubicBezTo>
                  <a:cubicBezTo>
                    <a:pt x="860" y="905"/>
                    <a:pt x="862" y="901"/>
                    <a:pt x="864" y="899"/>
                  </a:cubicBezTo>
                  <a:cubicBezTo>
                    <a:pt x="854" y="889"/>
                    <a:pt x="848" y="875"/>
                    <a:pt x="827" y="878"/>
                  </a:cubicBezTo>
                  <a:cubicBezTo>
                    <a:pt x="827" y="882"/>
                    <a:pt x="830" y="883"/>
                    <a:pt x="833" y="885"/>
                  </a:cubicBezTo>
                  <a:close/>
                  <a:moveTo>
                    <a:pt x="789" y="893"/>
                  </a:moveTo>
                  <a:cubicBezTo>
                    <a:pt x="794" y="888"/>
                    <a:pt x="799" y="884"/>
                    <a:pt x="803" y="879"/>
                  </a:cubicBezTo>
                  <a:cubicBezTo>
                    <a:pt x="795" y="878"/>
                    <a:pt x="787" y="879"/>
                    <a:pt x="779" y="879"/>
                  </a:cubicBezTo>
                  <a:cubicBezTo>
                    <a:pt x="775" y="885"/>
                    <a:pt x="777" y="899"/>
                    <a:pt x="775" y="907"/>
                  </a:cubicBezTo>
                  <a:cubicBezTo>
                    <a:pt x="779" y="903"/>
                    <a:pt x="784" y="899"/>
                    <a:pt x="787" y="894"/>
                  </a:cubicBezTo>
                  <a:cubicBezTo>
                    <a:pt x="784" y="890"/>
                    <a:pt x="780" y="887"/>
                    <a:pt x="779" y="883"/>
                  </a:cubicBezTo>
                  <a:cubicBezTo>
                    <a:pt x="784" y="884"/>
                    <a:pt x="784" y="892"/>
                    <a:pt x="789" y="893"/>
                  </a:cubicBezTo>
                  <a:close/>
                  <a:moveTo>
                    <a:pt x="1193" y="881"/>
                  </a:moveTo>
                  <a:cubicBezTo>
                    <a:pt x="1188" y="881"/>
                    <a:pt x="1186" y="879"/>
                    <a:pt x="1180" y="879"/>
                  </a:cubicBezTo>
                  <a:cubicBezTo>
                    <a:pt x="1179" y="881"/>
                    <a:pt x="1177" y="884"/>
                    <a:pt x="1180" y="886"/>
                  </a:cubicBezTo>
                  <a:cubicBezTo>
                    <a:pt x="1182" y="885"/>
                    <a:pt x="1182" y="883"/>
                    <a:pt x="1185" y="883"/>
                  </a:cubicBezTo>
                  <a:cubicBezTo>
                    <a:pt x="1186" y="885"/>
                    <a:pt x="1187" y="887"/>
                    <a:pt x="1185" y="888"/>
                  </a:cubicBezTo>
                  <a:cubicBezTo>
                    <a:pt x="1184" y="888"/>
                    <a:pt x="1180" y="887"/>
                    <a:pt x="1178" y="888"/>
                  </a:cubicBezTo>
                  <a:cubicBezTo>
                    <a:pt x="1178" y="892"/>
                    <a:pt x="1183" y="891"/>
                    <a:pt x="1182" y="896"/>
                  </a:cubicBezTo>
                  <a:cubicBezTo>
                    <a:pt x="1181" y="897"/>
                    <a:pt x="1180" y="896"/>
                    <a:pt x="1178" y="896"/>
                  </a:cubicBezTo>
                  <a:cubicBezTo>
                    <a:pt x="1178" y="897"/>
                    <a:pt x="1177" y="900"/>
                    <a:pt x="1178" y="901"/>
                  </a:cubicBezTo>
                  <a:cubicBezTo>
                    <a:pt x="1189" y="900"/>
                    <a:pt x="1195" y="902"/>
                    <a:pt x="1204" y="901"/>
                  </a:cubicBezTo>
                  <a:cubicBezTo>
                    <a:pt x="1205" y="895"/>
                    <a:pt x="1199" y="896"/>
                    <a:pt x="1200" y="890"/>
                  </a:cubicBezTo>
                  <a:cubicBezTo>
                    <a:pt x="1202" y="890"/>
                    <a:pt x="1202" y="892"/>
                    <a:pt x="1204" y="892"/>
                  </a:cubicBezTo>
                  <a:cubicBezTo>
                    <a:pt x="1205" y="889"/>
                    <a:pt x="1203" y="888"/>
                    <a:pt x="1202" y="886"/>
                  </a:cubicBezTo>
                  <a:cubicBezTo>
                    <a:pt x="1203" y="885"/>
                    <a:pt x="1203" y="883"/>
                    <a:pt x="1203" y="881"/>
                  </a:cubicBezTo>
                  <a:cubicBezTo>
                    <a:pt x="1200" y="880"/>
                    <a:pt x="1194" y="876"/>
                    <a:pt x="1193" y="881"/>
                  </a:cubicBezTo>
                  <a:close/>
                  <a:moveTo>
                    <a:pt x="757" y="890"/>
                  </a:moveTo>
                  <a:cubicBezTo>
                    <a:pt x="760" y="891"/>
                    <a:pt x="759" y="886"/>
                    <a:pt x="758" y="886"/>
                  </a:cubicBezTo>
                  <a:cubicBezTo>
                    <a:pt x="758" y="888"/>
                    <a:pt x="756" y="888"/>
                    <a:pt x="757" y="890"/>
                  </a:cubicBezTo>
                  <a:close/>
                  <a:moveTo>
                    <a:pt x="833" y="890"/>
                  </a:moveTo>
                  <a:cubicBezTo>
                    <a:pt x="812" y="909"/>
                    <a:pt x="794" y="930"/>
                    <a:pt x="774" y="950"/>
                  </a:cubicBezTo>
                  <a:cubicBezTo>
                    <a:pt x="811" y="948"/>
                    <a:pt x="851" y="950"/>
                    <a:pt x="895" y="948"/>
                  </a:cubicBezTo>
                  <a:cubicBezTo>
                    <a:pt x="873" y="930"/>
                    <a:pt x="854" y="908"/>
                    <a:pt x="833" y="890"/>
                  </a:cubicBezTo>
                  <a:close/>
                  <a:moveTo>
                    <a:pt x="904" y="894"/>
                  </a:moveTo>
                  <a:cubicBezTo>
                    <a:pt x="906" y="893"/>
                    <a:pt x="905" y="889"/>
                    <a:pt x="903" y="890"/>
                  </a:cubicBezTo>
                  <a:cubicBezTo>
                    <a:pt x="903" y="891"/>
                    <a:pt x="901" y="895"/>
                    <a:pt x="904" y="894"/>
                  </a:cubicBezTo>
                  <a:close/>
                  <a:moveTo>
                    <a:pt x="745" y="901"/>
                  </a:moveTo>
                  <a:cubicBezTo>
                    <a:pt x="748" y="900"/>
                    <a:pt x="751" y="897"/>
                    <a:pt x="751" y="892"/>
                  </a:cubicBezTo>
                  <a:cubicBezTo>
                    <a:pt x="743" y="889"/>
                    <a:pt x="744" y="898"/>
                    <a:pt x="745" y="901"/>
                  </a:cubicBezTo>
                  <a:close/>
                  <a:moveTo>
                    <a:pt x="772" y="896"/>
                  </a:moveTo>
                  <a:cubicBezTo>
                    <a:pt x="771" y="895"/>
                    <a:pt x="773" y="892"/>
                    <a:pt x="771" y="892"/>
                  </a:cubicBezTo>
                  <a:cubicBezTo>
                    <a:pt x="771" y="894"/>
                    <a:pt x="769" y="897"/>
                    <a:pt x="772" y="896"/>
                  </a:cubicBezTo>
                  <a:close/>
                  <a:moveTo>
                    <a:pt x="749" y="910"/>
                  </a:moveTo>
                  <a:cubicBezTo>
                    <a:pt x="752" y="912"/>
                    <a:pt x="755" y="910"/>
                    <a:pt x="760" y="911"/>
                  </a:cubicBezTo>
                  <a:cubicBezTo>
                    <a:pt x="761" y="906"/>
                    <a:pt x="760" y="897"/>
                    <a:pt x="758" y="893"/>
                  </a:cubicBezTo>
                  <a:cubicBezTo>
                    <a:pt x="752" y="896"/>
                    <a:pt x="752" y="904"/>
                    <a:pt x="749" y="910"/>
                  </a:cubicBezTo>
                  <a:close/>
                  <a:moveTo>
                    <a:pt x="1267" y="894"/>
                  </a:moveTo>
                  <a:cubicBezTo>
                    <a:pt x="1269" y="897"/>
                    <a:pt x="1266" y="900"/>
                    <a:pt x="1270" y="901"/>
                  </a:cubicBezTo>
                  <a:cubicBezTo>
                    <a:pt x="1271" y="898"/>
                    <a:pt x="1269" y="896"/>
                    <a:pt x="1269" y="893"/>
                  </a:cubicBezTo>
                  <a:cubicBezTo>
                    <a:pt x="1268" y="894"/>
                    <a:pt x="1268" y="894"/>
                    <a:pt x="1267" y="894"/>
                  </a:cubicBezTo>
                  <a:close/>
                  <a:moveTo>
                    <a:pt x="893" y="899"/>
                  </a:moveTo>
                  <a:cubicBezTo>
                    <a:pt x="896" y="900"/>
                    <a:pt x="896" y="894"/>
                    <a:pt x="893" y="895"/>
                  </a:cubicBezTo>
                  <a:cubicBezTo>
                    <a:pt x="893" y="896"/>
                    <a:pt x="893" y="897"/>
                    <a:pt x="893" y="899"/>
                  </a:cubicBezTo>
                  <a:close/>
                  <a:moveTo>
                    <a:pt x="904" y="901"/>
                  </a:moveTo>
                  <a:cubicBezTo>
                    <a:pt x="900" y="901"/>
                    <a:pt x="902" y="908"/>
                    <a:pt x="902" y="912"/>
                  </a:cubicBezTo>
                  <a:cubicBezTo>
                    <a:pt x="904" y="913"/>
                    <a:pt x="911" y="914"/>
                    <a:pt x="911" y="911"/>
                  </a:cubicBezTo>
                  <a:cubicBezTo>
                    <a:pt x="910" y="907"/>
                    <a:pt x="907" y="904"/>
                    <a:pt x="905" y="901"/>
                  </a:cubicBezTo>
                  <a:cubicBezTo>
                    <a:pt x="906" y="900"/>
                    <a:pt x="907" y="903"/>
                    <a:pt x="908" y="901"/>
                  </a:cubicBezTo>
                  <a:cubicBezTo>
                    <a:pt x="906" y="900"/>
                    <a:pt x="907" y="896"/>
                    <a:pt x="905" y="895"/>
                  </a:cubicBezTo>
                  <a:cubicBezTo>
                    <a:pt x="904" y="895"/>
                    <a:pt x="904" y="895"/>
                    <a:pt x="903" y="895"/>
                  </a:cubicBezTo>
                  <a:cubicBezTo>
                    <a:pt x="903" y="898"/>
                    <a:pt x="904" y="899"/>
                    <a:pt x="904" y="901"/>
                  </a:cubicBezTo>
                  <a:close/>
                  <a:moveTo>
                    <a:pt x="913" y="901"/>
                  </a:moveTo>
                  <a:cubicBezTo>
                    <a:pt x="912" y="899"/>
                    <a:pt x="914" y="895"/>
                    <a:pt x="911" y="896"/>
                  </a:cubicBezTo>
                  <a:cubicBezTo>
                    <a:pt x="911" y="898"/>
                    <a:pt x="910" y="901"/>
                    <a:pt x="913" y="901"/>
                  </a:cubicBezTo>
                  <a:close/>
                  <a:moveTo>
                    <a:pt x="770" y="905"/>
                  </a:moveTo>
                  <a:cubicBezTo>
                    <a:pt x="770" y="905"/>
                    <a:pt x="772" y="899"/>
                    <a:pt x="769" y="900"/>
                  </a:cubicBezTo>
                  <a:cubicBezTo>
                    <a:pt x="770" y="902"/>
                    <a:pt x="768" y="905"/>
                    <a:pt x="770" y="905"/>
                  </a:cubicBezTo>
                  <a:close/>
                  <a:moveTo>
                    <a:pt x="860" y="908"/>
                  </a:moveTo>
                  <a:cubicBezTo>
                    <a:pt x="865" y="909"/>
                    <a:pt x="870" y="909"/>
                    <a:pt x="875" y="909"/>
                  </a:cubicBezTo>
                  <a:cubicBezTo>
                    <a:pt x="873" y="905"/>
                    <a:pt x="869" y="903"/>
                    <a:pt x="865" y="900"/>
                  </a:cubicBezTo>
                  <a:cubicBezTo>
                    <a:pt x="864" y="903"/>
                    <a:pt x="861" y="904"/>
                    <a:pt x="860" y="908"/>
                  </a:cubicBezTo>
                  <a:close/>
                  <a:moveTo>
                    <a:pt x="741" y="905"/>
                  </a:moveTo>
                  <a:cubicBezTo>
                    <a:pt x="743" y="906"/>
                    <a:pt x="744" y="900"/>
                    <a:pt x="742" y="901"/>
                  </a:cubicBezTo>
                  <a:cubicBezTo>
                    <a:pt x="742" y="902"/>
                    <a:pt x="741" y="903"/>
                    <a:pt x="741" y="905"/>
                  </a:cubicBezTo>
                  <a:close/>
                  <a:moveTo>
                    <a:pt x="898" y="909"/>
                  </a:moveTo>
                  <a:cubicBezTo>
                    <a:pt x="899" y="907"/>
                    <a:pt x="897" y="903"/>
                    <a:pt x="896" y="901"/>
                  </a:cubicBezTo>
                  <a:cubicBezTo>
                    <a:pt x="894" y="903"/>
                    <a:pt x="893" y="910"/>
                    <a:pt x="898" y="909"/>
                  </a:cubicBezTo>
                  <a:close/>
                  <a:moveTo>
                    <a:pt x="1203" y="921"/>
                  </a:moveTo>
                  <a:cubicBezTo>
                    <a:pt x="1200" y="915"/>
                    <a:pt x="1196" y="909"/>
                    <a:pt x="1191" y="905"/>
                  </a:cubicBezTo>
                  <a:cubicBezTo>
                    <a:pt x="1187" y="907"/>
                    <a:pt x="1182" y="903"/>
                    <a:pt x="1177" y="905"/>
                  </a:cubicBezTo>
                  <a:cubicBezTo>
                    <a:pt x="1177" y="906"/>
                    <a:pt x="1177" y="907"/>
                    <a:pt x="1177" y="908"/>
                  </a:cubicBezTo>
                  <a:cubicBezTo>
                    <a:pt x="1180" y="909"/>
                    <a:pt x="1186" y="907"/>
                    <a:pt x="1187" y="911"/>
                  </a:cubicBezTo>
                  <a:cubicBezTo>
                    <a:pt x="1183" y="912"/>
                    <a:pt x="1177" y="908"/>
                    <a:pt x="1176" y="913"/>
                  </a:cubicBezTo>
                  <a:cubicBezTo>
                    <a:pt x="1178" y="914"/>
                    <a:pt x="1181" y="912"/>
                    <a:pt x="1183" y="915"/>
                  </a:cubicBezTo>
                  <a:cubicBezTo>
                    <a:pt x="1183" y="917"/>
                    <a:pt x="1182" y="919"/>
                    <a:pt x="1181" y="920"/>
                  </a:cubicBezTo>
                  <a:cubicBezTo>
                    <a:pt x="1181" y="918"/>
                    <a:pt x="1177" y="917"/>
                    <a:pt x="1175" y="918"/>
                  </a:cubicBezTo>
                  <a:cubicBezTo>
                    <a:pt x="1175" y="921"/>
                    <a:pt x="1177" y="921"/>
                    <a:pt x="1177" y="923"/>
                  </a:cubicBezTo>
                  <a:cubicBezTo>
                    <a:pt x="1175" y="924"/>
                    <a:pt x="1174" y="925"/>
                    <a:pt x="1174" y="929"/>
                  </a:cubicBezTo>
                  <a:cubicBezTo>
                    <a:pt x="1186" y="930"/>
                    <a:pt x="1198" y="929"/>
                    <a:pt x="1208" y="929"/>
                  </a:cubicBezTo>
                  <a:cubicBezTo>
                    <a:pt x="1209" y="924"/>
                    <a:pt x="1204" y="924"/>
                    <a:pt x="1203" y="921"/>
                  </a:cubicBezTo>
                  <a:close/>
                  <a:moveTo>
                    <a:pt x="1196" y="905"/>
                  </a:moveTo>
                  <a:cubicBezTo>
                    <a:pt x="1198" y="908"/>
                    <a:pt x="1202" y="916"/>
                    <a:pt x="1207" y="912"/>
                  </a:cubicBezTo>
                  <a:cubicBezTo>
                    <a:pt x="1206" y="912"/>
                    <a:pt x="1206" y="911"/>
                    <a:pt x="1206" y="910"/>
                  </a:cubicBezTo>
                  <a:cubicBezTo>
                    <a:pt x="1203" y="911"/>
                    <a:pt x="1202" y="910"/>
                    <a:pt x="1201" y="908"/>
                  </a:cubicBezTo>
                  <a:cubicBezTo>
                    <a:pt x="1203" y="908"/>
                    <a:pt x="1204" y="907"/>
                    <a:pt x="1206" y="907"/>
                  </a:cubicBezTo>
                  <a:cubicBezTo>
                    <a:pt x="1207" y="902"/>
                    <a:pt x="1198" y="904"/>
                    <a:pt x="1196" y="905"/>
                  </a:cubicBezTo>
                  <a:close/>
                  <a:moveTo>
                    <a:pt x="767" y="910"/>
                  </a:moveTo>
                  <a:cubicBezTo>
                    <a:pt x="767" y="909"/>
                    <a:pt x="769" y="909"/>
                    <a:pt x="769" y="909"/>
                  </a:cubicBezTo>
                  <a:cubicBezTo>
                    <a:pt x="769" y="904"/>
                    <a:pt x="763" y="908"/>
                    <a:pt x="767" y="910"/>
                  </a:cubicBezTo>
                  <a:close/>
                  <a:moveTo>
                    <a:pt x="740" y="911"/>
                  </a:moveTo>
                  <a:cubicBezTo>
                    <a:pt x="743" y="911"/>
                    <a:pt x="743" y="910"/>
                    <a:pt x="743" y="907"/>
                  </a:cubicBezTo>
                  <a:cubicBezTo>
                    <a:pt x="742" y="907"/>
                    <a:pt x="742" y="907"/>
                    <a:pt x="741" y="907"/>
                  </a:cubicBezTo>
                  <a:cubicBezTo>
                    <a:pt x="741" y="909"/>
                    <a:pt x="740" y="909"/>
                    <a:pt x="740" y="911"/>
                  </a:cubicBezTo>
                  <a:close/>
                  <a:moveTo>
                    <a:pt x="885" y="918"/>
                  </a:moveTo>
                  <a:cubicBezTo>
                    <a:pt x="884" y="910"/>
                    <a:pt x="870" y="911"/>
                    <a:pt x="861" y="912"/>
                  </a:cubicBezTo>
                  <a:cubicBezTo>
                    <a:pt x="867" y="917"/>
                    <a:pt x="871" y="924"/>
                    <a:pt x="878" y="928"/>
                  </a:cubicBezTo>
                  <a:cubicBezTo>
                    <a:pt x="880" y="924"/>
                    <a:pt x="885" y="922"/>
                    <a:pt x="885" y="918"/>
                  </a:cubicBezTo>
                  <a:close/>
                  <a:moveTo>
                    <a:pt x="741" y="933"/>
                  </a:moveTo>
                  <a:cubicBezTo>
                    <a:pt x="737" y="935"/>
                    <a:pt x="736" y="941"/>
                    <a:pt x="734" y="946"/>
                  </a:cubicBezTo>
                  <a:cubicBezTo>
                    <a:pt x="744" y="938"/>
                    <a:pt x="751" y="928"/>
                    <a:pt x="761" y="920"/>
                  </a:cubicBezTo>
                  <a:cubicBezTo>
                    <a:pt x="761" y="918"/>
                    <a:pt x="761" y="915"/>
                    <a:pt x="760" y="914"/>
                  </a:cubicBezTo>
                  <a:cubicBezTo>
                    <a:pt x="758" y="914"/>
                    <a:pt x="753" y="914"/>
                    <a:pt x="748" y="914"/>
                  </a:cubicBezTo>
                  <a:cubicBezTo>
                    <a:pt x="745" y="919"/>
                    <a:pt x="742" y="924"/>
                    <a:pt x="741" y="933"/>
                  </a:cubicBezTo>
                  <a:close/>
                  <a:moveTo>
                    <a:pt x="737" y="927"/>
                  </a:moveTo>
                  <a:cubicBezTo>
                    <a:pt x="740" y="924"/>
                    <a:pt x="740" y="918"/>
                    <a:pt x="742" y="914"/>
                  </a:cubicBezTo>
                  <a:cubicBezTo>
                    <a:pt x="742" y="914"/>
                    <a:pt x="741" y="914"/>
                    <a:pt x="740" y="914"/>
                  </a:cubicBezTo>
                  <a:cubicBezTo>
                    <a:pt x="738" y="916"/>
                    <a:pt x="736" y="921"/>
                    <a:pt x="737" y="927"/>
                  </a:cubicBezTo>
                  <a:close/>
                  <a:moveTo>
                    <a:pt x="902" y="916"/>
                  </a:moveTo>
                  <a:cubicBezTo>
                    <a:pt x="901" y="922"/>
                    <a:pt x="900" y="934"/>
                    <a:pt x="909" y="932"/>
                  </a:cubicBezTo>
                  <a:cubicBezTo>
                    <a:pt x="912" y="939"/>
                    <a:pt x="918" y="945"/>
                    <a:pt x="924" y="947"/>
                  </a:cubicBezTo>
                  <a:cubicBezTo>
                    <a:pt x="919" y="937"/>
                    <a:pt x="916" y="926"/>
                    <a:pt x="912" y="916"/>
                  </a:cubicBezTo>
                  <a:cubicBezTo>
                    <a:pt x="908" y="917"/>
                    <a:pt x="906" y="915"/>
                    <a:pt x="902" y="916"/>
                  </a:cubicBezTo>
                  <a:close/>
                  <a:moveTo>
                    <a:pt x="1267" y="922"/>
                  </a:moveTo>
                  <a:cubicBezTo>
                    <a:pt x="1268" y="922"/>
                    <a:pt x="1271" y="921"/>
                    <a:pt x="1271" y="922"/>
                  </a:cubicBezTo>
                  <a:cubicBezTo>
                    <a:pt x="1270" y="924"/>
                    <a:pt x="1269" y="924"/>
                    <a:pt x="1268" y="923"/>
                  </a:cubicBezTo>
                  <a:cubicBezTo>
                    <a:pt x="1268" y="924"/>
                    <a:pt x="1267" y="927"/>
                    <a:pt x="1269" y="927"/>
                  </a:cubicBezTo>
                  <a:cubicBezTo>
                    <a:pt x="1269" y="926"/>
                    <a:pt x="1272" y="927"/>
                    <a:pt x="1272" y="926"/>
                  </a:cubicBezTo>
                  <a:cubicBezTo>
                    <a:pt x="1271" y="922"/>
                    <a:pt x="1273" y="919"/>
                    <a:pt x="1271" y="917"/>
                  </a:cubicBezTo>
                  <a:cubicBezTo>
                    <a:pt x="1271" y="918"/>
                    <a:pt x="1270" y="919"/>
                    <a:pt x="1269" y="918"/>
                  </a:cubicBezTo>
                  <a:cubicBezTo>
                    <a:pt x="1269" y="917"/>
                    <a:pt x="1270" y="916"/>
                    <a:pt x="1268" y="916"/>
                  </a:cubicBezTo>
                  <a:cubicBezTo>
                    <a:pt x="1267" y="918"/>
                    <a:pt x="1268" y="919"/>
                    <a:pt x="1267" y="922"/>
                  </a:cubicBezTo>
                  <a:close/>
                  <a:moveTo>
                    <a:pt x="1205" y="918"/>
                  </a:moveTo>
                  <a:cubicBezTo>
                    <a:pt x="1206" y="920"/>
                    <a:pt x="1207" y="921"/>
                    <a:pt x="1208" y="922"/>
                  </a:cubicBezTo>
                  <a:cubicBezTo>
                    <a:pt x="1210" y="919"/>
                    <a:pt x="1208" y="915"/>
                    <a:pt x="1205" y="918"/>
                  </a:cubicBezTo>
                  <a:close/>
                  <a:moveTo>
                    <a:pt x="775" y="918"/>
                  </a:moveTo>
                  <a:cubicBezTo>
                    <a:pt x="776" y="924"/>
                    <a:pt x="783" y="927"/>
                    <a:pt x="783" y="932"/>
                  </a:cubicBezTo>
                  <a:cubicBezTo>
                    <a:pt x="778" y="930"/>
                    <a:pt x="778" y="923"/>
                    <a:pt x="773" y="920"/>
                  </a:cubicBezTo>
                  <a:cubicBezTo>
                    <a:pt x="773" y="925"/>
                    <a:pt x="771" y="934"/>
                    <a:pt x="773" y="937"/>
                  </a:cubicBezTo>
                  <a:cubicBezTo>
                    <a:pt x="770" y="938"/>
                    <a:pt x="770" y="948"/>
                    <a:pt x="771" y="950"/>
                  </a:cubicBezTo>
                  <a:cubicBezTo>
                    <a:pt x="775" y="945"/>
                    <a:pt x="783" y="940"/>
                    <a:pt x="783" y="933"/>
                  </a:cubicBezTo>
                  <a:cubicBezTo>
                    <a:pt x="784" y="933"/>
                    <a:pt x="786" y="933"/>
                    <a:pt x="788" y="933"/>
                  </a:cubicBezTo>
                  <a:cubicBezTo>
                    <a:pt x="791" y="928"/>
                    <a:pt x="797" y="924"/>
                    <a:pt x="801" y="918"/>
                  </a:cubicBezTo>
                  <a:cubicBezTo>
                    <a:pt x="792" y="917"/>
                    <a:pt x="787" y="919"/>
                    <a:pt x="775" y="918"/>
                  </a:cubicBezTo>
                  <a:close/>
                  <a:moveTo>
                    <a:pt x="767" y="927"/>
                  </a:moveTo>
                  <a:cubicBezTo>
                    <a:pt x="768" y="924"/>
                    <a:pt x="768" y="921"/>
                    <a:pt x="768" y="918"/>
                  </a:cubicBezTo>
                  <a:cubicBezTo>
                    <a:pt x="768" y="918"/>
                    <a:pt x="767" y="918"/>
                    <a:pt x="766" y="918"/>
                  </a:cubicBezTo>
                  <a:cubicBezTo>
                    <a:pt x="765" y="921"/>
                    <a:pt x="765" y="925"/>
                    <a:pt x="767" y="927"/>
                  </a:cubicBezTo>
                  <a:close/>
                  <a:moveTo>
                    <a:pt x="881" y="930"/>
                  </a:moveTo>
                  <a:cubicBezTo>
                    <a:pt x="884" y="929"/>
                    <a:pt x="888" y="929"/>
                    <a:pt x="893" y="929"/>
                  </a:cubicBezTo>
                  <a:cubicBezTo>
                    <a:pt x="894" y="923"/>
                    <a:pt x="890" y="920"/>
                    <a:pt x="885" y="920"/>
                  </a:cubicBezTo>
                  <a:cubicBezTo>
                    <a:pt x="885" y="925"/>
                    <a:pt x="880" y="926"/>
                    <a:pt x="881" y="930"/>
                  </a:cubicBezTo>
                  <a:close/>
                  <a:moveTo>
                    <a:pt x="1306" y="927"/>
                  </a:moveTo>
                  <a:cubicBezTo>
                    <a:pt x="1307" y="924"/>
                    <a:pt x="1304" y="923"/>
                    <a:pt x="1303" y="924"/>
                  </a:cubicBezTo>
                  <a:cubicBezTo>
                    <a:pt x="1304" y="925"/>
                    <a:pt x="1304" y="927"/>
                    <a:pt x="1306" y="927"/>
                  </a:cubicBezTo>
                  <a:close/>
                  <a:moveTo>
                    <a:pt x="734" y="951"/>
                  </a:moveTo>
                  <a:cubicBezTo>
                    <a:pt x="740" y="951"/>
                    <a:pt x="755" y="953"/>
                    <a:pt x="764" y="951"/>
                  </a:cubicBezTo>
                  <a:cubicBezTo>
                    <a:pt x="763" y="942"/>
                    <a:pt x="763" y="932"/>
                    <a:pt x="761" y="924"/>
                  </a:cubicBezTo>
                  <a:cubicBezTo>
                    <a:pt x="752" y="933"/>
                    <a:pt x="742" y="942"/>
                    <a:pt x="734" y="951"/>
                  </a:cubicBezTo>
                  <a:close/>
                  <a:moveTo>
                    <a:pt x="1267" y="933"/>
                  </a:moveTo>
                  <a:cubicBezTo>
                    <a:pt x="1270" y="934"/>
                    <a:pt x="1273" y="934"/>
                    <a:pt x="1273" y="930"/>
                  </a:cubicBezTo>
                  <a:cubicBezTo>
                    <a:pt x="1270" y="928"/>
                    <a:pt x="1265" y="929"/>
                    <a:pt x="1267" y="933"/>
                  </a:cubicBezTo>
                  <a:close/>
                  <a:moveTo>
                    <a:pt x="1303" y="935"/>
                  </a:moveTo>
                  <a:cubicBezTo>
                    <a:pt x="1304" y="935"/>
                    <a:pt x="1305" y="935"/>
                    <a:pt x="1306" y="935"/>
                  </a:cubicBezTo>
                  <a:cubicBezTo>
                    <a:pt x="1306" y="934"/>
                    <a:pt x="1307" y="934"/>
                    <a:pt x="1307" y="931"/>
                  </a:cubicBezTo>
                  <a:cubicBezTo>
                    <a:pt x="1306" y="931"/>
                    <a:pt x="1305" y="930"/>
                    <a:pt x="1303" y="931"/>
                  </a:cubicBezTo>
                  <a:cubicBezTo>
                    <a:pt x="1303" y="931"/>
                    <a:pt x="1303" y="933"/>
                    <a:pt x="1303" y="935"/>
                  </a:cubicBezTo>
                  <a:close/>
                  <a:moveTo>
                    <a:pt x="895" y="945"/>
                  </a:moveTo>
                  <a:cubicBezTo>
                    <a:pt x="895" y="940"/>
                    <a:pt x="895" y="935"/>
                    <a:pt x="893" y="931"/>
                  </a:cubicBezTo>
                  <a:cubicBezTo>
                    <a:pt x="890" y="931"/>
                    <a:pt x="886" y="931"/>
                    <a:pt x="882" y="931"/>
                  </a:cubicBezTo>
                  <a:cubicBezTo>
                    <a:pt x="885" y="937"/>
                    <a:pt x="890" y="941"/>
                    <a:pt x="895" y="945"/>
                  </a:cubicBezTo>
                  <a:close/>
                  <a:moveTo>
                    <a:pt x="1194" y="934"/>
                  </a:moveTo>
                  <a:cubicBezTo>
                    <a:pt x="1187" y="932"/>
                    <a:pt x="1178" y="929"/>
                    <a:pt x="1173" y="935"/>
                  </a:cubicBezTo>
                  <a:cubicBezTo>
                    <a:pt x="1173" y="937"/>
                    <a:pt x="1178" y="935"/>
                    <a:pt x="1178" y="938"/>
                  </a:cubicBezTo>
                  <a:cubicBezTo>
                    <a:pt x="1178" y="941"/>
                    <a:pt x="1174" y="937"/>
                    <a:pt x="1172" y="940"/>
                  </a:cubicBezTo>
                  <a:cubicBezTo>
                    <a:pt x="1172" y="941"/>
                    <a:pt x="1172" y="942"/>
                    <a:pt x="1172" y="943"/>
                  </a:cubicBezTo>
                  <a:cubicBezTo>
                    <a:pt x="1176" y="943"/>
                    <a:pt x="1179" y="941"/>
                    <a:pt x="1181" y="944"/>
                  </a:cubicBezTo>
                  <a:cubicBezTo>
                    <a:pt x="1181" y="947"/>
                    <a:pt x="1176" y="948"/>
                    <a:pt x="1173" y="946"/>
                  </a:cubicBezTo>
                  <a:cubicBezTo>
                    <a:pt x="1172" y="950"/>
                    <a:pt x="1172" y="954"/>
                    <a:pt x="1170" y="956"/>
                  </a:cubicBezTo>
                  <a:cubicBezTo>
                    <a:pt x="1183" y="958"/>
                    <a:pt x="1201" y="958"/>
                    <a:pt x="1214" y="955"/>
                  </a:cubicBezTo>
                  <a:cubicBezTo>
                    <a:pt x="1206" y="949"/>
                    <a:pt x="1199" y="943"/>
                    <a:pt x="1194" y="934"/>
                  </a:cubicBezTo>
                  <a:close/>
                  <a:moveTo>
                    <a:pt x="1202" y="937"/>
                  </a:moveTo>
                  <a:cubicBezTo>
                    <a:pt x="1204" y="940"/>
                    <a:pt x="1207" y="945"/>
                    <a:pt x="1212" y="942"/>
                  </a:cubicBezTo>
                  <a:cubicBezTo>
                    <a:pt x="1213" y="937"/>
                    <a:pt x="1206" y="940"/>
                    <a:pt x="1205" y="937"/>
                  </a:cubicBezTo>
                  <a:cubicBezTo>
                    <a:pt x="1205" y="935"/>
                    <a:pt x="1209" y="936"/>
                    <a:pt x="1211" y="937"/>
                  </a:cubicBezTo>
                  <a:cubicBezTo>
                    <a:pt x="1211" y="935"/>
                    <a:pt x="1211" y="934"/>
                    <a:pt x="1211" y="932"/>
                  </a:cubicBezTo>
                  <a:cubicBezTo>
                    <a:pt x="1207" y="931"/>
                    <a:pt x="1201" y="932"/>
                    <a:pt x="1196" y="931"/>
                  </a:cubicBezTo>
                  <a:cubicBezTo>
                    <a:pt x="1195" y="935"/>
                    <a:pt x="1199" y="935"/>
                    <a:pt x="1202" y="937"/>
                  </a:cubicBezTo>
                  <a:close/>
                  <a:moveTo>
                    <a:pt x="902" y="949"/>
                  </a:moveTo>
                  <a:cubicBezTo>
                    <a:pt x="909" y="950"/>
                    <a:pt x="915" y="952"/>
                    <a:pt x="923" y="952"/>
                  </a:cubicBezTo>
                  <a:cubicBezTo>
                    <a:pt x="916" y="946"/>
                    <a:pt x="910" y="939"/>
                    <a:pt x="902" y="933"/>
                  </a:cubicBezTo>
                  <a:cubicBezTo>
                    <a:pt x="901" y="937"/>
                    <a:pt x="902" y="946"/>
                    <a:pt x="902" y="949"/>
                  </a:cubicBezTo>
                  <a:close/>
                  <a:moveTo>
                    <a:pt x="1267" y="939"/>
                  </a:moveTo>
                  <a:cubicBezTo>
                    <a:pt x="1270" y="939"/>
                    <a:pt x="1273" y="939"/>
                    <a:pt x="1273" y="937"/>
                  </a:cubicBezTo>
                  <a:cubicBezTo>
                    <a:pt x="1272" y="935"/>
                    <a:pt x="1267" y="936"/>
                    <a:pt x="1267" y="939"/>
                  </a:cubicBezTo>
                  <a:close/>
                  <a:moveTo>
                    <a:pt x="1277" y="942"/>
                  </a:moveTo>
                  <a:cubicBezTo>
                    <a:pt x="1280" y="959"/>
                    <a:pt x="1282" y="980"/>
                    <a:pt x="1287" y="996"/>
                  </a:cubicBezTo>
                  <a:cubicBezTo>
                    <a:pt x="1289" y="996"/>
                    <a:pt x="1291" y="996"/>
                    <a:pt x="1293" y="996"/>
                  </a:cubicBezTo>
                  <a:cubicBezTo>
                    <a:pt x="1296" y="976"/>
                    <a:pt x="1297" y="958"/>
                    <a:pt x="1299" y="941"/>
                  </a:cubicBezTo>
                  <a:cubicBezTo>
                    <a:pt x="1293" y="942"/>
                    <a:pt x="1285" y="941"/>
                    <a:pt x="1277" y="942"/>
                  </a:cubicBezTo>
                  <a:close/>
                  <a:moveTo>
                    <a:pt x="1266" y="942"/>
                  </a:moveTo>
                  <a:cubicBezTo>
                    <a:pt x="1270" y="945"/>
                    <a:pt x="1261" y="951"/>
                    <a:pt x="1268" y="953"/>
                  </a:cubicBezTo>
                  <a:cubicBezTo>
                    <a:pt x="1268" y="952"/>
                    <a:pt x="1267" y="949"/>
                    <a:pt x="1269" y="949"/>
                  </a:cubicBezTo>
                  <a:cubicBezTo>
                    <a:pt x="1275" y="948"/>
                    <a:pt x="1272" y="953"/>
                    <a:pt x="1275" y="954"/>
                  </a:cubicBezTo>
                  <a:cubicBezTo>
                    <a:pt x="1276" y="948"/>
                    <a:pt x="1271" y="946"/>
                    <a:pt x="1274" y="942"/>
                  </a:cubicBezTo>
                  <a:cubicBezTo>
                    <a:pt x="1272" y="942"/>
                    <a:pt x="1268" y="942"/>
                    <a:pt x="1266" y="942"/>
                  </a:cubicBezTo>
                  <a:close/>
                  <a:moveTo>
                    <a:pt x="1310" y="943"/>
                  </a:moveTo>
                  <a:cubicBezTo>
                    <a:pt x="1313" y="953"/>
                    <a:pt x="1312" y="959"/>
                    <a:pt x="1314" y="970"/>
                  </a:cubicBezTo>
                  <a:cubicBezTo>
                    <a:pt x="1317" y="967"/>
                    <a:pt x="1318" y="957"/>
                    <a:pt x="1314" y="955"/>
                  </a:cubicBezTo>
                  <a:cubicBezTo>
                    <a:pt x="1319" y="953"/>
                    <a:pt x="1320" y="944"/>
                    <a:pt x="1317" y="941"/>
                  </a:cubicBezTo>
                  <a:cubicBezTo>
                    <a:pt x="1314" y="940"/>
                    <a:pt x="1312" y="942"/>
                    <a:pt x="1310" y="943"/>
                  </a:cubicBezTo>
                  <a:close/>
                  <a:moveTo>
                    <a:pt x="1301" y="969"/>
                  </a:moveTo>
                  <a:cubicBezTo>
                    <a:pt x="1305" y="968"/>
                    <a:pt x="1306" y="965"/>
                    <a:pt x="1310" y="965"/>
                  </a:cubicBezTo>
                  <a:cubicBezTo>
                    <a:pt x="1310" y="961"/>
                    <a:pt x="1305" y="960"/>
                    <a:pt x="1306" y="955"/>
                  </a:cubicBezTo>
                  <a:cubicBezTo>
                    <a:pt x="1307" y="955"/>
                    <a:pt x="1308" y="957"/>
                    <a:pt x="1310" y="957"/>
                  </a:cubicBezTo>
                  <a:cubicBezTo>
                    <a:pt x="1310" y="953"/>
                    <a:pt x="1307" y="950"/>
                    <a:pt x="1304" y="948"/>
                  </a:cubicBezTo>
                  <a:cubicBezTo>
                    <a:pt x="1305" y="948"/>
                    <a:pt x="1305" y="947"/>
                    <a:pt x="1305" y="946"/>
                  </a:cubicBezTo>
                  <a:cubicBezTo>
                    <a:pt x="1307" y="946"/>
                    <a:pt x="1306" y="947"/>
                    <a:pt x="1308" y="946"/>
                  </a:cubicBezTo>
                  <a:cubicBezTo>
                    <a:pt x="1308" y="945"/>
                    <a:pt x="1308" y="944"/>
                    <a:pt x="1308" y="943"/>
                  </a:cubicBezTo>
                  <a:cubicBezTo>
                    <a:pt x="1305" y="943"/>
                    <a:pt x="1304" y="942"/>
                    <a:pt x="1303" y="942"/>
                  </a:cubicBezTo>
                  <a:cubicBezTo>
                    <a:pt x="1304" y="949"/>
                    <a:pt x="1299" y="960"/>
                    <a:pt x="1301" y="969"/>
                  </a:cubicBezTo>
                  <a:close/>
                  <a:moveTo>
                    <a:pt x="1213" y="950"/>
                  </a:moveTo>
                  <a:cubicBezTo>
                    <a:pt x="1213" y="947"/>
                    <a:pt x="1212" y="945"/>
                    <a:pt x="1209" y="946"/>
                  </a:cubicBezTo>
                  <a:cubicBezTo>
                    <a:pt x="1209" y="949"/>
                    <a:pt x="1211" y="949"/>
                    <a:pt x="1213" y="950"/>
                  </a:cubicBezTo>
                  <a:close/>
                  <a:moveTo>
                    <a:pt x="1321" y="962"/>
                  </a:moveTo>
                  <a:cubicBezTo>
                    <a:pt x="1326" y="961"/>
                    <a:pt x="1322" y="952"/>
                    <a:pt x="1321" y="950"/>
                  </a:cubicBezTo>
                  <a:cubicBezTo>
                    <a:pt x="1321" y="955"/>
                    <a:pt x="1320" y="959"/>
                    <a:pt x="1321" y="962"/>
                  </a:cubicBezTo>
                  <a:close/>
                  <a:moveTo>
                    <a:pt x="1275" y="956"/>
                  </a:moveTo>
                  <a:cubicBezTo>
                    <a:pt x="1273" y="956"/>
                    <a:pt x="1269" y="952"/>
                    <a:pt x="1265" y="956"/>
                  </a:cubicBezTo>
                  <a:cubicBezTo>
                    <a:pt x="1266" y="961"/>
                    <a:pt x="1261" y="965"/>
                    <a:pt x="1265" y="968"/>
                  </a:cubicBezTo>
                  <a:cubicBezTo>
                    <a:pt x="1264" y="966"/>
                    <a:pt x="1268" y="966"/>
                    <a:pt x="1267" y="968"/>
                  </a:cubicBezTo>
                  <a:cubicBezTo>
                    <a:pt x="1266" y="970"/>
                    <a:pt x="1264" y="967"/>
                    <a:pt x="1263" y="969"/>
                  </a:cubicBezTo>
                  <a:cubicBezTo>
                    <a:pt x="1264" y="976"/>
                    <a:pt x="1264" y="981"/>
                    <a:pt x="1262" y="985"/>
                  </a:cubicBezTo>
                  <a:cubicBezTo>
                    <a:pt x="1264" y="985"/>
                    <a:pt x="1266" y="982"/>
                    <a:pt x="1267" y="985"/>
                  </a:cubicBezTo>
                  <a:cubicBezTo>
                    <a:pt x="1266" y="987"/>
                    <a:pt x="1264" y="988"/>
                    <a:pt x="1262" y="987"/>
                  </a:cubicBezTo>
                  <a:cubicBezTo>
                    <a:pt x="1262" y="991"/>
                    <a:pt x="1261" y="992"/>
                    <a:pt x="1261" y="995"/>
                  </a:cubicBezTo>
                  <a:cubicBezTo>
                    <a:pt x="1269" y="994"/>
                    <a:pt x="1275" y="995"/>
                    <a:pt x="1282" y="994"/>
                  </a:cubicBezTo>
                  <a:cubicBezTo>
                    <a:pt x="1279" y="992"/>
                    <a:pt x="1280" y="990"/>
                    <a:pt x="1279" y="987"/>
                  </a:cubicBezTo>
                  <a:cubicBezTo>
                    <a:pt x="1277" y="989"/>
                    <a:pt x="1273" y="984"/>
                    <a:pt x="1273" y="981"/>
                  </a:cubicBezTo>
                  <a:cubicBezTo>
                    <a:pt x="1270" y="981"/>
                    <a:pt x="1268" y="980"/>
                    <a:pt x="1268" y="977"/>
                  </a:cubicBezTo>
                  <a:cubicBezTo>
                    <a:pt x="1270" y="977"/>
                    <a:pt x="1274" y="977"/>
                    <a:pt x="1276" y="978"/>
                  </a:cubicBezTo>
                  <a:cubicBezTo>
                    <a:pt x="1275" y="979"/>
                    <a:pt x="1273" y="978"/>
                    <a:pt x="1273" y="981"/>
                  </a:cubicBezTo>
                  <a:cubicBezTo>
                    <a:pt x="1275" y="981"/>
                    <a:pt x="1277" y="984"/>
                    <a:pt x="1280" y="985"/>
                  </a:cubicBezTo>
                  <a:cubicBezTo>
                    <a:pt x="1281" y="982"/>
                    <a:pt x="1277" y="984"/>
                    <a:pt x="1277" y="983"/>
                  </a:cubicBezTo>
                  <a:cubicBezTo>
                    <a:pt x="1281" y="977"/>
                    <a:pt x="1275" y="972"/>
                    <a:pt x="1273" y="968"/>
                  </a:cubicBezTo>
                  <a:cubicBezTo>
                    <a:pt x="1274" y="967"/>
                    <a:pt x="1274" y="967"/>
                    <a:pt x="1275" y="966"/>
                  </a:cubicBezTo>
                  <a:cubicBezTo>
                    <a:pt x="1276" y="966"/>
                    <a:pt x="1276" y="967"/>
                    <a:pt x="1277" y="967"/>
                  </a:cubicBezTo>
                  <a:cubicBezTo>
                    <a:pt x="1276" y="964"/>
                    <a:pt x="1276" y="957"/>
                    <a:pt x="1275" y="956"/>
                  </a:cubicBezTo>
                  <a:close/>
                  <a:moveTo>
                    <a:pt x="731" y="957"/>
                  </a:moveTo>
                  <a:cubicBezTo>
                    <a:pt x="730" y="964"/>
                    <a:pt x="732" y="968"/>
                    <a:pt x="734" y="972"/>
                  </a:cubicBezTo>
                  <a:cubicBezTo>
                    <a:pt x="737" y="973"/>
                    <a:pt x="736" y="973"/>
                    <a:pt x="740" y="972"/>
                  </a:cubicBezTo>
                  <a:cubicBezTo>
                    <a:pt x="741" y="970"/>
                    <a:pt x="742" y="969"/>
                    <a:pt x="742" y="965"/>
                  </a:cubicBezTo>
                  <a:cubicBezTo>
                    <a:pt x="740" y="963"/>
                    <a:pt x="733" y="961"/>
                    <a:pt x="734" y="957"/>
                  </a:cubicBezTo>
                  <a:cubicBezTo>
                    <a:pt x="739" y="957"/>
                    <a:pt x="738" y="963"/>
                    <a:pt x="743" y="963"/>
                  </a:cubicBezTo>
                  <a:cubicBezTo>
                    <a:pt x="744" y="961"/>
                    <a:pt x="745" y="959"/>
                    <a:pt x="745" y="956"/>
                  </a:cubicBezTo>
                  <a:cubicBezTo>
                    <a:pt x="741" y="955"/>
                    <a:pt x="733" y="954"/>
                    <a:pt x="731" y="957"/>
                  </a:cubicBezTo>
                  <a:close/>
                  <a:moveTo>
                    <a:pt x="903" y="957"/>
                  </a:moveTo>
                  <a:cubicBezTo>
                    <a:pt x="903" y="962"/>
                    <a:pt x="908" y="963"/>
                    <a:pt x="907" y="970"/>
                  </a:cubicBezTo>
                  <a:cubicBezTo>
                    <a:pt x="914" y="969"/>
                    <a:pt x="913" y="960"/>
                    <a:pt x="911" y="956"/>
                  </a:cubicBezTo>
                  <a:cubicBezTo>
                    <a:pt x="907" y="956"/>
                    <a:pt x="905" y="956"/>
                    <a:pt x="903" y="957"/>
                  </a:cubicBezTo>
                  <a:close/>
                  <a:moveTo>
                    <a:pt x="920" y="961"/>
                  </a:moveTo>
                  <a:cubicBezTo>
                    <a:pt x="921" y="959"/>
                    <a:pt x="924" y="959"/>
                    <a:pt x="924" y="956"/>
                  </a:cubicBezTo>
                  <a:cubicBezTo>
                    <a:pt x="922" y="956"/>
                    <a:pt x="919" y="956"/>
                    <a:pt x="917" y="956"/>
                  </a:cubicBezTo>
                  <a:cubicBezTo>
                    <a:pt x="917" y="959"/>
                    <a:pt x="918" y="961"/>
                    <a:pt x="920" y="961"/>
                  </a:cubicBezTo>
                  <a:close/>
                  <a:moveTo>
                    <a:pt x="757" y="974"/>
                  </a:moveTo>
                  <a:cubicBezTo>
                    <a:pt x="760" y="969"/>
                    <a:pt x="761" y="962"/>
                    <a:pt x="764" y="958"/>
                  </a:cubicBezTo>
                  <a:cubicBezTo>
                    <a:pt x="761" y="957"/>
                    <a:pt x="755" y="958"/>
                    <a:pt x="751" y="957"/>
                  </a:cubicBezTo>
                  <a:cubicBezTo>
                    <a:pt x="751" y="962"/>
                    <a:pt x="750" y="974"/>
                    <a:pt x="757" y="974"/>
                  </a:cubicBezTo>
                  <a:close/>
                  <a:moveTo>
                    <a:pt x="832" y="971"/>
                  </a:moveTo>
                  <a:cubicBezTo>
                    <a:pt x="835" y="967"/>
                    <a:pt x="841" y="961"/>
                    <a:pt x="842" y="957"/>
                  </a:cubicBezTo>
                  <a:cubicBezTo>
                    <a:pt x="835" y="957"/>
                    <a:pt x="826" y="958"/>
                    <a:pt x="820" y="957"/>
                  </a:cubicBezTo>
                  <a:cubicBezTo>
                    <a:pt x="823" y="963"/>
                    <a:pt x="827" y="967"/>
                    <a:pt x="832" y="971"/>
                  </a:cubicBezTo>
                  <a:close/>
                  <a:moveTo>
                    <a:pt x="851" y="957"/>
                  </a:moveTo>
                  <a:cubicBezTo>
                    <a:pt x="856" y="964"/>
                    <a:pt x="861" y="970"/>
                    <a:pt x="867" y="975"/>
                  </a:cubicBezTo>
                  <a:cubicBezTo>
                    <a:pt x="875" y="970"/>
                    <a:pt x="882" y="964"/>
                    <a:pt x="889" y="957"/>
                  </a:cubicBezTo>
                  <a:cubicBezTo>
                    <a:pt x="878" y="957"/>
                    <a:pt x="863" y="958"/>
                    <a:pt x="851" y="957"/>
                  </a:cubicBezTo>
                  <a:close/>
                  <a:moveTo>
                    <a:pt x="878" y="971"/>
                  </a:moveTo>
                  <a:cubicBezTo>
                    <a:pt x="885" y="971"/>
                    <a:pt x="892" y="971"/>
                    <a:pt x="899" y="971"/>
                  </a:cubicBezTo>
                  <a:cubicBezTo>
                    <a:pt x="898" y="966"/>
                    <a:pt x="899" y="960"/>
                    <a:pt x="897" y="957"/>
                  </a:cubicBezTo>
                  <a:cubicBezTo>
                    <a:pt x="889" y="960"/>
                    <a:pt x="884" y="965"/>
                    <a:pt x="878" y="971"/>
                  </a:cubicBezTo>
                  <a:close/>
                  <a:moveTo>
                    <a:pt x="771" y="959"/>
                  </a:moveTo>
                  <a:cubicBezTo>
                    <a:pt x="780" y="962"/>
                    <a:pt x="783" y="971"/>
                    <a:pt x="793" y="974"/>
                  </a:cubicBezTo>
                  <a:cubicBezTo>
                    <a:pt x="798" y="968"/>
                    <a:pt x="802" y="963"/>
                    <a:pt x="807" y="957"/>
                  </a:cubicBezTo>
                  <a:cubicBezTo>
                    <a:pt x="795" y="958"/>
                    <a:pt x="780" y="956"/>
                    <a:pt x="771" y="959"/>
                  </a:cubicBezTo>
                  <a:close/>
                  <a:moveTo>
                    <a:pt x="811" y="957"/>
                  </a:moveTo>
                  <a:cubicBezTo>
                    <a:pt x="805" y="963"/>
                    <a:pt x="799" y="972"/>
                    <a:pt x="795" y="977"/>
                  </a:cubicBezTo>
                  <a:cubicBezTo>
                    <a:pt x="802" y="982"/>
                    <a:pt x="808" y="988"/>
                    <a:pt x="816" y="992"/>
                  </a:cubicBezTo>
                  <a:cubicBezTo>
                    <a:pt x="820" y="986"/>
                    <a:pt x="826" y="981"/>
                    <a:pt x="829" y="974"/>
                  </a:cubicBezTo>
                  <a:cubicBezTo>
                    <a:pt x="825" y="968"/>
                    <a:pt x="820" y="963"/>
                    <a:pt x="816" y="957"/>
                  </a:cubicBezTo>
                  <a:cubicBezTo>
                    <a:pt x="815" y="958"/>
                    <a:pt x="811" y="957"/>
                    <a:pt x="811" y="957"/>
                  </a:cubicBezTo>
                  <a:close/>
                  <a:moveTo>
                    <a:pt x="846" y="958"/>
                  </a:moveTo>
                  <a:cubicBezTo>
                    <a:pt x="843" y="963"/>
                    <a:pt x="834" y="968"/>
                    <a:pt x="834" y="974"/>
                  </a:cubicBezTo>
                  <a:cubicBezTo>
                    <a:pt x="834" y="981"/>
                    <a:pt x="844" y="985"/>
                    <a:pt x="848" y="991"/>
                  </a:cubicBezTo>
                  <a:cubicBezTo>
                    <a:pt x="853" y="987"/>
                    <a:pt x="859" y="982"/>
                    <a:pt x="864" y="978"/>
                  </a:cubicBezTo>
                  <a:cubicBezTo>
                    <a:pt x="858" y="971"/>
                    <a:pt x="853" y="963"/>
                    <a:pt x="846" y="958"/>
                  </a:cubicBezTo>
                  <a:close/>
                  <a:moveTo>
                    <a:pt x="920" y="962"/>
                  </a:moveTo>
                  <a:cubicBezTo>
                    <a:pt x="921" y="966"/>
                    <a:pt x="921" y="970"/>
                    <a:pt x="922" y="973"/>
                  </a:cubicBezTo>
                  <a:cubicBezTo>
                    <a:pt x="924" y="973"/>
                    <a:pt x="925" y="973"/>
                    <a:pt x="927" y="972"/>
                  </a:cubicBezTo>
                  <a:cubicBezTo>
                    <a:pt x="925" y="969"/>
                    <a:pt x="929" y="959"/>
                    <a:pt x="924" y="958"/>
                  </a:cubicBezTo>
                  <a:cubicBezTo>
                    <a:pt x="925" y="961"/>
                    <a:pt x="921" y="960"/>
                    <a:pt x="920" y="962"/>
                  </a:cubicBezTo>
                  <a:close/>
                  <a:moveTo>
                    <a:pt x="768" y="974"/>
                  </a:moveTo>
                  <a:cubicBezTo>
                    <a:pt x="772" y="974"/>
                    <a:pt x="784" y="975"/>
                    <a:pt x="786" y="974"/>
                  </a:cubicBezTo>
                  <a:cubicBezTo>
                    <a:pt x="781" y="968"/>
                    <a:pt x="775" y="964"/>
                    <a:pt x="769" y="960"/>
                  </a:cubicBezTo>
                  <a:cubicBezTo>
                    <a:pt x="768" y="964"/>
                    <a:pt x="768" y="969"/>
                    <a:pt x="768" y="974"/>
                  </a:cubicBezTo>
                  <a:close/>
                  <a:moveTo>
                    <a:pt x="1195" y="962"/>
                  </a:moveTo>
                  <a:cubicBezTo>
                    <a:pt x="1188" y="961"/>
                    <a:pt x="1177" y="959"/>
                    <a:pt x="1170" y="962"/>
                  </a:cubicBezTo>
                  <a:cubicBezTo>
                    <a:pt x="1169" y="965"/>
                    <a:pt x="1171" y="965"/>
                    <a:pt x="1171" y="968"/>
                  </a:cubicBezTo>
                  <a:cubicBezTo>
                    <a:pt x="1168" y="967"/>
                    <a:pt x="1168" y="970"/>
                    <a:pt x="1169" y="971"/>
                  </a:cubicBezTo>
                  <a:cubicBezTo>
                    <a:pt x="1172" y="973"/>
                    <a:pt x="1180" y="968"/>
                    <a:pt x="1180" y="974"/>
                  </a:cubicBezTo>
                  <a:cubicBezTo>
                    <a:pt x="1177" y="975"/>
                    <a:pt x="1173" y="976"/>
                    <a:pt x="1169" y="975"/>
                  </a:cubicBezTo>
                  <a:cubicBezTo>
                    <a:pt x="1169" y="978"/>
                    <a:pt x="1168" y="983"/>
                    <a:pt x="1168" y="985"/>
                  </a:cubicBezTo>
                  <a:cubicBezTo>
                    <a:pt x="1177" y="986"/>
                    <a:pt x="1188" y="985"/>
                    <a:pt x="1199" y="985"/>
                  </a:cubicBezTo>
                  <a:cubicBezTo>
                    <a:pt x="1206" y="985"/>
                    <a:pt x="1214" y="987"/>
                    <a:pt x="1219" y="983"/>
                  </a:cubicBezTo>
                  <a:cubicBezTo>
                    <a:pt x="1216" y="981"/>
                    <a:pt x="1211" y="981"/>
                    <a:pt x="1211" y="976"/>
                  </a:cubicBezTo>
                  <a:cubicBezTo>
                    <a:pt x="1204" y="974"/>
                    <a:pt x="1200" y="966"/>
                    <a:pt x="1197" y="963"/>
                  </a:cubicBezTo>
                  <a:cubicBezTo>
                    <a:pt x="1202" y="965"/>
                    <a:pt x="1210" y="975"/>
                    <a:pt x="1217" y="969"/>
                  </a:cubicBezTo>
                  <a:cubicBezTo>
                    <a:pt x="1215" y="966"/>
                    <a:pt x="1211" y="970"/>
                    <a:pt x="1211" y="965"/>
                  </a:cubicBezTo>
                  <a:cubicBezTo>
                    <a:pt x="1212" y="962"/>
                    <a:pt x="1216" y="967"/>
                    <a:pt x="1216" y="963"/>
                  </a:cubicBezTo>
                  <a:cubicBezTo>
                    <a:pt x="1212" y="959"/>
                    <a:pt x="1199" y="959"/>
                    <a:pt x="1195" y="962"/>
                  </a:cubicBezTo>
                  <a:close/>
                  <a:moveTo>
                    <a:pt x="1320" y="968"/>
                  </a:moveTo>
                  <a:cubicBezTo>
                    <a:pt x="1322" y="969"/>
                    <a:pt x="1324" y="970"/>
                    <a:pt x="1325" y="972"/>
                  </a:cubicBezTo>
                  <a:cubicBezTo>
                    <a:pt x="1326" y="967"/>
                    <a:pt x="1325" y="964"/>
                    <a:pt x="1321" y="964"/>
                  </a:cubicBezTo>
                  <a:cubicBezTo>
                    <a:pt x="1321" y="966"/>
                    <a:pt x="1319" y="966"/>
                    <a:pt x="1320" y="968"/>
                  </a:cubicBezTo>
                  <a:close/>
                  <a:moveTo>
                    <a:pt x="762" y="975"/>
                  </a:moveTo>
                  <a:cubicBezTo>
                    <a:pt x="764" y="973"/>
                    <a:pt x="766" y="967"/>
                    <a:pt x="763" y="965"/>
                  </a:cubicBezTo>
                  <a:cubicBezTo>
                    <a:pt x="763" y="968"/>
                    <a:pt x="759" y="973"/>
                    <a:pt x="762" y="975"/>
                  </a:cubicBezTo>
                  <a:close/>
                  <a:moveTo>
                    <a:pt x="904" y="972"/>
                  </a:moveTo>
                  <a:cubicBezTo>
                    <a:pt x="906" y="970"/>
                    <a:pt x="906" y="966"/>
                    <a:pt x="903" y="966"/>
                  </a:cubicBezTo>
                  <a:cubicBezTo>
                    <a:pt x="903" y="968"/>
                    <a:pt x="903" y="971"/>
                    <a:pt x="904" y="972"/>
                  </a:cubicBezTo>
                  <a:close/>
                  <a:moveTo>
                    <a:pt x="1313" y="978"/>
                  </a:moveTo>
                  <a:cubicBezTo>
                    <a:pt x="1309" y="978"/>
                    <a:pt x="1309" y="972"/>
                    <a:pt x="1310" y="969"/>
                  </a:cubicBezTo>
                  <a:cubicBezTo>
                    <a:pt x="1308" y="970"/>
                    <a:pt x="1307" y="969"/>
                    <a:pt x="1304" y="969"/>
                  </a:cubicBezTo>
                  <a:cubicBezTo>
                    <a:pt x="1305" y="972"/>
                    <a:pt x="1303" y="973"/>
                    <a:pt x="1299" y="973"/>
                  </a:cubicBezTo>
                  <a:cubicBezTo>
                    <a:pt x="1299" y="982"/>
                    <a:pt x="1296" y="989"/>
                    <a:pt x="1298" y="996"/>
                  </a:cubicBezTo>
                  <a:cubicBezTo>
                    <a:pt x="1304" y="997"/>
                    <a:pt x="1307" y="995"/>
                    <a:pt x="1312" y="996"/>
                  </a:cubicBezTo>
                  <a:cubicBezTo>
                    <a:pt x="1314" y="991"/>
                    <a:pt x="1312" y="985"/>
                    <a:pt x="1313" y="978"/>
                  </a:cubicBezTo>
                  <a:close/>
                  <a:moveTo>
                    <a:pt x="909" y="971"/>
                  </a:moveTo>
                  <a:cubicBezTo>
                    <a:pt x="910" y="973"/>
                    <a:pt x="909" y="977"/>
                    <a:pt x="913" y="977"/>
                  </a:cubicBezTo>
                  <a:cubicBezTo>
                    <a:pt x="911" y="974"/>
                    <a:pt x="914" y="971"/>
                    <a:pt x="911" y="970"/>
                  </a:cubicBezTo>
                  <a:cubicBezTo>
                    <a:pt x="911" y="970"/>
                    <a:pt x="910" y="971"/>
                    <a:pt x="909" y="971"/>
                  </a:cubicBezTo>
                  <a:close/>
                  <a:moveTo>
                    <a:pt x="1421" y="972"/>
                  </a:moveTo>
                  <a:cubicBezTo>
                    <a:pt x="1421" y="974"/>
                    <a:pt x="1423" y="973"/>
                    <a:pt x="1423" y="976"/>
                  </a:cubicBezTo>
                  <a:cubicBezTo>
                    <a:pt x="1419" y="978"/>
                    <a:pt x="1419" y="986"/>
                    <a:pt x="1420" y="991"/>
                  </a:cubicBezTo>
                  <a:cubicBezTo>
                    <a:pt x="1422" y="991"/>
                    <a:pt x="1422" y="992"/>
                    <a:pt x="1424" y="992"/>
                  </a:cubicBezTo>
                  <a:cubicBezTo>
                    <a:pt x="1425" y="990"/>
                    <a:pt x="1425" y="987"/>
                    <a:pt x="1429" y="988"/>
                  </a:cubicBezTo>
                  <a:cubicBezTo>
                    <a:pt x="1425" y="983"/>
                    <a:pt x="1428" y="977"/>
                    <a:pt x="1428" y="970"/>
                  </a:cubicBezTo>
                  <a:cubicBezTo>
                    <a:pt x="1424" y="969"/>
                    <a:pt x="1422" y="970"/>
                    <a:pt x="1421" y="972"/>
                  </a:cubicBezTo>
                  <a:close/>
                  <a:moveTo>
                    <a:pt x="1320" y="989"/>
                  </a:moveTo>
                  <a:cubicBezTo>
                    <a:pt x="1323" y="986"/>
                    <a:pt x="1324" y="983"/>
                    <a:pt x="1321" y="978"/>
                  </a:cubicBezTo>
                  <a:cubicBezTo>
                    <a:pt x="1323" y="978"/>
                    <a:pt x="1324" y="977"/>
                    <a:pt x="1325" y="979"/>
                  </a:cubicBezTo>
                  <a:cubicBezTo>
                    <a:pt x="1326" y="974"/>
                    <a:pt x="1323" y="973"/>
                    <a:pt x="1319" y="972"/>
                  </a:cubicBezTo>
                  <a:cubicBezTo>
                    <a:pt x="1319" y="979"/>
                    <a:pt x="1317" y="984"/>
                    <a:pt x="1320" y="989"/>
                  </a:cubicBezTo>
                  <a:close/>
                  <a:moveTo>
                    <a:pt x="879" y="973"/>
                  </a:moveTo>
                  <a:cubicBezTo>
                    <a:pt x="882" y="978"/>
                    <a:pt x="888" y="980"/>
                    <a:pt x="893" y="983"/>
                  </a:cubicBezTo>
                  <a:cubicBezTo>
                    <a:pt x="895" y="982"/>
                    <a:pt x="896" y="977"/>
                    <a:pt x="900" y="979"/>
                  </a:cubicBezTo>
                  <a:cubicBezTo>
                    <a:pt x="902" y="968"/>
                    <a:pt x="887" y="975"/>
                    <a:pt x="879" y="973"/>
                  </a:cubicBezTo>
                  <a:close/>
                  <a:moveTo>
                    <a:pt x="727" y="988"/>
                  </a:moveTo>
                  <a:cubicBezTo>
                    <a:pt x="730" y="989"/>
                    <a:pt x="729" y="984"/>
                    <a:pt x="732" y="986"/>
                  </a:cubicBezTo>
                  <a:cubicBezTo>
                    <a:pt x="732" y="984"/>
                    <a:pt x="733" y="983"/>
                    <a:pt x="734" y="982"/>
                  </a:cubicBezTo>
                  <a:cubicBezTo>
                    <a:pt x="735" y="982"/>
                    <a:pt x="734" y="984"/>
                    <a:pt x="736" y="984"/>
                  </a:cubicBezTo>
                  <a:cubicBezTo>
                    <a:pt x="737" y="981"/>
                    <a:pt x="739" y="979"/>
                    <a:pt x="739" y="975"/>
                  </a:cubicBezTo>
                  <a:cubicBezTo>
                    <a:pt x="737" y="975"/>
                    <a:pt x="737" y="974"/>
                    <a:pt x="734" y="974"/>
                  </a:cubicBezTo>
                  <a:cubicBezTo>
                    <a:pt x="734" y="982"/>
                    <a:pt x="728" y="983"/>
                    <a:pt x="727" y="988"/>
                  </a:cubicBezTo>
                  <a:close/>
                  <a:moveTo>
                    <a:pt x="745" y="978"/>
                  </a:moveTo>
                  <a:cubicBezTo>
                    <a:pt x="745" y="977"/>
                    <a:pt x="747" y="977"/>
                    <a:pt x="747" y="975"/>
                  </a:cubicBezTo>
                  <a:cubicBezTo>
                    <a:pt x="745" y="973"/>
                    <a:pt x="741" y="978"/>
                    <a:pt x="745" y="978"/>
                  </a:cubicBezTo>
                  <a:close/>
                  <a:moveTo>
                    <a:pt x="920" y="982"/>
                  </a:moveTo>
                  <a:cubicBezTo>
                    <a:pt x="919" y="979"/>
                    <a:pt x="919" y="976"/>
                    <a:pt x="917" y="974"/>
                  </a:cubicBezTo>
                  <a:cubicBezTo>
                    <a:pt x="916" y="977"/>
                    <a:pt x="917" y="982"/>
                    <a:pt x="920" y="982"/>
                  </a:cubicBezTo>
                  <a:close/>
                  <a:moveTo>
                    <a:pt x="927" y="985"/>
                  </a:moveTo>
                  <a:cubicBezTo>
                    <a:pt x="926" y="982"/>
                    <a:pt x="927" y="978"/>
                    <a:pt x="926" y="975"/>
                  </a:cubicBezTo>
                  <a:cubicBezTo>
                    <a:pt x="925" y="975"/>
                    <a:pt x="924" y="975"/>
                    <a:pt x="924" y="974"/>
                  </a:cubicBezTo>
                  <a:cubicBezTo>
                    <a:pt x="924" y="978"/>
                    <a:pt x="924" y="983"/>
                    <a:pt x="927" y="985"/>
                  </a:cubicBezTo>
                  <a:close/>
                  <a:moveTo>
                    <a:pt x="729" y="980"/>
                  </a:moveTo>
                  <a:cubicBezTo>
                    <a:pt x="728" y="977"/>
                    <a:pt x="730" y="977"/>
                    <a:pt x="730" y="975"/>
                  </a:cubicBezTo>
                  <a:cubicBezTo>
                    <a:pt x="729" y="975"/>
                    <a:pt x="728" y="975"/>
                    <a:pt x="727" y="975"/>
                  </a:cubicBezTo>
                  <a:cubicBezTo>
                    <a:pt x="728" y="978"/>
                    <a:pt x="726" y="979"/>
                    <a:pt x="729" y="980"/>
                  </a:cubicBezTo>
                  <a:close/>
                  <a:moveTo>
                    <a:pt x="877" y="975"/>
                  </a:moveTo>
                  <a:cubicBezTo>
                    <a:pt x="873" y="975"/>
                    <a:pt x="872" y="975"/>
                    <a:pt x="869" y="977"/>
                  </a:cubicBezTo>
                  <a:cubicBezTo>
                    <a:pt x="872" y="983"/>
                    <a:pt x="877" y="987"/>
                    <a:pt x="882" y="991"/>
                  </a:cubicBezTo>
                  <a:cubicBezTo>
                    <a:pt x="885" y="990"/>
                    <a:pt x="887" y="988"/>
                    <a:pt x="889" y="985"/>
                  </a:cubicBezTo>
                  <a:cubicBezTo>
                    <a:pt x="888" y="980"/>
                    <a:pt x="880" y="980"/>
                    <a:pt x="877" y="975"/>
                  </a:cubicBezTo>
                  <a:close/>
                  <a:moveTo>
                    <a:pt x="1211" y="976"/>
                  </a:moveTo>
                  <a:cubicBezTo>
                    <a:pt x="1213" y="977"/>
                    <a:pt x="1216" y="978"/>
                    <a:pt x="1218" y="978"/>
                  </a:cubicBezTo>
                  <a:cubicBezTo>
                    <a:pt x="1220" y="974"/>
                    <a:pt x="1212" y="974"/>
                    <a:pt x="1211" y="976"/>
                  </a:cubicBezTo>
                  <a:close/>
                  <a:moveTo>
                    <a:pt x="753" y="993"/>
                  </a:moveTo>
                  <a:cubicBezTo>
                    <a:pt x="757" y="993"/>
                    <a:pt x="756" y="987"/>
                    <a:pt x="758" y="985"/>
                  </a:cubicBezTo>
                  <a:cubicBezTo>
                    <a:pt x="758" y="987"/>
                    <a:pt x="755" y="993"/>
                    <a:pt x="760" y="992"/>
                  </a:cubicBezTo>
                  <a:cubicBezTo>
                    <a:pt x="760" y="990"/>
                    <a:pt x="762" y="987"/>
                    <a:pt x="762" y="983"/>
                  </a:cubicBezTo>
                  <a:cubicBezTo>
                    <a:pt x="759" y="983"/>
                    <a:pt x="759" y="981"/>
                    <a:pt x="758" y="981"/>
                  </a:cubicBezTo>
                  <a:cubicBezTo>
                    <a:pt x="757" y="982"/>
                    <a:pt x="757" y="984"/>
                    <a:pt x="755" y="983"/>
                  </a:cubicBezTo>
                  <a:cubicBezTo>
                    <a:pt x="753" y="981"/>
                    <a:pt x="756" y="979"/>
                    <a:pt x="755" y="976"/>
                  </a:cubicBezTo>
                  <a:cubicBezTo>
                    <a:pt x="755" y="976"/>
                    <a:pt x="755" y="976"/>
                    <a:pt x="753" y="976"/>
                  </a:cubicBezTo>
                  <a:cubicBezTo>
                    <a:pt x="752" y="982"/>
                    <a:pt x="756" y="987"/>
                    <a:pt x="753" y="993"/>
                  </a:cubicBezTo>
                  <a:close/>
                  <a:moveTo>
                    <a:pt x="761" y="979"/>
                  </a:moveTo>
                  <a:cubicBezTo>
                    <a:pt x="764" y="980"/>
                    <a:pt x="764" y="976"/>
                    <a:pt x="761" y="976"/>
                  </a:cubicBezTo>
                  <a:cubicBezTo>
                    <a:pt x="761" y="977"/>
                    <a:pt x="761" y="978"/>
                    <a:pt x="761" y="979"/>
                  </a:cubicBezTo>
                  <a:close/>
                  <a:moveTo>
                    <a:pt x="768" y="986"/>
                  </a:moveTo>
                  <a:cubicBezTo>
                    <a:pt x="766" y="986"/>
                    <a:pt x="765" y="987"/>
                    <a:pt x="766" y="989"/>
                  </a:cubicBezTo>
                  <a:cubicBezTo>
                    <a:pt x="767" y="991"/>
                    <a:pt x="772" y="994"/>
                    <a:pt x="773" y="990"/>
                  </a:cubicBezTo>
                  <a:cubicBezTo>
                    <a:pt x="770" y="990"/>
                    <a:pt x="770" y="991"/>
                    <a:pt x="768" y="990"/>
                  </a:cubicBezTo>
                  <a:cubicBezTo>
                    <a:pt x="769" y="989"/>
                    <a:pt x="768" y="986"/>
                    <a:pt x="769" y="985"/>
                  </a:cubicBezTo>
                  <a:cubicBezTo>
                    <a:pt x="775" y="989"/>
                    <a:pt x="780" y="978"/>
                    <a:pt x="786" y="979"/>
                  </a:cubicBezTo>
                  <a:cubicBezTo>
                    <a:pt x="782" y="983"/>
                    <a:pt x="778" y="985"/>
                    <a:pt x="774" y="987"/>
                  </a:cubicBezTo>
                  <a:cubicBezTo>
                    <a:pt x="774" y="990"/>
                    <a:pt x="775" y="991"/>
                    <a:pt x="778" y="991"/>
                  </a:cubicBezTo>
                  <a:cubicBezTo>
                    <a:pt x="782" y="987"/>
                    <a:pt x="786" y="983"/>
                    <a:pt x="789" y="978"/>
                  </a:cubicBezTo>
                  <a:cubicBezTo>
                    <a:pt x="783" y="976"/>
                    <a:pt x="775" y="976"/>
                    <a:pt x="768" y="976"/>
                  </a:cubicBezTo>
                  <a:cubicBezTo>
                    <a:pt x="766" y="980"/>
                    <a:pt x="767" y="983"/>
                    <a:pt x="768" y="986"/>
                  </a:cubicBezTo>
                  <a:close/>
                  <a:moveTo>
                    <a:pt x="782" y="992"/>
                  </a:moveTo>
                  <a:cubicBezTo>
                    <a:pt x="791" y="991"/>
                    <a:pt x="803" y="994"/>
                    <a:pt x="810" y="991"/>
                  </a:cubicBezTo>
                  <a:cubicBezTo>
                    <a:pt x="804" y="987"/>
                    <a:pt x="799" y="982"/>
                    <a:pt x="793" y="978"/>
                  </a:cubicBezTo>
                  <a:cubicBezTo>
                    <a:pt x="790" y="984"/>
                    <a:pt x="785" y="987"/>
                    <a:pt x="782" y="992"/>
                  </a:cubicBezTo>
                  <a:close/>
                  <a:moveTo>
                    <a:pt x="738" y="991"/>
                  </a:moveTo>
                  <a:cubicBezTo>
                    <a:pt x="740" y="993"/>
                    <a:pt x="744" y="992"/>
                    <a:pt x="747" y="992"/>
                  </a:cubicBezTo>
                  <a:cubicBezTo>
                    <a:pt x="749" y="989"/>
                    <a:pt x="746" y="985"/>
                    <a:pt x="747" y="979"/>
                  </a:cubicBezTo>
                  <a:cubicBezTo>
                    <a:pt x="741" y="980"/>
                    <a:pt x="741" y="987"/>
                    <a:pt x="738" y="991"/>
                  </a:cubicBezTo>
                  <a:close/>
                  <a:moveTo>
                    <a:pt x="907" y="991"/>
                  </a:moveTo>
                  <a:cubicBezTo>
                    <a:pt x="909" y="991"/>
                    <a:pt x="912" y="991"/>
                    <a:pt x="913" y="990"/>
                  </a:cubicBezTo>
                  <a:cubicBezTo>
                    <a:pt x="912" y="985"/>
                    <a:pt x="908" y="982"/>
                    <a:pt x="907" y="979"/>
                  </a:cubicBezTo>
                  <a:cubicBezTo>
                    <a:pt x="906" y="983"/>
                    <a:pt x="908" y="988"/>
                    <a:pt x="907" y="991"/>
                  </a:cubicBezTo>
                  <a:close/>
                  <a:moveTo>
                    <a:pt x="865" y="980"/>
                  </a:moveTo>
                  <a:cubicBezTo>
                    <a:pt x="862" y="984"/>
                    <a:pt x="856" y="986"/>
                    <a:pt x="854" y="991"/>
                  </a:cubicBezTo>
                  <a:cubicBezTo>
                    <a:pt x="860" y="990"/>
                    <a:pt x="868" y="992"/>
                    <a:pt x="874" y="990"/>
                  </a:cubicBezTo>
                  <a:cubicBezTo>
                    <a:pt x="873" y="985"/>
                    <a:pt x="869" y="983"/>
                    <a:pt x="865" y="980"/>
                  </a:cubicBezTo>
                  <a:close/>
                  <a:moveTo>
                    <a:pt x="895" y="985"/>
                  </a:moveTo>
                  <a:cubicBezTo>
                    <a:pt x="898" y="985"/>
                    <a:pt x="898" y="988"/>
                    <a:pt x="902" y="988"/>
                  </a:cubicBezTo>
                  <a:cubicBezTo>
                    <a:pt x="902" y="980"/>
                    <a:pt x="898" y="978"/>
                    <a:pt x="895" y="985"/>
                  </a:cubicBezTo>
                  <a:close/>
                  <a:moveTo>
                    <a:pt x="1350" y="985"/>
                  </a:moveTo>
                  <a:cubicBezTo>
                    <a:pt x="1350" y="983"/>
                    <a:pt x="1351" y="980"/>
                    <a:pt x="1349" y="980"/>
                  </a:cubicBezTo>
                  <a:cubicBezTo>
                    <a:pt x="1349" y="983"/>
                    <a:pt x="1347" y="984"/>
                    <a:pt x="1350" y="985"/>
                  </a:cubicBezTo>
                  <a:close/>
                  <a:moveTo>
                    <a:pt x="1163" y="986"/>
                  </a:moveTo>
                  <a:cubicBezTo>
                    <a:pt x="1163" y="985"/>
                    <a:pt x="1165" y="981"/>
                    <a:pt x="1162" y="981"/>
                  </a:cubicBezTo>
                  <a:cubicBezTo>
                    <a:pt x="1162" y="983"/>
                    <a:pt x="1161" y="986"/>
                    <a:pt x="1163" y="986"/>
                  </a:cubicBezTo>
                  <a:close/>
                  <a:moveTo>
                    <a:pt x="919" y="992"/>
                  </a:moveTo>
                  <a:cubicBezTo>
                    <a:pt x="919" y="991"/>
                    <a:pt x="922" y="992"/>
                    <a:pt x="923" y="991"/>
                  </a:cubicBezTo>
                  <a:cubicBezTo>
                    <a:pt x="923" y="987"/>
                    <a:pt x="921" y="985"/>
                    <a:pt x="917" y="985"/>
                  </a:cubicBezTo>
                  <a:cubicBezTo>
                    <a:pt x="916" y="987"/>
                    <a:pt x="916" y="992"/>
                    <a:pt x="919" y="992"/>
                  </a:cubicBezTo>
                  <a:close/>
                  <a:moveTo>
                    <a:pt x="887" y="989"/>
                  </a:moveTo>
                  <a:cubicBezTo>
                    <a:pt x="888" y="994"/>
                    <a:pt x="895" y="989"/>
                    <a:pt x="899" y="991"/>
                  </a:cubicBezTo>
                  <a:cubicBezTo>
                    <a:pt x="897" y="985"/>
                    <a:pt x="892" y="986"/>
                    <a:pt x="887" y="989"/>
                  </a:cubicBezTo>
                  <a:close/>
                  <a:moveTo>
                    <a:pt x="730" y="991"/>
                  </a:moveTo>
                  <a:cubicBezTo>
                    <a:pt x="730" y="992"/>
                    <a:pt x="731" y="992"/>
                    <a:pt x="733" y="992"/>
                  </a:cubicBezTo>
                  <a:cubicBezTo>
                    <a:pt x="733" y="991"/>
                    <a:pt x="733" y="990"/>
                    <a:pt x="734" y="989"/>
                  </a:cubicBezTo>
                  <a:cubicBezTo>
                    <a:pt x="733" y="989"/>
                    <a:pt x="732" y="988"/>
                    <a:pt x="731" y="989"/>
                  </a:cubicBezTo>
                  <a:cubicBezTo>
                    <a:pt x="731" y="990"/>
                    <a:pt x="730" y="990"/>
                    <a:pt x="730" y="991"/>
                  </a:cubicBezTo>
                  <a:close/>
                  <a:moveTo>
                    <a:pt x="1195" y="990"/>
                  </a:moveTo>
                  <a:cubicBezTo>
                    <a:pt x="1187" y="990"/>
                    <a:pt x="1171" y="985"/>
                    <a:pt x="1166" y="992"/>
                  </a:cubicBezTo>
                  <a:cubicBezTo>
                    <a:pt x="1171" y="988"/>
                    <a:pt x="1173" y="994"/>
                    <a:pt x="1176" y="996"/>
                  </a:cubicBezTo>
                  <a:cubicBezTo>
                    <a:pt x="1179" y="994"/>
                    <a:pt x="1184" y="992"/>
                    <a:pt x="1187" y="996"/>
                  </a:cubicBezTo>
                  <a:cubicBezTo>
                    <a:pt x="1187" y="994"/>
                    <a:pt x="1185" y="992"/>
                    <a:pt x="1187" y="991"/>
                  </a:cubicBezTo>
                  <a:cubicBezTo>
                    <a:pt x="1191" y="991"/>
                    <a:pt x="1190" y="995"/>
                    <a:pt x="1193" y="996"/>
                  </a:cubicBezTo>
                  <a:cubicBezTo>
                    <a:pt x="1198" y="994"/>
                    <a:pt x="1201" y="994"/>
                    <a:pt x="1204" y="994"/>
                  </a:cubicBezTo>
                  <a:cubicBezTo>
                    <a:pt x="1206" y="994"/>
                    <a:pt x="1205" y="991"/>
                    <a:pt x="1207" y="991"/>
                  </a:cubicBezTo>
                  <a:cubicBezTo>
                    <a:pt x="1211" y="994"/>
                    <a:pt x="1216" y="993"/>
                    <a:pt x="1220" y="990"/>
                  </a:cubicBezTo>
                  <a:cubicBezTo>
                    <a:pt x="1213" y="987"/>
                    <a:pt x="1204" y="990"/>
                    <a:pt x="1195" y="990"/>
                  </a:cubicBezTo>
                  <a:close/>
                  <a:moveTo>
                    <a:pt x="1321" y="996"/>
                  </a:moveTo>
                  <a:cubicBezTo>
                    <a:pt x="1324" y="995"/>
                    <a:pt x="1322" y="994"/>
                    <a:pt x="1325" y="995"/>
                  </a:cubicBezTo>
                  <a:cubicBezTo>
                    <a:pt x="1324" y="993"/>
                    <a:pt x="1322" y="990"/>
                    <a:pt x="1321" y="992"/>
                  </a:cubicBezTo>
                  <a:cubicBezTo>
                    <a:pt x="1322" y="992"/>
                    <a:pt x="1321" y="995"/>
                    <a:pt x="1321" y="996"/>
                  </a:cubicBezTo>
                  <a:close/>
                  <a:moveTo>
                    <a:pt x="1133" y="998"/>
                  </a:moveTo>
                  <a:cubicBezTo>
                    <a:pt x="1136" y="998"/>
                    <a:pt x="1136" y="1000"/>
                    <a:pt x="1134" y="1001"/>
                  </a:cubicBezTo>
                  <a:cubicBezTo>
                    <a:pt x="1137" y="1001"/>
                    <a:pt x="1139" y="1004"/>
                    <a:pt x="1142" y="1002"/>
                  </a:cubicBezTo>
                  <a:cubicBezTo>
                    <a:pt x="1141" y="1003"/>
                    <a:pt x="1142" y="1003"/>
                    <a:pt x="1142" y="1004"/>
                  </a:cubicBezTo>
                  <a:cubicBezTo>
                    <a:pt x="1144" y="1002"/>
                    <a:pt x="1148" y="1003"/>
                    <a:pt x="1149" y="1001"/>
                  </a:cubicBezTo>
                  <a:cubicBezTo>
                    <a:pt x="1146" y="999"/>
                    <a:pt x="1141" y="1000"/>
                    <a:pt x="1138" y="997"/>
                  </a:cubicBezTo>
                  <a:cubicBezTo>
                    <a:pt x="1136" y="997"/>
                    <a:pt x="1133" y="996"/>
                    <a:pt x="1133" y="998"/>
                  </a:cubicBezTo>
                  <a:close/>
                  <a:moveTo>
                    <a:pt x="1103" y="1003"/>
                  </a:moveTo>
                  <a:cubicBezTo>
                    <a:pt x="1104" y="1006"/>
                    <a:pt x="1107" y="1003"/>
                    <a:pt x="1109" y="1004"/>
                  </a:cubicBezTo>
                  <a:cubicBezTo>
                    <a:pt x="1109" y="1002"/>
                    <a:pt x="1110" y="999"/>
                    <a:pt x="1107" y="999"/>
                  </a:cubicBezTo>
                  <a:cubicBezTo>
                    <a:pt x="1107" y="1002"/>
                    <a:pt x="1103" y="1000"/>
                    <a:pt x="1103" y="1003"/>
                  </a:cubicBezTo>
                  <a:close/>
                  <a:moveTo>
                    <a:pt x="1126" y="1004"/>
                  </a:moveTo>
                  <a:cubicBezTo>
                    <a:pt x="1126" y="1002"/>
                    <a:pt x="1125" y="999"/>
                    <a:pt x="1122" y="999"/>
                  </a:cubicBezTo>
                  <a:cubicBezTo>
                    <a:pt x="1123" y="1001"/>
                    <a:pt x="1122" y="1005"/>
                    <a:pt x="1126" y="1004"/>
                  </a:cubicBezTo>
                  <a:close/>
                  <a:moveTo>
                    <a:pt x="1096" y="1003"/>
                  </a:moveTo>
                  <a:cubicBezTo>
                    <a:pt x="1097" y="1003"/>
                    <a:pt x="1097" y="1004"/>
                    <a:pt x="1098" y="1004"/>
                  </a:cubicBezTo>
                  <a:cubicBezTo>
                    <a:pt x="1099" y="1002"/>
                    <a:pt x="1098" y="1002"/>
                    <a:pt x="1099" y="1000"/>
                  </a:cubicBezTo>
                  <a:cubicBezTo>
                    <a:pt x="1097" y="1000"/>
                    <a:pt x="1096" y="1001"/>
                    <a:pt x="1096" y="1003"/>
                  </a:cubicBezTo>
                  <a:close/>
                  <a:moveTo>
                    <a:pt x="1177" y="1004"/>
                  </a:moveTo>
                  <a:cubicBezTo>
                    <a:pt x="1178" y="1004"/>
                    <a:pt x="1179" y="1004"/>
                    <a:pt x="1180" y="1004"/>
                  </a:cubicBezTo>
                  <a:cubicBezTo>
                    <a:pt x="1180" y="1002"/>
                    <a:pt x="1180" y="1001"/>
                    <a:pt x="1178" y="1001"/>
                  </a:cubicBezTo>
                  <a:cubicBezTo>
                    <a:pt x="1178" y="1002"/>
                    <a:pt x="1177" y="1002"/>
                    <a:pt x="1177" y="1004"/>
                  </a:cubicBezTo>
                  <a:close/>
                  <a:moveTo>
                    <a:pt x="1129" y="1002"/>
                  </a:moveTo>
                  <a:cubicBezTo>
                    <a:pt x="1129" y="1005"/>
                    <a:pt x="1134" y="1004"/>
                    <a:pt x="1133" y="1002"/>
                  </a:cubicBezTo>
                  <a:cubicBezTo>
                    <a:pt x="1131" y="1001"/>
                    <a:pt x="1131" y="1003"/>
                    <a:pt x="1129" y="1002"/>
                  </a:cubicBezTo>
                  <a:close/>
                  <a:moveTo>
                    <a:pt x="1208" y="1006"/>
                  </a:moveTo>
                  <a:cubicBezTo>
                    <a:pt x="1208" y="1004"/>
                    <a:pt x="1211" y="1005"/>
                    <a:pt x="1211" y="1003"/>
                  </a:cubicBezTo>
                  <a:cubicBezTo>
                    <a:pt x="1209" y="1003"/>
                    <a:pt x="1206" y="1002"/>
                    <a:pt x="1205" y="1004"/>
                  </a:cubicBezTo>
                  <a:cubicBezTo>
                    <a:pt x="1207" y="1004"/>
                    <a:pt x="1207" y="1006"/>
                    <a:pt x="1208" y="1006"/>
                  </a:cubicBezTo>
                  <a:close/>
                  <a:moveTo>
                    <a:pt x="889" y="1009"/>
                  </a:moveTo>
                  <a:cubicBezTo>
                    <a:pt x="889" y="1011"/>
                    <a:pt x="891" y="1011"/>
                    <a:pt x="893" y="1011"/>
                  </a:cubicBezTo>
                  <a:cubicBezTo>
                    <a:pt x="894" y="1008"/>
                    <a:pt x="891" y="1007"/>
                    <a:pt x="889" y="1009"/>
                  </a:cubicBezTo>
                  <a:close/>
                  <a:moveTo>
                    <a:pt x="995" y="1015"/>
                  </a:moveTo>
                  <a:cubicBezTo>
                    <a:pt x="998" y="1012"/>
                    <a:pt x="989" y="1007"/>
                    <a:pt x="988" y="1009"/>
                  </a:cubicBezTo>
                  <a:cubicBezTo>
                    <a:pt x="992" y="1010"/>
                    <a:pt x="992" y="1014"/>
                    <a:pt x="995" y="1015"/>
                  </a:cubicBezTo>
                  <a:close/>
                  <a:moveTo>
                    <a:pt x="1054" y="1010"/>
                  </a:moveTo>
                  <a:cubicBezTo>
                    <a:pt x="1054" y="1008"/>
                    <a:pt x="1053" y="1008"/>
                    <a:pt x="1051" y="1008"/>
                  </a:cubicBezTo>
                  <a:cubicBezTo>
                    <a:pt x="1051" y="1010"/>
                    <a:pt x="1052" y="1010"/>
                    <a:pt x="1054" y="1010"/>
                  </a:cubicBezTo>
                  <a:close/>
                  <a:moveTo>
                    <a:pt x="842" y="1015"/>
                  </a:moveTo>
                  <a:cubicBezTo>
                    <a:pt x="846" y="1019"/>
                    <a:pt x="847" y="1014"/>
                    <a:pt x="852" y="1014"/>
                  </a:cubicBezTo>
                  <a:cubicBezTo>
                    <a:pt x="850" y="1008"/>
                    <a:pt x="844" y="1011"/>
                    <a:pt x="842" y="1015"/>
                  </a:cubicBezTo>
                  <a:close/>
                  <a:moveTo>
                    <a:pt x="1002" y="1011"/>
                  </a:moveTo>
                  <a:cubicBezTo>
                    <a:pt x="1005" y="1012"/>
                    <a:pt x="1006" y="1012"/>
                    <a:pt x="1008" y="1011"/>
                  </a:cubicBezTo>
                  <a:cubicBezTo>
                    <a:pt x="1006" y="1011"/>
                    <a:pt x="1003" y="1009"/>
                    <a:pt x="1002" y="1011"/>
                  </a:cubicBezTo>
                  <a:close/>
                  <a:moveTo>
                    <a:pt x="1105" y="1012"/>
                  </a:moveTo>
                  <a:cubicBezTo>
                    <a:pt x="1105" y="1010"/>
                    <a:pt x="1104" y="1010"/>
                    <a:pt x="1102" y="1010"/>
                  </a:cubicBezTo>
                  <a:cubicBezTo>
                    <a:pt x="1101" y="1012"/>
                    <a:pt x="1103" y="1013"/>
                    <a:pt x="1105" y="1012"/>
                  </a:cubicBezTo>
                  <a:close/>
                  <a:moveTo>
                    <a:pt x="901" y="1013"/>
                  </a:moveTo>
                  <a:cubicBezTo>
                    <a:pt x="902" y="1015"/>
                    <a:pt x="905" y="1015"/>
                    <a:pt x="906" y="1014"/>
                  </a:cubicBezTo>
                  <a:cubicBezTo>
                    <a:pt x="906" y="1012"/>
                    <a:pt x="905" y="1011"/>
                    <a:pt x="904" y="1011"/>
                  </a:cubicBezTo>
                  <a:cubicBezTo>
                    <a:pt x="903" y="1012"/>
                    <a:pt x="900" y="1011"/>
                    <a:pt x="901" y="1013"/>
                  </a:cubicBezTo>
                  <a:close/>
                  <a:moveTo>
                    <a:pt x="928" y="1015"/>
                  </a:moveTo>
                  <a:cubicBezTo>
                    <a:pt x="931" y="1015"/>
                    <a:pt x="931" y="1010"/>
                    <a:pt x="928" y="1011"/>
                  </a:cubicBezTo>
                  <a:cubicBezTo>
                    <a:pt x="926" y="1012"/>
                    <a:pt x="928" y="1012"/>
                    <a:pt x="928" y="1015"/>
                  </a:cubicBezTo>
                  <a:close/>
                  <a:moveTo>
                    <a:pt x="869" y="1016"/>
                  </a:moveTo>
                  <a:cubicBezTo>
                    <a:pt x="873" y="1018"/>
                    <a:pt x="875" y="1018"/>
                    <a:pt x="881" y="1017"/>
                  </a:cubicBezTo>
                  <a:cubicBezTo>
                    <a:pt x="881" y="1018"/>
                    <a:pt x="879" y="1018"/>
                    <a:pt x="880" y="1020"/>
                  </a:cubicBezTo>
                  <a:cubicBezTo>
                    <a:pt x="881" y="1021"/>
                    <a:pt x="885" y="1023"/>
                    <a:pt x="886" y="1021"/>
                  </a:cubicBezTo>
                  <a:cubicBezTo>
                    <a:pt x="885" y="1020"/>
                    <a:pt x="883" y="1020"/>
                    <a:pt x="883" y="1019"/>
                  </a:cubicBezTo>
                  <a:cubicBezTo>
                    <a:pt x="885" y="1017"/>
                    <a:pt x="888" y="1015"/>
                    <a:pt x="893" y="1015"/>
                  </a:cubicBezTo>
                  <a:cubicBezTo>
                    <a:pt x="896" y="1016"/>
                    <a:pt x="895" y="1016"/>
                    <a:pt x="894" y="1019"/>
                  </a:cubicBezTo>
                  <a:cubicBezTo>
                    <a:pt x="900" y="1020"/>
                    <a:pt x="901" y="1019"/>
                    <a:pt x="904" y="1022"/>
                  </a:cubicBezTo>
                  <a:cubicBezTo>
                    <a:pt x="908" y="1016"/>
                    <a:pt x="895" y="1016"/>
                    <a:pt x="893" y="1012"/>
                  </a:cubicBezTo>
                  <a:cubicBezTo>
                    <a:pt x="886" y="1014"/>
                    <a:pt x="882" y="1014"/>
                    <a:pt x="876" y="1016"/>
                  </a:cubicBezTo>
                  <a:cubicBezTo>
                    <a:pt x="876" y="1015"/>
                    <a:pt x="875" y="1015"/>
                    <a:pt x="875" y="1015"/>
                  </a:cubicBezTo>
                  <a:cubicBezTo>
                    <a:pt x="877" y="1015"/>
                    <a:pt x="876" y="1013"/>
                    <a:pt x="876" y="1012"/>
                  </a:cubicBezTo>
                  <a:cubicBezTo>
                    <a:pt x="874" y="1012"/>
                    <a:pt x="874" y="1011"/>
                    <a:pt x="872" y="1011"/>
                  </a:cubicBezTo>
                  <a:cubicBezTo>
                    <a:pt x="873" y="1015"/>
                    <a:pt x="869" y="1013"/>
                    <a:pt x="869" y="1016"/>
                  </a:cubicBezTo>
                  <a:close/>
                  <a:moveTo>
                    <a:pt x="950" y="1013"/>
                  </a:moveTo>
                  <a:cubicBezTo>
                    <a:pt x="949" y="1015"/>
                    <a:pt x="951" y="1015"/>
                    <a:pt x="951" y="1017"/>
                  </a:cubicBezTo>
                  <a:cubicBezTo>
                    <a:pt x="953" y="1017"/>
                    <a:pt x="953" y="1014"/>
                    <a:pt x="956" y="1015"/>
                  </a:cubicBezTo>
                  <a:cubicBezTo>
                    <a:pt x="958" y="1016"/>
                    <a:pt x="958" y="1017"/>
                    <a:pt x="960" y="1019"/>
                  </a:cubicBezTo>
                  <a:cubicBezTo>
                    <a:pt x="960" y="1014"/>
                    <a:pt x="964" y="1018"/>
                    <a:pt x="965" y="1015"/>
                  </a:cubicBezTo>
                  <a:cubicBezTo>
                    <a:pt x="958" y="1013"/>
                    <a:pt x="955" y="1011"/>
                    <a:pt x="950" y="1013"/>
                  </a:cubicBezTo>
                  <a:close/>
                  <a:moveTo>
                    <a:pt x="919" y="1013"/>
                  </a:moveTo>
                  <a:cubicBezTo>
                    <a:pt x="918" y="1013"/>
                    <a:pt x="916" y="1013"/>
                    <a:pt x="915" y="1013"/>
                  </a:cubicBezTo>
                  <a:cubicBezTo>
                    <a:pt x="914" y="1015"/>
                    <a:pt x="919" y="1014"/>
                    <a:pt x="919" y="1013"/>
                  </a:cubicBezTo>
                  <a:close/>
                  <a:moveTo>
                    <a:pt x="1020" y="1018"/>
                  </a:moveTo>
                  <a:cubicBezTo>
                    <a:pt x="1018" y="1017"/>
                    <a:pt x="1017" y="1015"/>
                    <a:pt x="1016" y="1014"/>
                  </a:cubicBezTo>
                  <a:cubicBezTo>
                    <a:pt x="1014" y="1015"/>
                    <a:pt x="1019" y="1020"/>
                    <a:pt x="1020" y="1018"/>
                  </a:cubicBezTo>
                  <a:close/>
                  <a:moveTo>
                    <a:pt x="943" y="1019"/>
                  </a:moveTo>
                  <a:cubicBezTo>
                    <a:pt x="945" y="1019"/>
                    <a:pt x="946" y="1019"/>
                    <a:pt x="948" y="1019"/>
                  </a:cubicBezTo>
                  <a:cubicBezTo>
                    <a:pt x="947" y="1017"/>
                    <a:pt x="945" y="1016"/>
                    <a:pt x="942" y="1015"/>
                  </a:cubicBezTo>
                  <a:cubicBezTo>
                    <a:pt x="941" y="1018"/>
                    <a:pt x="943" y="1016"/>
                    <a:pt x="943" y="1019"/>
                  </a:cubicBezTo>
                  <a:close/>
                  <a:moveTo>
                    <a:pt x="866" y="1019"/>
                  </a:moveTo>
                  <a:cubicBezTo>
                    <a:pt x="866" y="1017"/>
                    <a:pt x="861" y="1016"/>
                    <a:pt x="859" y="1017"/>
                  </a:cubicBezTo>
                  <a:cubicBezTo>
                    <a:pt x="860" y="1020"/>
                    <a:pt x="865" y="1023"/>
                    <a:pt x="866" y="1019"/>
                  </a:cubicBezTo>
                  <a:close/>
                  <a:moveTo>
                    <a:pt x="1010" y="1019"/>
                  </a:moveTo>
                  <a:cubicBezTo>
                    <a:pt x="1009" y="1017"/>
                    <a:pt x="1006" y="1019"/>
                    <a:pt x="1004" y="1018"/>
                  </a:cubicBezTo>
                  <a:cubicBezTo>
                    <a:pt x="1004" y="1020"/>
                    <a:pt x="1010" y="1021"/>
                    <a:pt x="1010" y="1019"/>
                  </a:cubicBezTo>
                  <a:close/>
                  <a:moveTo>
                    <a:pt x="1035" y="1022"/>
                  </a:moveTo>
                  <a:cubicBezTo>
                    <a:pt x="1036" y="1021"/>
                    <a:pt x="1035" y="1019"/>
                    <a:pt x="1034" y="1019"/>
                  </a:cubicBezTo>
                  <a:cubicBezTo>
                    <a:pt x="1033" y="1020"/>
                    <a:pt x="1033" y="1022"/>
                    <a:pt x="1035" y="1022"/>
                  </a:cubicBezTo>
                  <a:close/>
                  <a:moveTo>
                    <a:pt x="1052" y="1020"/>
                  </a:moveTo>
                  <a:cubicBezTo>
                    <a:pt x="1051" y="1020"/>
                    <a:pt x="1051" y="1018"/>
                    <a:pt x="1049" y="1019"/>
                  </a:cubicBezTo>
                  <a:cubicBezTo>
                    <a:pt x="1048" y="1020"/>
                    <a:pt x="1052" y="1022"/>
                    <a:pt x="1052" y="1020"/>
                  </a:cubicBezTo>
                  <a:close/>
                  <a:moveTo>
                    <a:pt x="837" y="1022"/>
                  </a:moveTo>
                  <a:cubicBezTo>
                    <a:pt x="839" y="1022"/>
                    <a:pt x="840" y="1023"/>
                    <a:pt x="842" y="1023"/>
                  </a:cubicBezTo>
                  <a:cubicBezTo>
                    <a:pt x="841" y="1021"/>
                    <a:pt x="839" y="1020"/>
                    <a:pt x="837" y="1019"/>
                  </a:cubicBezTo>
                  <a:cubicBezTo>
                    <a:pt x="837" y="1020"/>
                    <a:pt x="837" y="1021"/>
                    <a:pt x="837" y="1022"/>
                  </a:cubicBezTo>
                  <a:close/>
                  <a:moveTo>
                    <a:pt x="961" y="1025"/>
                  </a:moveTo>
                  <a:cubicBezTo>
                    <a:pt x="961" y="1024"/>
                    <a:pt x="961" y="1023"/>
                    <a:pt x="961" y="1022"/>
                  </a:cubicBezTo>
                  <a:cubicBezTo>
                    <a:pt x="958" y="1021"/>
                    <a:pt x="959" y="1024"/>
                    <a:pt x="956" y="1024"/>
                  </a:cubicBezTo>
                  <a:cubicBezTo>
                    <a:pt x="957" y="1021"/>
                    <a:pt x="954" y="1022"/>
                    <a:pt x="953" y="1020"/>
                  </a:cubicBezTo>
                  <a:cubicBezTo>
                    <a:pt x="952" y="1025"/>
                    <a:pt x="956" y="1026"/>
                    <a:pt x="961" y="1025"/>
                  </a:cubicBezTo>
                  <a:close/>
                  <a:moveTo>
                    <a:pt x="855" y="1025"/>
                  </a:moveTo>
                  <a:cubicBezTo>
                    <a:pt x="855" y="1024"/>
                    <a:pt x="856" y="1024"/>
                    <a:pt x="856" y="1022"/>
                  </a:cubicBezTo>
                  <a:cubicBezTo>
                    <a:pt x="853" y="1023"/>
                    <a:pt x="854" y="1020"/>
                    <a:pt x="852" y="1021"/>
                  </a:cubicBezTo>
                  <a:cubicBezTo>
                    <a:pt x="851" y="1024"/>
                    <a:pt x="855" y="1023"/>
                    <a:pt x="855" y="1025"/>
                  </a:cubicBezTo>
                  <a:close/>
                  <a:moveTo>
                    <a:pt x="866" y="1024"/>
                  </a:moveTo>
                  <a:cubicBezTo>
                    <a:pt x="866" y="1023"/>
                    <a:pt x="866" y="1022"/>
                    <a:pt x="866" y="1022"/>
                  </a:cubicBezTo>
                  <a:cubicBezTo>
                    <a:pt x="865" y="1022"/>
                    <a:pt x="864" y="1022"/>
                    <a:pt x="863" y="1022"/>
                  </a:cubicBezTo>
                  <a:cubicBezTo>
                    <a:pt x="862" y="1024"/>
                    <a:pt x="864" y="1024"/>
                    <a:pt x="866" y="1024"/>
                  </a:cubicBezTo>
                  <a:close/>
                  <a:moveTo>
                    <a:pt x="1071" y="1025"/>
                  </a:moveTo>
                  <a:cubicBezTo>
                    <a:pt x="1073" y="1025"/>
                    <a:pt x="1074" y="1025"/>
                    <a:pt x="1075" y="1025"/>
                  </a:cubicBezTo>
                  <a:cubicBezTo>
                    <a:pt x="1075" y="1023"/>
                    <a:pt x="1075" y="1022"/>
                    <a:pt x="1073" y="1022"/>
                  </a:cubicBezTo>
                  <a:cubicBezTo>
                    <a:pt x="1073" y="1023"/>
                    <a:pt x="1072" y="1024"/>
                    <a:pt x="1071" y="1025"/>
                  </a:cubicBezTo>
                  <a:close/>
                  <a:moveTo>
                    <a:pt x="911" y="1024"/>
                  </a:moveTo>
                  <a:cubicBezTo>
                    <a:pt x="914" y="1025"/>
                    <a:pt x="917" y="1025"/>
                    <a:pt x="917" y="1024"/>
                  </a:cubicBezTo>
                  <a:cubicBezTo>
                    <a:pt x="917" y="1023"/>
                    <a:pt x="917" y="1023"/>
                    <a:pt x="917" y="1022"/>
                  </a:cubicBezTo>
                  <a:cubicBezTo>
                    <a:pt x="914" y="1023"/>
                    <a:pt x="913" y="1021"/>
                    <a:pt x="911" y="1024"/>
                  </a:cubicBezTo>
                  <a:close/>
                  <a:moveTo>
                    <a:pt x="678" y="1026"/>
                  </a:moveTo>
                  <a:cubicBezTo>
                    <a:pt x="680" y="1027"/>
                    <a:pt x="680" y="1030"/>
                    <a:pt x="683" y="1030"/>
                  </a:cubicBezTo>
                  <a:cubicBezTo>
                    <a:pt x="682" y="1027"/>
                    <a:pt x="685" y="1028"/>
                    <a:pt x="686" y="1027"/>
                  </a:cubicBezTo>
                  <a:cubicBezTo>
                    <a:pt x="684" y="1027"/>
                    <a:pt x="684" y="1025"/>
                    <a:pt x="684" y="1024"/>
                  </a:cubicBezTo>
                  <a:cubicBezTo>
                    <a:pt x="682" y="1025"/>
                    <a:pt x="679" y="1024"/>
                    <a:pt x="678" y="1026"/>
                  </a:cubicBezTo>
                  <a:close/>
                  <a:moveTo>
                    <a:pt x="892" y="1025"/>
                  </a:moveTo>
                  <a:cubicBezTo>
                    <a:pt x="892" y="1028"/>
                    <a:pt x="895" y="1025"/>
                    <a:pt x="897" y="1027"/>
                  </a:cubicBezTo>
                  <a:cubicBezTo>
                    <a:pt x="897" y="1024"/>
                    <a:pt x="894" y="1024"/>
                    <a:pt x="892" y="1025"/>
                  </a:cubicBezTo>
                  <a:close/>
                  <a:moveTo>
                    <a:pt x="1339" y="1033"/>
                  </a:moveTo>
                  <a:cubicBezTo>
                    <a:pt x="1336" y="1034"/>
                    <a:pt x="1332" y="1032"/>
                    <a:pt x="1331" y="1034"/>
                  </a:cubicBezTo>
                  <a:cubicBezTo>
                    <a:pt x="1333" y="1033"/>
                    <a:pt x="1338" y="1035"/>
                    <a:pt x="1339" y="1033"/>
                  </a:cubicBezTo>
                  <a:close/>
                  <a:moveTo>
                    <a:pt x="1159" y="1037"/>
                  </a:moveTo>
                  <a:cubicBezTo>
                    <a:pt x="1164" y="1036"/>
                    <a:pt x="1167" y="1036"/>
                    <a:pt x="1170" y="1036"/>
                  </a:cubicBezTo>
                  <a:cubicBezTo>
                    <a:pt x="1167" y="1034"/>
                    <a:pt x="1161" y="1034"/>
                    <a:pt x="1159" y="1037"/>
                  </a:cubicBezTo>
                  <a:close/>
                  <a:moveTo>
                    <a:pt x="1199" y="1041"/>
                  </a:moveTo>
                  <a:cubicBezTo>
                    <a:pt x="1198" y="1038"/>
                    <a:pt x="1194" y="1039"/>
                    <a:pt x="1194" y="1035"/>
                  </a:cubicBezTo>
                  <a:cubicBezTo>
                    <a:pt x="1192" y="1036"/>
                    <a:pt x="1188" y="1034"/>
                    <a:pt x="1187" y="1036"/>
                  </a:cubicBezTo>
                  <a:cubicBezTo>
                    <a:pt x="1190" y="1037"/>
                    <a:pt x="1192" y="1040"/>
                    <a:pt x="1194" y="1037"/>
                  </a:cubicBezTo>
                  <a:cubicBezTo>
                    <a:pt x="1194" y="1040"/>
                    <a:pt x="1196" y="1043"/>
                    <a:pt x="1199" y="1041"/>
                  </a:cubicBezTo>
                  <a:close/>
                  <a:moveTo>
                    <a:pt x="1211" y="1041"/>
                  </a:moveTo>
                  <a:cubicBezTo>
                    <a:pt x="1210" y="1039"/>
                    <a:pt x="1208" y="1039"/>
                    <a:pt x="1208" y="1037"/>
                  </a:cubicBezTo>
                  <a:cubicBezTo>
                    <a:pt x="1207" y="1037"/>
                    <a:pt x="1206" y="1037"/>
                    <a:pt x="1205" y="1037"/>
                  </a:cubicBezTo>
                  <a:cubicBezTo>
                    <a:pt x="1207" y="1038"/>
                    <a:pt x="1207" y="1041"/>
                    <a:pt x="1211" y="1041"/>
                  </a:cubicBezTo>
                  <a:close/>
                  <a:moveTo>
                    <a:pt x="1211" y="1039"/>
                  </a:moveTo>
                  <a:cubicBezTo>
                    <a:pt x="1213" y="1040"/>
                    <a:pt x="1214" y="1039"/>
                    <a:pt x="1216" y="1039"/>
                  </a:cubicBezTo>
                  <a:cubicBezTo>
                    <a:pt x="1216" y="1036"/>
                    <a:pt x="1214" y="1037"/>
                    <a:pt x="1212" y="1037"/>
                  </a:cubicBezTo>
                  <a:cubicBezTo>
                    <a:pt x="1212" y="1037"/>
                    <a:pt x="1212" y="1038"/>
                    <a:pt x="1211" y="1039"/>
                  </a:cubicBezTo>
                  <a:close/>
                  <a:moveTo>
                    <a:pt x="1233" y="1038"/>
                  </a:moveTo>
                  <a:cubicBezTo>
                    <a:pt x="1234" y="1039"/>
                    <a:pt x="1238" y="1039"/>
                    <a:pt x="1239" y="1038"/>
                  </a:cubicBezTo>
                  <a:cubicBezTo>
                    <a:pt x="1237" y="1038"/>
                    <a:pt x="1234" y="1035"/>
                    <a:pt x="1233" y="1038"/>
                  </a:cubicBezTo>
                  <a:close/>
                  <a:moveTo>
                    <a:pt x="1220" y="1039"/>
                  </a:moveTo>
                  <a:cubicBezTo>
                    <a:pt x="1221" y="1039"/>
                    <a:pt x="1222" y="1040"/>
                    <a:pt x="1221" y="1042"/>
                  </a:cubicBezTo>
                  <a:cubicBezTo>
                    <a:pt x="1223" y="1042"/>
                    <a:pt x="1224" y="1042"/>
                    <a:pt x="1224" y="1041"/>
                  </a:cubicBezTo>
                  <a:cubicBezTo>
                    <a:pt x="1223" y="1041"/>
                    <a:pt x="1224" y="1038"/>
                    <a:pt x="1224" y="1037"/>
                  </a:cubicBezTo>
                  <a:cubicBezTo>
                    <a:pt x="1222" y="1037"/>
                    <a:pt x="1221" y="1038"/>
                    <a:pt x="1220" y="1039"/>
                  </a:cubicBezTo>
                  <a:close/>
                  <a:moveTo>
                    <a:pt x="1241" y="1039"/>
                  </a:moveTo>
                  <a:cubicBezTo>
                    <a:pt x="1242" y="1039"/>
                    <a:pt x="1244" y="1039"/>
                    <a:pt x="1245" y="1039"/>
                  </a:cubicBezTo>
                  <a:cubicBezTo>
                    <a:pt x="1245" y="1038"/>
                    <a:pt x="1245" y="1038"/>
                    <a:pt x="1245" y="1037"/>
                  </a:cubicBezTo>
                  <a:cubicBezTo>
                    <a:pt x="1244" y="1037"/>
                    <a:pt x="1242" y="1037"/>
                    <a:pt x="1241" y="1037"/>
                  </a:cubicBezTo>
                  <a:cubicBezTo>
                    <a:pt x="1241" y="1038"/>
                    <a:pt x="1241" y="1038"/>
                    <a:pt x="1241" y="1039"/>
                  </a:cubicBezTo>
                  <a:close/>
                  <a:moveTo>
                    <a:pt x="1252" y="1041"/>
                  </a:moveTo>
                  <a:cubicBezTo>
                    <a:pt x="1252" y="1039"/>
                    <a:pt x="1251" y="1038"/>
                    <a:pt x="1249" y="1037"/>
                  </a:cubicBezTo>
                  <a:cubicBezTo>
                    <a:pt x="1248" y="1040"/>
                    <a:pt x="1249" y="1042"/>
                    <a:pt x="1252" y="1041"/>
                  </a:cubicBezTo>
                  <a:close/>
                  <a:moveTo>
                    <a:pt x="1285" y="1039"/>
                  </a:moveTo>
                  <a:cubicBezTo>
                    <a:pt x="1283" y="1039"/>
                    <a:pt x="1281" y="1035"/>
                    <a:pt x="1279" y="1038"/>
                  </a:cubicBezTo>
                  <a:cubicBezTo>
                    <a:pt x="1280" y="1038"/>
                    <a:pt x="1284" y="1040"/>
                    <a:pt x="1285" y="1039"/>
                  </a:cubicBezTo>
                  <a:close/>
                  <a:moveTo>
                    <a:pt x="1167" y="1043"/>
                  </a:moveTo>
                  <a:cubicBezTo>
                    <a:pt x="1164" y="1044"/>
                    <a:pt x="1161" y="1041"/>
                    <a:pt x="1159" y="1043"/>
                  </a:cubicBezTo>
                  <a:cubicBezTo>
                    <a:pt x="1160" y="1044"/>
                    <a:pt x="1167" y="1045"/>
                    <a:pt x="1167" y="1043"/>
                  </a:cubicBezTo>
                  <a:close/>
                  <a:moveTo>
                    <a:pt x="1110" y="1054"/>
                  </a:moveTo>
                  <a:cubicBezTo>
                    <a:pt x="1113" y="1055"/>
                    <a:pt x="1114" y="1049"/>
                    <a:pt x="1112" y="1050"/>
                  </a:cubicBezTo>
                  <a:cubicBezTo>
                    <a:pt x="1112" y="1052"/>
                    <a:pt x="1109" y="1051"/>
                    <a:pt x="1110" y="1054"/>
                  </a:cubicBezTo>
                  <a:close/>
                </a:path>
              </a:pathLst>
            </a:custGeom>
            <a:solidFill>
              <a:srgbClr val="DA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7" name="Picture 10" descr="FGC-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163" y="6821488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r>
              <a:rPr lang="en-US" sz="1300" dirty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t>Page</a:t>
            </a:r>
          </a:p>
        </p:txBody>
      </p:sp>
      <p:cxnSp>
        <p:nvCxnSpPr>
          <p:cNvPr id="9" name="Straight Connector 6"/>
          <p:cNvCxnSpPr/>
          <p:nvPr userDrawn="1"/>
        </p:nvCxnSpPr>
        <p:spPr>
          <a:xfrm rot="5400000">
            <a:off x="420688" y="6992938"/>
            <a:ext cx="350837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799" y="-3711"/>
            <a:ext cx="8778240" cy="1219200"/>
          </a:xfrm>
        </p:spPr>
        <p:txBody>
          <a:bodyPr rtlCol="0">
            <a:normAutofit/>
          </a:bodyPr>
          <a:lstStyle>
            <a:lvl1pPr algn="l" defTabSz="975299" rtl="0" eaLnBrk="1" latinLnBrk="0" hangingPunct="1">
              <a:spcBef>
                <a:spcPct val="0"/>
              </a:spcBef>
              <a:buNone/>
              <a:defRPr lang="en-US" sz="3200" b="1" kern="12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5913438" y="6780213"/>
            <a:ext cx="2274887" cy="3889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2300" y="6780213"/>
            <a:ext cx="2274888" cy="388937"/>
          </a:xfrm>
        </p:spPr>
        <p:txBody>
          <a:bodyPr lIns="36000"/>
          <a:lstStyle>
            <a:lvl1pPr algn="l">
              <a:defRPr/>
            </a:lvl1pPr>
          </a:lstStyle>
          <a:p>
            <a:fld id="{709DA99F-BEDD-44BC-B1FD-1C513FA2D2FF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03558631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467" y="4700694"/>
            <a:ext cx="8290560" cy="1452880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0467" y="3100495"/>
            <a:ext cx="8290560" cy="1600199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876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7529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629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5059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382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2589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1354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011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F22908-58EB-4448-A694-2F24635247D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67332385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854" y="1820334"/>
            <a:ext cx="4600786" cy="514942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83200" y="1820334"/>
            <a:ext cx="4600787" cy="514942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DB9878-6406-47D2-91D2-565B82D575B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9407953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0" y="292947"/>
            <a:ext cx="877824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680" y="1637454"/>
            <a:ext cx="4309534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" y="2319867"/>
            <a:ext cx="4309534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4694" y="1637454"/>
            <a:ext cx="4311227" cy="682413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7650" indent="0">
              <a:buNone/>
              <a:defRPr sz="2100" b="1"/>
            </a:lvl2pPr>
            <a:lvl3pPr marL="975299" indent="0">
              <a:buNone/>
              <a:defRPr sz="1900" b="1"/>
            </a:lvl3pPr>
            <a:lvl4pPr marL="1462949" indent="0">
              <a:buNone/>
              <a:defRPr sz="1700" b="1"/>
            </a:lvl4pPr>
            <a:lvl5pPr marL="1950598" indent="0">
              <a:buNone/>
              <a:defRPr sz="1700" b="1"/>
            </a:lvl5pPr>
            <a:lvl6pPr marL="2438248" indent="0">
              <a:buNone/>
              <a:defRPr sz="1700" b="1"/>
            </a:lvl6pPr>
            <a:lvl7pPr marL="2925897" indent="0">
              <a:buNone/>
              <a:defRPr sz="1700" b="1"/>
            </a:lvl7pPr>
            <a:lvl8pPr marL="3413547" indent="0">
              <a:buNone/>
              <a:defRPr sz="1700" b="1"/>
            </a:lvl8pPr>
            <a:lvl9pPr marL="39011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4694" y="2319867"/>
            <a:ext cx="4311227" cy="421470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80BF80-78DD-46E6-8784-8398D4C670A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6334946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65100" y="6769100"/>
            <a:ext cx="2274888" cy="388938"/>
          </a:xfrm>
        </p:spPr>
        <p:txBody>
          <a:bodyPr lIns="36000"/>
          <a:lstStyle>
            <a:lvl1pPr algn="l">
              <a:defRPr/>
            </a:lvl1pPr>
          </a:lstStyle>
          <a:p>
            <a:fld id="{765FC343-3B59-4BFC-A57C-50E58D9BB6E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60354122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74638" y="6748463"/>
            <a:ext cx="2274887" cy="366712"/>
          </a:xfrm>
        </p:spPr>
        <p:txBody>
          <a:bodyPr lIns="36000"/>
          <a:lstStyle>
            <a:lvl1pPr algn="l">
              <a:defRPr/>
            </a:lvl1pPr>
          </a:lstStyle>
          <a:p>
            <a:fld id="{11C4B99B-D757-4518-8FE6-B07D0213BA1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67409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endParaRPr lang="en-US" sz="1300" dirty="0" smtClean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74638" y="6748463"/>
            <a:ext cx="2274887" cy="366712"/>
          </a:xfrm>
        </p:spPr>
        <p:txBody>
          <a:bodyPr lIns="36000"/>
          <a:lstStyle>
            <a:lvl1pPr algn="l">
              <a:defRPr/>
            </a:lvl1pPr>
          </a:lstStyle>
          <a:p>
            <a:pPr>
              <a:defRPr/>
            </a:pPr>
            <a:fld id="{AC8BCA6D-8C5D-410F-BB00-070BF33CA1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854213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1" y="291253"/>
            <a:ext cx="320886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3387" y="291254"/>
            <a:ext cx="545253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681" y="1530774"/>
            <a:ext cx="320886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E28622-55DC-490A-A6BA-FCDC8D1DFE92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8719157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74" y="5120640"/>
            <a:ext cx="585216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11774" y="653627"/>
            <a:ext cx="5852160" cy="4389120"/>
          </a:xfrm>
        </p:spPr>
        <p:txBody>
          <a:bodyPr rtlCol="0">
            <a:normAutofit/>
          </a:bodyPr>
          <a:lstStyle>
            <a:lvl1pPr marL="0" indent="0">
              <a:buNone/>
              <a:defRPr sz="3400"/>
            </a:lvl1pPr>
            <a:lvl2pPr marL="487650" indent="0">
              <a:buNone/>
              <a:defRPr sz="3000"/>
            </a:lvl2pPr>
            <a:lvl3pPr marL="975299" indent="0">
              <a:buNone/>
              <a:defRPr sz="2600"/>
            </a:lvl3pPr>
            <a:lvl4pPr marL="1462949" indent="0">
              <a:buNone/>
              <a:defRPr sz="2100"/>
            </a:lvl4pPr>
            <a:lvl5pPr marL="1950598" indent="0">
              <a:buNone/>
              <a:defRPr sz="2100"/>
            </a:lvl5pPr>
            <a:lvl6pPr marL="2438248" indent="0">
              <a:buNone/>
              <a:defRPr sz="2100"/>
            </a:lvl6pPr>
            <a:lvl7pPr marL="2925897" indent="0">
              <a:buNone/>
              <a:defRPr sz="2100"/>
            </a:lvl7pPr>
            <a:lvl8pPr marL="3413547" indent="0">
              <a:buNone/>
              <a:defRPr sz="2100"/>
            </a:lvl8pPr>
            <a:lvl9pPr marL="3901196" indent="0">
              <a:buNone/>
              <a:defRPr sz="21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11774" y="5725161"/>
            <a:ext cx="5852160" cy="858519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0E90AE-6D82-441D-97B1-4C74A7AC4DA4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9890786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42BCD1-C22B-445D-BC3B-3A52B008E66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28441646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43801" y="313267"/>
            <a:ext cx="2340187" cy="665649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854" y="313267"/>
            <a:ext cx="6861387" cy="665649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E6B63D-D177-4780-83FC-ED9CB1210B8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25665345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1" y="291253"/>
            <a:ext cx="3208867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3387" y="291254"/>
            <a:ext cx="5452533" cy="6243321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681" y="1530774"/>
            <a:ext cx="3208867" cy="5003801"/>
          </a:xfrm>
        </p:spPr>
        <p:txBody>
          <a:bodyPr/>
          <a:lstStyle>
            <a:lvl1pPr marL="0" indent="0">
              <a:buNone/>
              <a:defRPr sz="1500"/>
            </a:lvl1pPr>
            <a:lvl2pPr marL="487650" indent="0">
              <a:buNone/>
              <a:defRPr sz="1300"/>
            </a:lvl2pPr>
            <a:lvl3pPr marL="975299" indent="0">
              <a:buNone/>
              <a:defRPr sz="1100"/>
            </a:lvl3pPr>
            <a:lvl4pPr marL="1462949" indent="0">
              <a:buNone/>
              <a:defRPr sz="1000"/>
            </a:lvl4pPr>
            <a:lvl5pPr marL="1950598" indent="0">
              <a:buNone/>
              <a:defRPr sz="1000"/>
            </a:lvl5pPr>
            <a:lvl6pPr marL="2438248" indent="0">
              <a:buNone/>
              <a:defRPr sz="1000"/>
            </a:lvl6pPr>
            <a:lvl7pPr marL="2925897" indent="0">
              <a:buNone/>
              <a:defRPr sz="1000"/>
            </a:lvl7pPr>
            <a:lvl8pPr marL="3413547" indent="0">
              <a:buNone/>
              <a:defRPr sz="1000"/>
            </a:lvl8pPr>
            <a:lvl9pPr marL="39011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F83427-CD15-444D-B09F-4130A5601C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78594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74663" y="-1588"/>
            <a:ext cx="8778875" cy="1219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7363" y="1458913"/>
            <a:ext cx="8778875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87363" y="6780213"/>
            <a:ext cx="2276475" cy="388937"/>
          </a:xfrm>
          <a:prstGeom prst="rect">
            <a:avLst/>
          </a:prstGeom>
        </p:spPr>
        <p:txBody>
          <a:bodyPr vert="horz" lIns="97530" tIns="48765" rIns="97530" bIns="48765" rtlCol="0" anchor="ctr"/>
          <a:lstStyle>
            <a:lvl1pPr algn="l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2163" y="6780213"/>
            <a:ext cx="3089275" cy="388937"/>
          </a:xfrm>
          <a:prstGeom prst="rect">
            <a:avLst/>
          </a:prstGeom>
        </p:spPr>
        <p:txBody>
          <a:bodyPr vert="horz" lIns="97530" tIns="48765" rIns="97530" bIns="48765" rtlCol="0" anchor="ctr"/>
          <a:lstStyle>
            <a:lvl1pPr algn="ctr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763" y="6780213"/>
            <a:ext cx="2276475" cy="388937"/>
          </a:xfrm>
          <a:prstGeom prst="rect">
            <a:avLst/>
          </a:prstGeom>
        </p:spPr>
        <p:txBody>
          <a:bodyPr vert="horz" lIns="97530" tIns="48765" rIns="97530" bIns="48765" rtlCol="0" anchor="ctr"/>
          <a:lstStyle>
            <a:lvl1pPr algn="r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439CA3B-31A9-4185-9CAB-1A6F9A4AAE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4" r:id="rId1"/>
    <p:sldLayoutId id="2147485395" r:id="rId2"/>
    <p:sldLayoutId id="2147485396" r:id="rId3"/>
    <p:sldLayoutId id="2147485328" r:id="rId4"/>
    <p:sldLayoutId id="2147485329" r:id="rId5"/>
    <p:sldLayoutId id="2147485330" r:id="rId6"/>
    <p:sldLayoutId id="2147485397" r:id="rId7"/>
    <p:sldLayoutId id="2147485398" r:id="rId8"/>
    <p:sldLayoutId id="2147485331" r:id="rId9"/>
    <p:sldLayoutId id="2147485332" r:id="rId10"/>
    <p:sldLayoutId id="2147485333" r:id="rId11"/>
    <p:sldLayoutId id="2147485334" r:id="rId12"/>
  </p:sldLayoutIdLst>
  <p:transition>
    <p:fade/>
  </p:transition>
  <p:hf hdr="0" ftr="0" dt="0"/>
  <p:txStyles>
    <p:titleStyle>
      <a:lvl1pPr algn="l" defTabSz="974725" rtl="0" eaLnBrk="0" fontAlgn="base" hangingPunct="0">
        <a:spcBef>
          <a:spcPct val="0"/>
        </a:spcBef>
        <a:spcAft>
          <a:spcPct val="0"/>
        </a:spcAft>
        <a:defRPr lang="en-US" sz="3200" b="1" kern="1200" dirty="0">
          <a:solidFill>
            <a:srgbClr val="10253F"/>
          </a:solidFill>
          <a:latin typeface="+mj-lt"/>
          <a:ea typeface="+mj-ea"/>
          <a:cs typeface="+mj-cs"/>
        </a:defRPr>
      </a:lvl1pPr>
      <a:lvl2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2pPr>
      <a:lvl3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3pPr>
      <a:lvl4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4pPr>
      <a:lvl5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5pPr>
      <a:lvl6pPr marL="4572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6pPr>
      <a:lvl7pPr marL="9144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7pPr>
      <a:lvl8pPr marL="13716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8pPr>
      <a:lvl9pPr marL="18288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9pPr>
    </p:titleStyle>
    <p:bodyStyle>
      <a:lvl1pPr marL="365125" indent="-365125" algn="l" defTabSz="974725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lang="en-US" sz="2400" kern="1200" dirty="0">
          <a:solidFill>
            <a:srgbClr val="10253F"/>
          </a:solidFill>
          <a:latin typeface="+mj-lt"/>
          <a:ea typeface="+mn-ea"/>
          <a:cs typeface="+mn-cs"/>
        </a:defRPr>
      </a:lvl1pPr>
      <a:lvl2pPr marL="792163" indent="-303213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lang="en-US" sz="2000" kern="1200" dirty="0">
          <a:solidFill>
            <a:srgbClr val="10253F"/>
          </a:solidFill>
          <a:latin typeface="+mj-lt"/>
          <a:ea typeface="+mn-ea"/>
          <a:cs typeface="+mn-cs"/>
        </a:defRPr>
      </a:lvl2pPr>
      <a:lvl3pPr marL="1217613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10253F"/>
          </a:solidFill>
          <a:latin typeface="+mj-lt"/>
          <a:ea typeface="+mn-ea"/>
          <a:cs typeface="+mn-cs"/>
        </a:defRPr>
      </a:lvl3pPr>
      <a:lvl4pPr marL="1706563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10253F"/>
          </a:solidFill>
          <a:latin typeface="+mj-lt"/>
          <a:ea typeface="+mn-ea"/>
          <a:cs typeface="+mn-cs"/>
        </a:defRPr>
      </a:lvl4pPr>
      <a:lvl5pPr marL="2193925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10253F"/>
          </a:solidFill>
          <a:latin typeface="+mj-lt"/>
          <a:ea typeface="+mn-ea"/>
          <a:cs typeface="+mn-cs"/>
        </a:defRPr>
      </a:lvl5pPr>
      <a:lvl6pPr marL="268207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6972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737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02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7363" y="293688"/>
            <a:ext cx="8778875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7363" y="1706563"/>
            <a:ext cx="8778875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5969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87363" y="6661150"/>
            <a:ext cx="227647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>
            <a:lvl1pPr>
              <a:defRPr sz="15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969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32163" y="6661150"/>
            <a:ext cx="308927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969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77125" y="6908800"/>
            <a:ext cx="2276475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>
            <a:lvl1pPr algn="r">
              <a:defRPr sz="1500">
                <a:latin typeface="+mn-lt"/>
                <a:cs typeface="+mn-cs"/>
              </a:defRPr>
            </a:lvl1pPr>
          </a:lstStyle>
          <a:p>
            <a:pPr>
              <a:defRPr/>
            </a:pPr>
            <a:fld id="{11C70A00-715E-45A5-A57C-824BB12701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2055" name="ShockwaveFlash1"/>
          <p:cNvPicPr preferRelativeResize="0">
            <a:picLocks noChangeAspect="1" noChangeArrowheads="1" noChangeShapeType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313" y="0"/>
            <a:ext cx="1162050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5" r:id="rId1"/>
    <p:sldLayoutId id="2147485336" r:id="rId2"/>
    <p:sldLayoutId id="2147485337" r:id="rId3"/>
    <p:sldLayoutId id="2147485338" r:id="rId4"/>
    <p:sldLayoutId id="2147485339" r:id="rId5"/>
    <p:sldLayoutId id="2147485340" r:id="rId6"/>
    <p:sldLayoutId id="2147485341" r:id="rId7"/>
    <p:sldLayoutId id="2147485342" r:id="rId8"/>
    <p:sldLayoutId id="2147485343" r:id="rId9"/>
    <p:sldLayoutId id="2147485344" r:id="rId10"/>
    <p:sldLayoutId id="2147485345" r:id="rId11"/>
  </p:sldLayoutIdLst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9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5pPr>
      <a:lvl6pPr marL="487650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6pPr>
      <a:lvl7pPr marL="975299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7pPr>
      <a:lvl8pPr marL="1462949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8pPr>
      <a:lvl9pPr marL="1950598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Arial" charset="0"/>
        </a:defRPr>
      </a:lvl9pPr>
    </p:titleStyle>
    <p:bodyStyle>
      <a:lvl1pPr marL="365125" indent="-365125" algn="l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2163" indent="-303213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17613" indent="-2428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6563" indent="-242888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3925" indent="-242888" algn="l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82072" indent="-243825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69722" indent="-243825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657371" indent="-243825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145021" indent="-243825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5738" y="0"/>
            <a:ext cx="8151812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1838" y="2112963"/>
            <a:ext cx="8289925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46" r:id="rId1"/>
    <p:sldLayoutId id="2147485347" r:id="rId2"/>
    <p:sldLayoutId id="2147485348" r:id="rId3"/>
    <p:sldLayoutId id="2147485349" r:id="rId4"/>
    <p:sldLayoutId id="2147485350" r:id="rId5"/>
    <p:sldLayoutId id="2147485351" r:id="rId6"/>
    <p:sldLayoutId id="2147485352" r:id="rId7"/>
    <p:sldLayoutId id="2147485353" r:id="rId8"/>
    <p:sldLayoutId id="2147485354" r:id="rId9"/>
    <p:sldLayoutId id="2147485355" r:id="rId10"/>
    <p:sldLayoutId id="2147485356" r:id="rId11"/>
    <p:sldLayoutId id="2147485357" r:id="rId12"/>
    <p:sldLayoutId id="2147485358" r:id="rId13"/>
    <p:sldLayoutId id="2147485359" r:id="rId14"/>
    <p:sldLayoutId id="2147485360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700" b="1">
          <a:solidFill>
            <a:schemeClr val="bg1"/>
          </a:solidFill>
          <a:latin typeface="Arial Cyr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700" b="1">
          <a:solidFill>
            <a:schemeClr val="bg1"/>
          </a:solidFill>
          <a:latin typeface="Arial Cyr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700" b="1">
          <a:solidFill>
            <a:schemeClr val="bg1"/>
          </a:solidFill>
          <a:latin typeface="Arial Cyr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700" b="1">
          <a:solidFill>
            <a:schemeClr val="bg1"/>
          </a:solidFill>
          <a:latin typeface="Arial Cyr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700" b="1">
          <a:solidFill>
            <a:schemeClr val="bg1"/>
          </a:solidFill>
          <a:latin typeface="Arial Cyr"/>
        </a:defRPr>
      </a:lvl5pPr>
      <a:lvl6pPr marL="48765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 Cyr" charset="0"/>
        </a:defRPr>
      </a:lvl6pPr>
      <a:lvl7pPr marL="975299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 Cyr" charset="0"/>
        </a:defRPr>
      </a:lvl7pPr>
      <a:lvl8pPr marL="1462949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 Cyr" charset="0"/>
        </a:defRPr>
      </a:lvl8pPr>
      <a:lvl9pPr marL="1950598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 Cyr" charset="0"/>
        </a:defRPr>
      </a:lvl9pPr>
    </p:titleStyle>
    <p:bodyStyle>
      <a:lvl1pPr marL="92075" indent="-92075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Arial Cyr"/>
          <a:ea typeface="+mn-ea"/>
          <a:cs typeface="+mn-cs"/>
        </a:defRPr>
      </a:lvl1pPr>
      <a:lvl2pPr marL="387350" indent="-103188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Arial Cyr"/>
        </a:defRPr>
      </a:lvl2pPr>
      <a:lvl3pPr marL="665163" indent="-85725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Arial Cyr"/>
        </a:defRPr>
      </a:lvl3pPr>
      <a:lvl4pPr marL="958850" indent="-103188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Arial Cyr"/>
        </a:defRPr>
      </a:lvl4pPr>
      <a:lvl5pPr marL="1236663" indent="-85725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Arial Cyr"/>
        </a:defRPr>
      </a:lvl5pPr>
      <a:lvl6pPr marL="1725399" indent="-86355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6pPr>
      <a:lvl7pPr marL="2213049" indent="-86355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7pPr>
      <a:lvl8pPr marL="2700698" indent="-86355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8pPr>
      <a:lvl9pPr marL="3188348" indent="-86355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41288" y="6780213"/>
            <a:ext cx="2274887" cy="388937"/>
          </a:xfrm>
          <a:prstGeom prst="rect">
            <a:avLst/>
          </a:prstGeom>
        </p:spPr>
        <p:txBody>
          <a:bodyPr lIns="97530" tIns="48765" rIns="97530" bIns="48765" anchor="ctr"/>
          <a:lstStyle>
            <a:lvl1pPr algn="l">
              <a:defRPr/>
            </a:lvl1pPr>
          </a:lstStyle>
          <a:p>
            <a:pPr defTabSz="975299">
              <a:defRPr/>
            </a:pPr>
            <a:r>
              <a:rPr lang="en-US" sz="1300" dirty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t>Page</a:t>
            </a:r>
          </a:p>
        </p:txBody>
      </p:sp>
      <p:cxnSp>
        <p:nvCxnSpPr>
          <p:cNvPr id="9" name="Straight Connector 6"/>
          <p:cNvCxnSpPr/>
          <p:nvPr userDrawn="1"/>
        </p:nvCxnSpPr>
        <p:spPr>
          <a:xfrm rot="5400000">
            <a:off x="420688" y="6992938"/>
            <a:ext cx="350837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10" descr="FGC-logo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163" y="6821488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itle Placeholder 1"/>
          <p:cNvSpPr>
            <a:spLocks noGrp="1"/>
          </p:cNvSpPr>
          <p:nvPr>
            <p:ph type="title"/>
          </p:nvPr>
        </p:nvSpPr>
        <p:spPr bwMode="auto">
          <a:xfrm>
            <a:off x="474663" y="-1588"/>
            <a:ext cx="8778875" cy="1219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41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7363" y="1458913"/>
            <a:ext cx="8778875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13438" y="6780213"/>
            <a:ext cx="2274887" cy="388937"/>
          </a:xfrm>
          <a:prstGeom prst="rect">
            <a:avLst/>
          </a:prstGeom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898989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A97F261-9804-4B51-8FA3-AC7D22D1AF61}" type="datetime1">
              <a:rPr lang="ru-RU"/>
              <a:pPr>
                <a:defRPr/>
              </a:pPr>
              <a:t>21.02.2023</a:t>
            </a:fld>
            <a:endParaRPr lang="ru-R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2163" y="6780213"/>
            <a:ext cx="3089275" cy="388937"/>
          </a:xfrm>
          <a:prstGeom prst="rect">
            <a:avLst/>
          </a:prstGeom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>
            <a:lvl1pPr algn="ctr">
              <a:defRPr sz="1300">
                <a:solidFill>
                  <a:srgbClr val="898989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2300" y="6780213"/>
            <a:ext cx="2274888" cy="388937"/>
          </a:xfrm>
          <a:prstGeom prst="rect">
            <a:avLst/>
          </a:prstGeom>
        </p:spPr>
        <p:txBody>
          <a:bodyPr vert="horz" lIns="36000" tIns="48765" rIns="97530" bIns="48765" rtlCol="0" anchor="ctr"/>
          <a:lstStyle>
            <a:lvl1pPr algn="l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123B445-206F-4C27-8BC9-A2DBD4C503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  <p:sldLayoutId id="2147485365" r:id="rId5"/>
    <p:sldLayoutId id="2147485366" r:id="rId6"/>
    <p:sldLayoutId id="2147485367" r:id="rId7"/>
    <p:sldLayoutId id="2147485368" r:id="rId8"/>
    <p:sldLayoutId id="2147485369" r:id="rId9"/>
    <p:sldLayoutId id="2147485370" r:id="rId10"/>
    <p:sldLayoutId id="2147485371" r:id="rId11"/>
  </p:sldLayoutIdLst>
  <p:transition>
    <p:fade/>
  </p:transition>
  <p:hf hdr="0" ftr="0" dt="0"/>
  <p:txStyles>
    <p:titleStyle>
      <a:lvl1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+mj-lt"/>
          <a:ea typeface="+mj-ea"/>
          <a:cs typeface="+mj-cs"/>
        </a:defRPr>
      </a:lvl1pPr>
      <a:lvl2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2pPr>
      <a:lvl3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3pPr>
      <a:lvl4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4pPr>
      <a:lvl5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5pPr>
      <a:lvl6pPr marL="457200" algn="l" defTabSz="974725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6pPr>
      <a:lvl7pPr marL="914400" algn="l" defTabSz="974725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7pPr>
      <a:lvl8pPr marL="1371600" algn="l" defTabSz="974725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8pPr>
      <a:lvl9pPr marL="1828800" algn="l" defTabSz="974725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9pPr>
    </p:titleStyle>
    <p:bodyStyle>
      <a:lvl1pPr marL="365125" indent="-365125" algn="l" defTabSz="974725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2400">
          <a:solidFill>
            <a:srgbClr val="10253F"/>
          </a:solidFill>
          <a:latin typeface="+mn-lt"/>
          <a:ea typeface="+mn-ea"/>
          <a:cs typeface="+mn-cs"/>
        </a:defRPr>
      </a:lvl1pPr>
      <a:lvl2pPr marL="792163" indent="-303213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10253F"/>
          </a:solidFill>
          <a:latin typeface="+mn-lt"/>
        </a:defRPr>
      </a:lvl2pPr>
      <a:lvl3pPr marL="1217613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10253F"/>
          </a:solidFill>
          <a:latin typeface="+mn-lt"/>
        </a:defRPr>
      </a:lvl3pPr>
      <a:lvl4pPr marL="1706563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rgbClr val="10253F"/>
          </a:solidFill>
          <a:latin typeface="+mn-lt"/>
        </a:defRPr>
      </a:lvl4pPr>
      <a:lvl5pPr marL="2193925" indent="-242888" algn="l" defTabSz="9747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5pPr>
      <a:lvl6pPr marL="2651125" indent="-242888" algn="l" defTabSz="97472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6pPr>
      <a:lvl7pPr marL="3108325" indent="-242888" algn="l" defTabSz="97472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7pPr>
      <a:lvl8pPr marL="3565525" indent="-242888" algn="l" defTabSz="97472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8pPr>
      <a:lvl9pPr marL="4022725" indent="-242888" algn="l" defTabSz="97472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35"/>
              <a:gd name="T187" fmla="*/ 0 h 1062"/>
              <a:gd name="T188" fmla="*/ 1435 w 1435"/>
              <a:gd name="T189" fmla="*/ 1062 h 106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8" tIns="45697" rIns="91388" bIns="45697"/>
          <a:lstStyle/>
          <a:p>
            <a:endParaRPr lang="ru-RU"/>
          </a:p>
        </p:txBody>
      </p:sp>
      <p:sp>
        <p:nvSpPr>
          <p:cNvPr id="5123" name="Slide Number Placeholder 5"/>
          <p:cNvSpPr txBox="1">
            <a:spLocks/>
          </p:cNvSpPr>
          <p:nvPr userDrawn="1"/>
        </p:nvSpPr>
        <p:spPr bwMode="auto">
          <a:xfrm>
            <a:off x="141288" y="6780213"/>
            <a:ext cx="2274887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76" tIns="48738" rIns="97476" bIns="48738" anchor="ctr"/>
          <a:lstStyle>
            <a:lvl1pPr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sz="1300" smtClean="0">
              <a:solidFill>
                <a:srgbClr val="898989"/>
              </a:solidFill>
            </a:endParaRPr>
          </a:p>
        </p:txBody>
      </p:sp>
      <p:sp>
        <p:nvSpPr>
          <p:cNvPr id="5124" name="Title Placeholder 1"/>
          <p:cNvSpPr>
            <a:spLocks noGrp="1"/>
          </p:cNvSpPr>
          <p:nvPr>
            <p:ph type="title"/>
          </p:nvPr>
        </p:nvSpPr>
        <p:spPr bwMode="auto">
          <a:xfrm>
            <a:off x="474663" y="-1588"/>
            <a:ext cx="8778875" cy="1219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476" tIns="48738" rIns="97476" bIns="487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512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7363" y="1458913"/>
            <a:ext cx="8778875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476" tIns="48738" rIns="97476" bIns="487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6688" y="6770688"/>
            <a:ext cx="22733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5980" tIns="48738" rIns="97476" bIns="48738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898989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ADD8518-825D-4144-89A9-A659A11C47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72" r:id="rId1"/>
    <p:sldLayoutId id="2147485373" r:id="rId2"/>
    <p:sldLayoutId id="2147485374" r:id="rId3"/>
    <p:sldLayoutId id="2147485375" r:id="rId4"/>
    <p:sldLayoutId id="2147485376" r:id="rId5"/>
    <p:sldLayoutId id="2147485377" r:id="rId6"/>
    <p:sldLayoutId id="2147485378" r:id="rId7"/>
    <p:sldLayoutId id="2147485379" r:id="rId8"/>
    <p:sldLayoutId id="2147485380" r:id="rId9"/>
    <p:sldLayoutId id="2147485381" r:id="rId10"/>
    <p:sldLayoutId id="2147485382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5pPr>
      <a:lvl6pPr marL="487650" algn="l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6pPr>
      <a:lvl7pPr marL="975299" algn="l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7pPr>
      <a:lvl8pPr marL="1462949" algn="l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8pPr>
      <a:lvl9pPr marL="1950598" algn="l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9pPr>
    </p:titleStyle>
    <p:bodyStyle>
      <a:lvl1pPr marL="365125" indent="-36512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2500">
          <a:solidFill>
            <a:srgbClr val="10253F"/>
          </a:solidFill>
          <a:latin typeface="+mn-lt"/>
          <a:ea typeface="+mn-ea"/>
          <a:cs typeface="+mn-cs"/>
        </a:defRPr>
      </a:lvl1pPr>
      <a:lvl2pPr marL="792163" indent="-30162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10253F"/>
          </a:solidFill>
          <a:latin typeface="+mn-lt"/>
        </a:defRPr>
      </a:lvl2pPr>
      <a:lvl3pPr marL="1216025" indent="-2413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>
          <a:solidFill>
            <a:srgbClr val="10253F"/>
          </a:solidFill>
          <a:latin typeface="+mn-lt"/>
        </a:defRPr>
      </a:lvl3pPr>
      <a:lvl4pPr marL="1706563" indent="-24288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rgbClr val="10253F"/>
          </a:solidFill>
          <a:latin typeface="+mn-lt"/>
        </a:defRPr>
      </a:lvl4pPr>
      <a:lvl5pPr marL="2193925" indent="-24288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5pPr>
      <a:lvl6pPr marL="2682072" indent="-243825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6pPr>
      <a:lvl7pPr marL="3169722" indent="-243825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7pPr>
      <a:lvl8pPr marL="3657371" indent="-243825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8pPr>
      <a:lvl9pPr marL="4145021" indent="-243825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9pPr>
    </p:bodyStyle>
    <p:otherStyle>
      <a:defPPr>
        <a:defRPr lang="ru-RU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reeform 5"/>
          <p:cNvSpPr>
            <a:spLocks noEditPoints="1"/>
          </p:cNvSpPr>
          <p:nvPr userDrawn="1"/>
        </p:nvSpPr>
        <p:spPr bwMode="auto">
          <a:xfrm>
            <a:off x="-6350" y="6350"/>
            <a:ext cx="9759950" cy="7227888"/>
          </a:xfrm>
          <a:custGeom>
            <a:avLst/>
            <a:gdLst>
              <a:gd name="T0" fmla="*/ 2147483647 w 1435"/>
              <a:gd name="T1" fmla="*/ 2147483647 h 1062"/>
              <a:gd name="T2" fmla="*/ 2147483647 w 1435"/>
              <a:gd name="T3" fmla="*/ 2147483647 h 1062"/>
              <a:gd name="T4" fmla="*/ 2147483647 w 1435"/>
              <a:gd name="T5" fmla="*/ 2147483647 h 1062"/>
              <a:gd name="T6" fmla="*/ 2147483647 w 1435"/>
              <a:gd name="T7" fmla="*/ 2147483647 h 1062"/>
              <a:gd name="T8" fmla="*/ 2147483647 w 1435"/>
              <a:gd name="T9" fmla="*/ 2147483647 h 1062"/>
              <a:gd name="T10" fmla="*/ 2147483647 w 1435"/>
              <a:gd name="T11" fmla="*/ 2147483647 h 1062"/>
              <a:gd name="T12" fmla="*/ 2147483647 w 1435"/>
              <a:gd name="T13" fmla="*/ 2147483647 h 1062"/>
              <a:gd name="T14" fmla="*/ 2147483647 w 1435"/>
              <a:gd name="T15" fmla="*/ 2147483647 h 1062"/>
              <a:gd name="T16" fmla="*/ 2147483647 w 1435"/>
              <a:gd name="T17" fmla="*/ 2147483647 h 1062"/>
              <a:gd name="T18" fmla="*/ 2147483647 w 1435"/>
              <a:gd name="T19" fmla="*/ 2147483647 h 1062"/>
              <a:gd name="T20" fmla="*/ 2147483647 w 1435"/>
              <a:gd name="T21" fmla="*/ 2147483647 h 1062"/>
              <a:gd name="T22" fmla="*/ 2147483647 w 1435"/>
              <a:gd name="T23" fmla="*/ 2147483647 h 1062"/>
              <a:gd name="T24" fmla="*/ 2147483647 w 1435"/>
              <a:gd name="T25" fmla="*/ 2147483647 h 1062"/>
              <a:gd name="T26" fmla="*/ 2147483647 w 1435"/>
              <a:gd name="T27" fmla="*/ 2147483647 h 1062"/>
              <a:gd name="T28" fmla="*/ 2147483647 w 1435"/>
              <a:gd name="T29" fmla="*/ 2147483647 h 1062"/>
              <a:gd name="T30" fmla="*/ 2147483647 w 1435"/>
              <a:gd name="T31" fmla="*/ 2147483647 h 1062"/>
              <a:gd name="T32" fmla="*/ 2147483647 w 1435"/>
              <a:gd name="T33" fmla="*/ 2147483647 h 1062"/>
              <a:gd name="T34" fmla="*/ 2147483647 w 1435"/>
              <a:gd name="T35" fmla="*/ 2147483647 h 1062"/>
              <a:gd name="T36" fmla="*/ 2147483647 w 1435"/>
              <a:gd name="T37" fmla="*/ 2147483647 h 1062"/>
              <a:gd name="T38" fmla="*/ 2147483647 w 1435"/>
              <a:gd name="T39" fmla="*/ 2147483647 h 1062"/>
              <a:gd name="T40" fmla="*/ 2147483647 w 1435"/>
              <a:gd name="T41" fmla="*/ 2147483647 h 1062"/>
              <a:gd name="T42" fmla="*/ 2147483647 w 1435"/>
              <a:gd name="T43" fmla="*/ 2147483647 h 1062"/>
              <a:gd name="T44" fmla="*/ 2147483647 w 1435"/>
              <a:gd name="T45" fmla="*/ 2147483647 h 1062"/>
              <a:gd name="T46" fmla="*/ 2147483647 w 1435"/>
              <a:gd name="T47" fmla="*/ 2147483647 h 1062"/>
              <a:gd name="T48" fmla="*/ 2147483647 w 1435"/>
              <a:gd name="T49" fmla="*/ 2147483647 h 1062"/>
              <a:gd name="T50" fmla="*/ 2147483647 w 1435"/>
              <a:gd name="T51" fmla="*/ 2147483647 h 1062"/>
              <a:gd name="T52" fmla="*/ 2147483647 w 1435"/>
              <a:gd name="T53" fmla="*/ 2147483647 h 1062"/>
              <a:gd name="T54" fmla="*/ 2147483647 w 1435"/>
              <a:gd name="T55" fmla="*/ 2147483647 h 1062"/>
              <a:gd name="T56" fmla="*/ 2147483647 w 1435"/>
              <a:gd name="T57" fmla="*/ 2147483647 h 1062"/>
              <a:gd name="T58" fmla="*/ 2147483647 w 1435"/>
              <a:gd name="T59" fmla="*/ 2147483647 h 1062"/>
              <a:gd name="T60" fmla="*/ 2147483647 w 1435"/>
              <a:gd name="T61" fmla="*/ 2147483647 h 1062"/>
              <a:gd name="T62" fmla="*/ 2147483647 w 1435"/>
              <a:gd name="T63" fmla="*/ 2147483647 h 1062"/>
              <a:gd name="T64" fmla="*/ 2147483647 w 1435"/>
              <a:gd name="T65" fmla="*/ 2147483647 h 1062"/>
              <a:gd name="T66" fmla="*/ 2147483647 w 1435"/>
              <a:gd name="T67" fmla="*/ 2147483647 h 1062"/>
              <a:gd name="T68" fmla="*/ 2147483647 w 1435"/>
              <a:gd name="T69" fmla="*/ 2147483647 h 1062"/>
              <a:gd name="T70" fmla="*/ 2147483647 w 1435"/>
              <a:gd name="T71" fmla="*/ 2147483647 h 1062"/>
              <a:gd name="T72" fmla="*/ 2147483647 w 1435"/>
              <a:gd name="T73" fmla="*/ 2147483647 h 1062"/>
              <a:gd name="T74" fmla="*/ 2147483647 w 1435"/>
              <a:gd name="T75" fmla="*/ 2147483647 h 1062"/>
              <a:gd name="T76" fmla="*/ 2147483647 w 1435"/>
              <a:gd name="T77" fmla="*/ 2147483647 h 1062"/>
              <a:gd name="T78" fmla="*/ 2147483647 w 1435"/>
              <a:gd name="T79" fmla="*/ 2147483647 h 1062"/>
              <a:gd name="T80" fmla="*/ 2147483647 w 1435"/>
              <a:gd name="T81" fmla="*/ 2147483647 h 1062"/>
              <a:gd name="T82" fmla="*/ 2147483647 w 1435"/>
              <a:gd name="T83" fmla="*/ 2147483647 h 1062"/>
              <a:gd name="T84" fmla="*/ 2147483647 w 1435"/>
              <a:gd name="T85" fmla="*/ 2147483647 h 1062"/>
              <a:gd name="T86" fmla="*/ 2147483647 w 1435"/>
              <a:gd name="T87" fmla="*/ 2147483647 h 1062"/>
              <a:gd name="T88" fmla="*/ 2147483647 w 1435"/>
              <a:gd name="T89" fmla="*/ 2147483647 h 1062"/>
              <a:gd name="T90" fmla="*/ 2147483647 w 1435"/>
              <a:gd name="T91" fmla="*/ 2147483647 h 1062"/>
              <a:gd name="T92" fmla="*/ 2147483647 w 1435"/>
              <a:gd name="T93" fmla="*/ 2147483647 h 1062"/>
              <a:gd name="T94" fmla="*/ 2147483647 w 1435"/>
              <a:gd name="T95" fmla="*/ 2147483647 h 1062"/>
              <a:gd name="T96" fmla="*/ 2147483647 w 1435"/>
              <a:gd name="T97" fmla="*/ 2147483647 h 1062"/>
              <a:gd name="T98" fmla="*/ 2147483647 w 1435"/>
              <a:gd name="T99" fmla="*/ 2147483647 h 1062"/>
              <a:gd name="T100" fmla="*/ 2147483647 w 1435"/>
              <a:gd name="T101" fmla="*/ 2147483647 h 1062"/>
              <a:gd name="T102" fmla="*/ 2147483647 w 1435"/>
              <a:gd name="T103" fmla="*/ 2147483647 h 1062"/>
              <a:gd name="T104" fmla="*/ 2147483647 w 1435"/>
              <a:gd name="T105" fmla="*/ 2147483647 h 1062"/>
              <a:gd name="T106" fmla="*/ 2147483647 w 1435"/>
              <a:gd name="T107" fmla="*/ 2147483647 h 1062"/>
              <a:gd name="T108" fmla="*/ 2147483647 w 1435"/>
              <a:gd name="T109" fmla="*/ 2147483647 h 1062"/>
              <a:gd name="T110" fmla="*/ 2147483647 w 1435"/>
              <a:gd name="T111" fmla="*/ 2147483647 h 1062"/>
              <a:gd name="T112" fmla="*/ 2147483647 w 1435"/>
              <a:gd name="T113" fmla="*/ 2147483647 h 1062"/>
              <a:gd name="T114" fmla="*/ 2147483647 w 1435"/>
              <a:gd name="T115" fmla="*/ 2147483647 h 1062"/>
              <a:gd name="T116" fmla="*/ 2147483647 w 1435"/>
              <a:gd name="T117" fmla="*/ 2147483647 h 1062"/>
              <a:gd name="T118" fmla="*/ 2147483647 w 1435"/>
              <a:gd name="T119" fmla="*/ 2147483647 h 1062"/>
              <a:gd name="T120" fmla="*/ 2147483647 w 1435"/>
              <a:gd name="T121" fmla="*/ 2147483647 h 1062"/>
              <a:gd name="T122" fmla="*/ 2147483647 w 1435"/>
              <a:gd name="T123" fmla="*/ 2147483647 h 106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35"/>
              <a:gd name="T187" fmla="*/ 0 h 1062"/>
              <a:gd name="T188" fmla="*/ 1435 w 1435"/>
              <a:gd name="T189" fmla="*/ 1062 h 106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35" h="1062">
                <a:moveTo>
                  <a:pt x="0" y="0"/>
                </a:moveTo>
                <a:cubicBezTo>
                  <a:pt x="2" y="0"/>
                  <a:pt x="4" y="0"/>
                  <a:pt x="6" y="0"/>
                </a:cubicBezTo>
                <a:cubicBezTo>
                  <a:pt x="20" y="12"/>
                  <a:pt x="39" y="25"/>
                  <a:pt x="56" y="37"/>
                </a:cubicBezTo>
                <a:cubicBezTo>
                  <a:pt x="61" y="41"/>
                  <a:pt x="66" y="46"/>
                  <a:pt x="72" y="46"/>
                </a:cubicBezTo>
                <a:cubicBezTo>
                  <a:pt x="53" y="30"/>
                  <a:pt x="30" y="17"/>
                  <a:pt x="11" y="0"/>
                </a:cubicBezTo>
                <a:cubicBezTo>
                  <a:pt x="13" y="0"/>
                  <a:pt x="14" y="0"/>
                  <a:pt x="16" y="0"/>
                </a:cubicBezTo>
                <a:cubicBezTo>
                  <a:pt x="22" y="6"/>
                  <a:pt x="31" y="12"/>
                  <a:pt x="41" y="19"/>
                </a:cubicBezTo>
                <a:cubicBezTo>
                  <a:pt x="52" y="27"/>
                  <a:pt x="62" y="39"/>
                  <a:pt x="76" y="33"/>
                </a:cubicBezTo>
                <a:cubicBezTo>
                  <a:pt x="70" y="28"/>
                  <a:pt x="64" y="23"/>
                  <a:pt x="56" y="18"/>
                </a:cubicBezTo>
                <a:cubicBezTo>
                  <a:pt x="49" y="12"/>
                  <a:pt x="39" y="8"/>
                  <a:pt x="34" y="0"/>
                </a:cubicBezTo>
                <a:cubicBezTo>
                  <a:pt x="36" y="0"/>
                  <a:pt x="37" y="0"/>
                  <a:pt x="39" y="0"/>
                </a:cubicBezTo>
                <a:cubicBezTo>
                  <a:pt x="52" y="11"/>
                  <a:pt x="66" y="22"/>
                  <a:pt x="81" y="31"/>
                </a:cubicBezTo>
                <a:cubicBezTo>
                  <a:pt x="116" y="59"/>
                  <a:pt x="155" y="84"/>
                  <a:pt x="190" y="112"/>
                </a:cubicBezTo>
                <a:cubicBezTo>
                  <a:pt x="290" y="183"/>
                  <a:pt x="389" y="254"/>
                  <a:pt x="489" y="324"/>
                </a:cubicBezTo>
                <a:cubicBezTo>
                  <a:pt x="514" y="338"/>
                  <a:pt x="535" y="356"/>
                  <a:pt x="559" y="370"/>
                </a:cubicBezTo>
                <a:cubicBezTo>
                  <a:pt x="567" y="379"/>
                  <a:pt x="580" y="383"/>
                  <a:pt x="587" y="392"/>
                </a:cubicBezTo>
                <a:cubicBezTo>
                  <a:pt x="624" y="413"/>
                  <a:pt x="657" y="437"/>
                  <a:pt x="692" y="459"/>
                </a:cubicBezTo>
                <a:cubicBezTo>
                  <a:pt x="695" y="452"/>
                  <a:pt x="693" y="440"/>
                  <a:pt x="691" y="435"/>
                </a:cubicBezTo>
                <a:cubicBezTo>
                  <a:pt x="718" y="428"/>
                  <a:pt x="741" y="416"/>
                  <a:pt x="766" y="407"/>
                </a:cubicBezTo>
                <a:cubicBezTo>
                  <a:pt x="758" y="392"/>
                  <a:pt x="746" y="381"/>
                  <a:pt x="738" y="367"/>
                </a:cubicBezTo>
                <a:cubicBezTo>
                  <a:pt x="736" y="367"/>
                  <a:pt x="735" y="366"/>
                  <a:pt x="733" y="366"/>
                </a:cubicBezTo>
                <a:cubicBezTo>
                  <a:pt x="732" y="364"/>
                  <a:pt x="734" y="363"/>
                  <a:pt x="734" y="362"/>
                </a:cubicBezTo>
                <a:cubicBezTo>
                  <a:pt x="733" y="363"/>
                  <a:pt x="727" y="361"/>
                  <a:pt x="729" y="358"/>
                </a:cubicBezTo>
                <a:cubicBezTo>
                  <a:pt x="731" y="356"/>
                  <a:pt x="733" y="359"/>
                  <a:pt x="734" y="361"/>
                </a:cubicBezTo>
                <a:cubicBezTo>
                  <a:pt x="739" y="359"/>
                  <a:pt x="731" y="355"/>
                  <a:pt x="733" y="354"/>
                </a:cubicBezTo>
                <a:cubicBezTo>
                  <a:pt x="733" y="350"/>
                  <a:pt x="736" y="356"/>
                  <a:pt x="737" y="353"/>
                </a:cubicBezTo>
                <a:cubicBezTo>
                  <a:pt x="736" y="340"/>
                  <a:pt x="737" y="322"/>
                  <a:pt x="736" y="303"/>
                </a:cubicBezTo>
                <a:cubicBezTo>
                  <a:pt x="734" y="299"/>
                  <a:pt x="729" y="297"/>
                  <a:pt x="727" y="293"/>
                </a:cubicBezTo>
                <a:cubicBezTo>
                  <a:pt x="731" y="291"/>
                  <a:pt x="730" y="297"/>
                  <a:pt x="734" y="296"/>
                </a:cubicBezTo>
                <a:cubicBezTo>
                  <a:pt x="723" y="284"/>
                  <a:pt x="708" y="275"/>
                  <a:pt x="699" y="261"/>
                </a:cubicBezTo>
                <a:cubicBezTo>
                  <a:pt x="713" y="272"/>
                  <a:pt x="725" y="286"/>
                  <a:pt x="740" y="297"/>
                </a:cubicBezTo>
                <a:cubicBezTo>
                  <a:pt x="741" y="297"/>
                  <a:pt x="742" y="296"/>
                  <a:pt x="743" y="295"/>
                </a:cubicBezTo>
                <a:cubicBezTo>
                  <a:pt x="713" y="268"/>
                  <a:pt x="678" y="233"/>
                  <a:pt x="649" y="205"/>
                </a:cubicBezTo>
                <a:cubicBezTo>
                  <a:pt x="645" y="201"/>
                  <a:pt x="644" y="199"/>
                  <a:pt x="639" y="202"/>
                </a:cubicBezTo>
                <a:cubicBezTo>
                  <a:pt x="658" y="223"/>
                  <a:pt x="680" y="241"/>
                  <a:pt x="699" y="261"/>
                </a:cubicBezTo>
                <a:cubicBezTo>
                  <a:pt x="692" y="259"/>
                  <a:pt x="691" y="252"/>
                  <a:pt x="684" y="250"/>
                </a:cubicBezTo>
                <a:cubicBezTo>
                  <a:pt x="684" y="249"/>
                  <a:pt x="683" y="248"/>
                  <a:pt x="683" y="247"/>
                </a:cubicBezTo>
                <a:cubicBezTo>
                  <a:pt x="668" y="234"/>
                  <a:pt x="653" y="220"/>
                  <a:pt x="639" y="206"/>
                </a:cubicBezTo>
                <a:cubicBezTo>
                  <a:pt x="640" y="211"/>
                  <a:pt x="647" y="216"/>
                  <a:pt x="652" y="219"/>
                </a:cubicBezTo>
                <a:cubicBezTo>
                  <a:pt x="655" y="225"/>
                  <a:pt x="660" y="230"/>
                  <a:pt x="666" y="233"/>
                </a:cubicBezTo>
                <a:cubicBezTo>
                  <a:pt x="679" y="250"/>
                  <a:pt x="698" y="262"/>
                  <a:pt x="712" y="279"/>
                </a:cubicBezTo>
                <a:cubicBezTo>
                  <a:pt x="713" y="279"/>
                  <a:pt x="714" y="279"/>
                  <a:pt x="715" y="279"/>
                </a:cubicBezTo>
                <a:cubicBezTo>
                  <a:pt x="717" y="286"/>
                  <a:pt x="726" y="286"/>
                  <a:pt x="727" y="293"/>
                </a:cubicBezTo>
                <a:cubicBezTo>
                  <a:pt x="623" y="199"/>
                  <a:pt x="522" y="100"/>
                  <a:pt x="422" y="0"/>
                </a:cubicBezTo>
                <a:cubicBezTo>
                  <a:pt x="424" y="0"/>
                  <a:pt x="425" y="0"/>
                  <a:pt x="427" y="0"/>
                </a:cubicBezTo>
                <a:cubicBezTo>
                  <a:pt x="443" y="19"/>
                  <a:pt x="464" y="38"/>
                  <a:pt x="482" y="56"/>
                </a:cubicBezTo>
                <a:cubicBezTo>
                  <a:pt x="531" y="104"/>
                  <a:pt x="581" y="154"/>
                  <a:pt x="630" y="200"/>
                </a:cubicBezTo>
                <a:cubicBezTo>
                  <a:pt x="627" y="194"/>
                  <a:pt x="622" y="190"/>
                  <a:pt x="618" y="186"/>
                </a:cubicBezTo>
                <a:cubicBezTo>
                  <a:pt x="588" y="159"/>
                  <a:pt x="559" y="128"/>
                  <a:pt x="529" y="100"/>
                </a:cubicBezTo>
                <a:cubicBezTo>
                  <a:pt x="495" y="67"/>
                  <a:pt x="462" y="34"/>
                  <a:pt x="429" y="0"/>
                </a:cubicBezTo>
                <a:cubicBezTo>
                  <a:pt x="430" y="0"/>
                  <a:pt x="432" y="0"/>
                  <a:pt x="433" y="0"/>
                </a:cubicBezTo>
                <a:cubicBezTo>
                  <a:pt x="433" y="1"/>
                  <a:pt x="433" y="2"/>
                  <a:pt x="434" y="2"/>
                </a:cubicBezTo>
                <a:cubicBezTo>
                  <a:pt x="497" y="64"/>
                  <a:pt x="558" y="128"/>
                  <a:pt x="624" y="189"/>
                </a:cubicBezTo>
                <a:cubicBezTo>
                  <a:pt x="628" y="193"/>
                  <a:pt x="633" y="199"/>
                  <a:pt x="639" y="197"/>
                </a:cubicBezTo>
                <a:cubicBezTo>
                  <a:pt x="632" y="188"/>
                  <a:pt x="623" y="180"/>
                  <a:pt x="615" y="172"/>
                </a:cubicBezTo>
                <a:cubicBezTo>
                  <a:pt x="590" y="148"/>
                  <a:pt x="564" y="124"/>
                  <a:pt x="540" y="99"/>
                </a:cubicBezTo>
                <a:cubicBezTo>
                  <a:pt x="508" y="66"/>
                  <a:pt x="474" y="34"/>
                  <a:pt x="443" y="0"/>
                </a:cubicBezTo>
                <a:cubicBezTo>
                  <a:pt x="444" y="0"/>
                  <a:pt x="445" y="0"/>
                  <a:pt x="447" y="0"/>
                </a:cubicBezTo>
                <a:cubicBezTo>
                  <a:pt x="543" y="101"/>
                  <a:pt x="644" y="198"/>
                  <a:pt x="745" y="295"/>
                </a:cubicBezTo>
                <a:cubicBezTo>
                  <a:pt x="767" y="287"/>
                  <a:pt x="789" y="278"/>
                  <a:pt x="810" y="270"/>
                </a:cubicBezTo>
                <a:cubicBezTo>
                  <a:pt x="809" y="267"/>
                  <a:pt x="811" y="262"/>
                  <a:pt x="810" y="259"/>
                </a:cubicBezTo>
                <a:cubicBezTo>
                  <a:pt x="809" y="254"/>
                  <a:pt x="798" y="247"/>
                  <a:pt x="794" y="243"/>
                </a:cubicBezTo>
                <a:cubicBezTo>
                  <a:pt x="779" y="227"/>
                  <a:pt x="763" y="210"/>
                  <a:pt x="747" y="193"/>
                </a:cubicBezTo>
                <a:cubicBezTo>
                  <a:pt x="730" y="176"/>
                  <a:pt x="714" y="156"/>
                  <a:pt x="697" y="138"/>
                </a:cubicBezTo>
                <a:cubicBezTo>
                  <a:pt x="655" y="94"/>
                  <a:pt x="612" y="47"/>
                  <a:pt x="572" y="0"/>
                </a:cubicBezTo>
                <a:cubicBezTo>
                  <a:pt x="574" y="0"/>
                  <a:pt x="576" y="0"/>
                  <a:pt x="577" y="0"/>
                </a:cubicBezTo>
                <a:cubicBezTo>
                  <a:pt x="614" y="44"/>
                  <a:pt x="653" y="86"/>
                  <a:pt x="692" y="128"/>
                </a:cubicBezTo>
                <a:cubicBezTo>
                  <a:pt x="710" y="147"/>
                  <a:pt x="727" y="167"/>
                  <a:pt x="745" y="187"/>
                </a:cubicBezTo>
                <a:cubicBezTo>
                  <a:pt x="760" y="202"/>
                  <a:pt x="775" y="217"/>
                  <a:pt x="790" y="232"/>
                </a:cubicBezTo>
                <a:cubicBezTo>
                  <a:pt x="793" y="236"/>
                  <a:pt x="797" y="241"/>
                  <a:pt x="802" y="244"/>
                </a:cubicBezTo>
                <a:cubicBezTo>
                  <a:pt x="803" y="243"/>
                  <a:pt x="803" y="241"/>
                  <a:pt x="803" y="240"/>
                </a:cubicBezTo>
                <a:cubicBezTo>
                  <a:pt x="799" y="237"/>
                  <a:pt x="796" y="233"/>
                  <a:pt x="792" y="230"/>
                </a:cubicBezTo>
                <a:cubicBezTo>
                  <a:pt x="798" y="230"/>
                  <a:pt x="801" y="239"/>
                  <a:pt x="807" y="241"/>
                </a:cubicBezTo>
                <a:cubicBezTo>
                  <a:pt x="808" y="245"/>
                  <a:pt x="805" y="244"/>
                  <a:pt x="805" y="247"/>
                </a:cubicBezTo>
                <a:cubicBezTo>
                  <a:pt x="805" y="251"/>
                  <a:pt x="808" y="252"/>
                  <a:pt x="811" y="254"/>
                </a:cubicBezTo>
                <a:cubicBezTo>
                  <a:pt x="812" y="247"/>
                  <a:pt x="814" y="237"/>
                  <a:pt x="816" y="229"/>
                </a:cubicBezTo>
                <a:cubicBezTo>
                  <a:pt x="820" y="229"/>
                  <a:pt x="824" y="229"/>
                  <a:pt x="828" y="229"/>
                </a:cubicBezTo>
                <a:cubicBezTo>
                  <a:pt x="831" y="241"/>
                  <a:pt x="833" y="256"/>
                  <a:pt x="835" y="270"/>
                </a:cubicBezTo>
                <a:cubicBezTo>
                  <a:pt x="862" y="274"/>
                  <a:pt x="888" y="282"/>
                  <a:pt x="913" y="286"/>
                </a:cubicBezTo>
                <a:cubicBezTo>
                  <a:pt x="914" y="288"/>
                  <a:pt x="913" y="290"/>
                  <a:pt x="910" y="290"/>
                </a:cubicBezTo>
                <a:cubicBezTo>
                  <a:pt x="913" y="305"/>
                  <a:pt x="908" y="327"/>
                  <a:pt x="914" y="341"/>
                </a:cubicBezTo>
                <a:cubicBezTo>
                  <a:pt x="915" y="344"/>
                  <a:pt x="911" y="341"/>
                  <a:pt x="911" y="343"/>
                </a:cubicBezTo>
                <a:cubicBezTo>
                  <a:pt x="913" y="345"/>
                  <a:pt x="915" y="347"/>
                  <a:pt x="914" y="352"/>
                </a:cubicBezTo>
                <a:cubicBezTo>
                  <a:pt x="913" y="350"/>
                  <a:pt x="909" y="348"/>
                  <a:pt x="907" y="349"/>
                </a:cubicBezTo>
                <a:cubicBezTo>
                  <a:pt x="907" y="353"/>
                  <a:pt x="910" y="353"/>
                  <a:pt x="911" y="355"/>
                </a:cubicBezTo>
                <a:cubicBezTo>
                  <a:pt x="914" y="364"/>
                  <a:pt x="919" y="371"/>
                  <a:pt x="924" y="379"/>
                </a:cubicBezTo>
                <a:cubicBezTo>
                  <a:pt x="928" y="391"/>
                  <a:pt x="938" y="401"/>
                  <a:pt x="940" y="413"/>
                </a:cubicBezTo>
                <a:cubicBezTo>
                  <a:pt x="928" y="395"/>
                  <a:pt x="919" y="376"/>
                  <a:pt x="909" y="357"/>
                </a:cubicBezTo>
                <a:cubicBezTo>
                  <a:pt x="907" y="356"/>
                  <a:pt x="907" y="354"/>
                  <a:pt x="904" y="354"/>
                </a:cubicBezTo>
                <a:cubicBezTo>
                  <a:pt x="904" y="353"/>
                  <a:pt x="904" y="352"/>
                  <a:pt x="904" y="351"/>
                </a:cubicBezTo>
                <a:cubicBezTo>
                  <a:pt x="885" y="333"/>
                  <a:pt x="866" y="315"/>
                  <a:pt x="848" y="297"/>
                </a:cubicBezTo>
                <a:cubicBezTo>
                  <a:pt x="845" y="297"/>
                  <a:pt x="841" y="296"/>
                  <a:pt x="839" y="297"/>
                </a:cubicBezTo>
                <a:cubicBezTo>
                  <a:pt x="841" y="328"/>
                  <a:pt x="843" y="366"/>
                  <a:pt x="846" y="392"/>
                </a:cubicBezTo>
                <a:cubicBezTo>
                  <a:pt x="885" y="402"/>
                  <a:pt x="924" y="411"/>
                  <a:pt x="963" y="420"/>
                </a:cubicBezTo>
                <a:cubicBezTo>
                  <a:pt x="962" y="422"/>
                  <a:pt x="960" y="422"/>
                  <a:pt x="959" y="423"/>
                </a:cubicBezTo>
                <a:cubicBezTo>
                  <a:pt x="956" y="451"/>
                  <a:pt x="971" y="462"/>
                  <a:pt x="979" y="480"/>
                </a:cubicBezTo>
                <a:cubicBezTo>
                  <a:pt x="981" y="482"/>
                  <a:pt x="981" y="476"/>
                  <a:pt x="984" y="479"/>
                </a:cubicBezTo>
                <a:cubicBezTo>
                  <a:pt x="986" y="483"/>
                  <a:pt x="982" y="482"/>
                  <a:pt x="982" y="485"/>
                </a:cubicBezTo>
                <a:cubicBezTo>
                  <a:pt x="992" y="503"/>
                  <a:pt x="1002" y="520"/>
                  <a:pt x="1012" y="538"/>
                </a:cubicBezTo>
                <a:cubicBezTo>
                  <a:pt x="993" y="511"/>
                  <a:pt x="978" y="480"/>
                  <a:pt x="960" y="452"/>
                </a:cubicBezTo>
                <a:cubicBezTo>
                  <a:pt x="960" y="457"/>
                  <a:pt x="958" y="471"/>
                  <a:pt x="963" y="474"/>
                </a:cubicBezTo>
                <a:cubicBezTo>
                  <a:pt x="963" y="476"/>
                  <a:pt x="960" y="475"/>
                  <a:pt x="960" y="478"/>
                </a:cubicBezTo>
                <a:cubicBezTo>
                  <a:pt x="961" y="480"/>
                  <a:pt x="962" y="478"/>
                  <a:pt x="964" y="478"/>
                </a:cubicBezTo>
                <a:cubicBezTo>
                  <a:pt x="962" y="481"/>
                  <a:pt x="964" y="483"/>
                  <a:pt x="963" y="485"/>
                </a:cubicBezTo>
                <a:cubicBezTo>
                  <a:pt x="960" y="487"/>
                  <a:pt x="960" y="483"/>
                  <a:pt x="956" y="484"/>
                </a:cubicBezTo>
                <a:cubicBezTo>
                  <a:pt x="958" y="489"/>
                  <a:pt x="964" y="496"/>
                  <a:pt x="966" y="503"/>
                </a:cubicBezTo>
                <a:cubicBezTo>
                  <a:pt x="959" y="500"/>
                  <a:pt x="958" y="492"/>
                  <a:pt x="954" y="487"/>
                </a:cubicBezTo>
                <a:cubicBezTo>
                  <a:pt x="948" y="484"/>
                  <a:pt x="945" y="478"/>
                  <a:pt x="939" y="476"/>
                </a:cubicBezTo>
                <a:cubicBezTo>
                  <a:pt x="944" y="471"/>
                  <a:pt x="948" y="484"/>
                  <a:pt x="954" y="481"/>
                </a:cubicBezTo>
                <a:cubicBezTo>
                  <a:pt x="954" y="477"/>
                  <a:pt x="951" y="476"/>
                  <a:pt x="952" y="471"/>
                </a:cubicBezTo>
                <a:cubicBezTo>
                  <a:pt x="953" y="470"/>
                  <a:pt x="954" y="470"/>
                  <a:pt x="955" y="470"/>
                </a:cubicBezTo>
                <a:cubicBezTo>
                  <a:pt x="958" y="450"/>
                  <a:pt x="953" y="433"/>
                  <a:pt x="945" y="424"/>
                </a:cubicBezTo>
                <a:cubicBezTo>
                  <a:pt x="928" y="424"/>
                  <a:pt x="913" y="427"/>
                  <a:pt x="897" y="428"/>
                </a:cubicBezTo>
                <a:cubicBezTo>
                  <a:pt x="895" y="427"/>
                  <a:pt x="895" y="430"/>
                  <a:pt x="894" y="430"/>
                </a:cubicBezTo>
                <a:cubicBezTo>
                  <a:pt x="892" y="430"/>
                  <a:pt x="892" y="429"/>
                  <a:pt x="890" y="428"/>
                </a:cubicBezTo>
                <a:cubicBezTo>
                  <a:pt x="878" y="432"/>
                  <a:pt x="859" y="429"/>
                  <a:pt x="848" y="434"/>
                </a:cubicBezTo>
                <a:cubicBezTo>
                  <a:pt x="852" y="460"/>
                  <a:pt x="853" y="487"/>
                  <a:pt x="856" y="513"/>
                </a:cubicBezTo>
                <a:cubicBezTo>
                  <a:pt x="883" y="522"/>
                  <a:pt x="910" y="530"/>
                  <a:pt x="939" y="536"/>
                </a:cubicBezTo>
                <a:cubicBezTo>
                  <a:pt x="940" y="539"/>
                  <a:pt x="937" y="538"/>
                  <a:pt x="937" y="540"/>
                </a:cubicBezTo>
                <a:cubicBezTo>
                  <a:pt x="940" y="555"/>
                  <a:pt x="934" y="578"/>
                  <a:pt x="940" y="590"/>
                </a:cubicBezTo>
                <a:cubicBezTo>
                  <a:pt x="938" y="595"/>
                  <a:pt x="941" y="598"/>
                  <a:pt x="941" y="603"/>
                </a:cubicBezTo>
                <a:cubicBezTo>
                  <a:pt x="938" y="604"/>
                  <a:pt x="939" y="602"/>
                  <a:pt x="937" y="602"/>
                </a:cubicBezTo>
                <a:cubicBezTo>
                  <a:pt x="941" y="616"/>
                  <a:pt x="953" y="627"/>
                  <a:pt x="962" y="640"/>
                </a:cubicBezTo>
                <a:cubicBezTo>
                  <a:pt x="969" y="649"/>
                  <a:pt x="973" y="660"/>
                  <a:pt x="983" y="667"/>
                </a:cubicBezTo>
                <a:cubicBezTo>
                  <a:pt x="985" y="679"/>
                  <a:pt x="996" y="687"/>
                  <a:pt x="1003" y="696"/>
                </a:cubicBezTo>
                <a:cubicBezTo>
                  <a:pt x="1006" y="693"/>
                  <a:pt x="1002" y="692"/>
                  <a:pt x="1000" y="689"/>
                </a:cubicBezTo>
                <a:cubicBezTo>
                  <a:pt x="996" y="684"/>
                  <a:pt x="990" y="675"/>
                  <a:pt x="984" y="670"/>
                </a:cubicBezTo>
                <a:cubicBezTo>
                  <a:pt x="984" y="660"/>
                  <a:pt x="973" y="657"/>
                  <a:pt x="972" y="650"/>
                </a:cubicBezTo>
                <a:cubicBezTo>
                  <a:pt x="984" y="661"/>
                  <a:pt x="992" y="676"/>
                  <a:pt x="1003" y="689"/>
                </a:cubicBezTo>
                <a:cubicBezTo>
                  <a:pt x="1006" y="689"/>
                  <a:pt x="1007" y="689"/>
                  <a:pt x="1009" y="689"/>
                </a:cubicBezTo>
                <a:cubicBezTo>
                  <a:pt x="1009" y="692"/>
                  <a:pt x="1007" y="697"/>
                  <a:pt x="1004" y="698"/>
                </a:cubicBezTo>
                <a:cubicBezTo>
                  <a:pt x="1010" y="711"/>
                  <a:pt x="1021" y="718"/>
                  <a:pt x="1027" y="730"/>
                </a:cubicBezTo>
                <a:cubicBezTo>
                  <a:pt x="1016" y="723"/>
                  <a:pt x="1011" y="709"/>
                  <a:pt x="1001" y="701"/>
                </a:cubicBezTo>
                <a:cubicBezTo>
                  <a:pt x="987" y="679"/>
                  <a:pt x="972" y="659"/>
                  <a:pt x="956" y="640"/>
                </a:cubicBezTo>
                <a:cubicBezTo>
                  <a:pt x="956" y="638"/>
                  <a:pt x="956" y="637"/>
                  <a:pt x="955" y="636"/>
                </a:cubicBezTo>
                <a:cubicBezTo>
                  <a:pt x="949" y="628"/>
                  <a:pt x="944" y="620"/>
                  <a:pt x="937" y="614"/>
                </a:cubicBezTo>
                <a:cubicBezTo>
                  <a:pt x="937" y="610"/>
                  <a:pt x="935" y="607"/>
                  <a:pt x="932" y="609"/>
                </a:cubicBezTo>
                <a:cubicBezTo>
                  <a:pt x="934" y="617"/>
                  <a:pt x="942" y="620"/>
                  <a:pt x="945" y="628"/>
                </a:cubicBezTo>
                <a:cubicBezTo>
                  <a:pt x="935" y="618"/>
                  <a:pt x="928" y="606"/>
                  <a:pt x="916" y="599"/>
                </a:cubicBezTo>
                <a:cubicBezTo>
                  <a:pt x="917" y="594"/>
                  <a:pt x="912" y="592"/>
                  <a:pt x="909" y="590"/>
                </a:cubicBezTo>
                <a:cubicBezTo>
                  <a:pt x="911" y="587"/>
                  <a:pt x="904" y="587"/>
                  <a:pt x="904" y="583"/>
                </a:cubicBezTo>
                <a:cubicBezTo>
                  <a:pt x="908" y="583"/>
                  <a:pt x="913" y="587"/>
                  <a:pt x="915" y="590"/>
                </a:cubicBezTo>
                <a:cubicBezTo>
                  <a:pt x="922" y="588"/>
                  <a:pt x="924" y="598"/>
                  <a:pt x="930" y="599"/>
                </a:cubicBezTo>
                <a:cubicBezTo>
                  <a:pt x="932" y="596"/>
                  <a:pt x="932" y="593"/>
                  <a:pt x="934" y="590"/>
                </a:cubicBezTo>
                <a:cubicBezTo>
                  <a:pt x="934" y="588"/>
                  <a:pt x="931" y="590"/>
                  <a:pt x="932" y="591"/>
                </a:cubicBezTo>
                <a:cubicBezTo>
                  <a:pt x="929" y="589"/>
                  <a:pt x="934" y="587"/>
                  <a:pt x="934" y="585"/>
                </a:cubicBezTo>
                <a:cubicBezTo>
                  <a:pt x="934" y="571"/>
                  <a:pt x="931" y="554"/>
                  <a:pt x="934" y="541"/>
                </a:cubicBezTo>
                <a:cubicBezTo>
                  <a:pt x="916" y="539"/>
                  <a:pt x="896" y="544"/>
                  <a:pt x="877" y="545"/>
                </a:cubicBezTo>
                <a:cubicBezTo>
                  <a:pt x="885" y="558"/>
                  <a:pt x="897" y="568"/>
                  <a:pt x="905" y="581"/>
                </a:cubicBezTo>
                <a:cubicBezTo>
                  <a:pt x="894" y="571"/>
                  <a:pt x="885" y="557"/>
                  <a:pt x="874" y="545"/>
                </a:cubicBezTo>
                <a:cubicBezTo>
                  <a:pt x="869" y="546"/>
                  <a:pt x="862" y="545"/>
                  <a:pt x="859" y="548"/>
                </a:cubicBezTo>
                <a:cubicBezTo>
                  <a:pt x="861" y="552"/>
                  <a:pt x="859" y="561"/>
                  <a:pt x="863" y="562"/>
                </a:cubicBezTo>
                <a:cubicBezTo>
                  <a:pt x="863" y="563"/>
                  <a:pt x="861" y="563"/>
                  <a:pt x="861" y="564"/>
                </a:cubicBezTo>
                <a:cubicBezTo>
                  <a:pt x="879" y="707"/>
                  <a:pt x="908" y="843"/>
                  <a:pt x="933" y="980"/>
                </a:cubicBezTo>
                <a:cubicBezTo>
                  <a:pt x="935" y="982"/>
                  <a:pt x="935" y="976"/>
                  <a:pt x="938" y="978"/>
                </a:cubicBezTo>
                <a:cubicBezTo>
                  <a:pt x="939" y="983"/>
                  <a:pt x="940" y="989"/>
                  <a:pt x="938" y="993"/>
                </a:cubicBezTo>
                <a:cubicBezTo>
                  <a:pt x="939" y="995"/>
                  <a:pt x="941" y="993"/>
                  <a:pt x="942" y="994"/>
                </a:cubicBezTo>
                <a:cubicBezTo>
                  <a:pt x="942" y="1000"/>
                  <a:pt x="932" y="1000"/>
                  <a:pt x="930" y="995"/>
                </a:cubicBezTo>
                <a:cubicBezTo>
                  <a:pt x="928" y="995"/>
                  <a:pt x="930" y="998"/>
                  <a:pt x="928" y="999"/>
                </a:cubicBezTo>
                <a:cubicBezTo>
                  <a:pt x="930" y="999"/>
                  <a:pt x="931" y="1000"/>
                  <a:pt x="933" y="1000"/>
                </a:cubicBezTo>
                <a:cubicBezTo>
                  <a:pt x="931" y="1002"/>
                  <a:pt x="935" y="1004"/>
                  <a:pt x="937" y="1006"/>
                </a:cubicBezTo>
                <a:cubicBezTo>
                  <a:pt x="940" y="1003"/>
                  <a:pt x="941" y="1005"/>
                  <a:pt x="945" y="1006"/>
                </a:cubicBezTo>
                <a:cubicBezTo>
                  <a:pt x="950" y="1003"/>
                  <a:pt x="960" y="1004"/>
                  <a:pt x="964" y="1007"/>
                </a:cubicBezTo>
                <a:cubicBezTo>
                  <a:pt x="971" y="1005"/>
                  <a:pt x="976" y="1004"/>
                  <a:pt x="982" y="1004"/>
                </a:cubicBezTo>
                <a:cubicBezTo>
                  <a:pt x="982" y="1001"/>
                  <a:pt x="980" y="1001"/>
                  <a:pt x="982" y="998"/>
                </a:cubicBezTo>
                <a:cubicBezTo>
                  <a:pt x="987" y="1001"/>
                  <a:pt x="990" y="1005"/>
                  <a:pt x="997" y="1006"/>
                </a:cubicBezTo>
                <a:cubicBezTo>
                  <a:pt x="998" y="1005"/>
                  <a:pt x="996" y="1003"/>
                  <a:pt x="997" y="1001"/>
                </a:cubicBezTo>
                <a:cubicBezTo>
                  <a:pt x="999" y="1007"/>
                  <a:pt x="1008" y="1002"/>
                  <a:pt x="1012" y="1004"/>
                </a:cubicBezTo>
                <a:cubicBezTo>
                  <a:pt x="1012" y="1010"/>
                  <a:pt x="1005" y="1005"/>
                  <a:pt x="1004" y="1008"/>
                </a:cubicBezTo>
                <a:cubicBezTo>
                  <a:pt x="1007" y="1010"/>
                  <a:pt x="1010" y="1008"/>
                  <a:pt x="1014" y="1007"/>
                </a:cubicBezTo>
                <a:cubicBezTo>
                  <a:pt x="1015" y="1006"/>
                  <a:pt x="1014" y="1004"/>
                  <a:pt x="1014" y="1002"/>
                </a:cubicBezTo>
                <a:cubicBezTo>
                  <a:pt x="1018" y="1002"/>
                  <a:pt x="1019" y="1004"/>
                  <a:pt x="1021" y="1006"/>
                </a:cubicBezTo>
                <a:cubicBezTo>
                  <a:pt x="1024" y="1002"/>
                  <a:pt x="1032" y="998"/>
                  <a:pt x="1035" y="1004"/>
                </a:cubicBezTo>
                <a:cubicBezTo>
                  <a:pt x="1037" y="1003"/>
                  <a:pt x="1038" y="1003"/>
                  <a:pt x="1040" y="1002"/>
                </a:cubicBezTo>
                <a:cubicBezTo>
                  <a:pt x="1039" y="999"/>
                  <a:pt x="1038" y="997"/>
                  <a:pt x="1034" y="997"/>
                </a:cubicBezTo>
                <a:cubicBezTo>
                  <a:pt x="1035" y="994"/>
                  <a:pt x="1041" y="996"/>
                  <a:pt x="1043" y="995"/>
                </a:cubicBezTo>
                <a:cubicBezTo>
                  <a:pt x="1044" y="998"/>
                  <a:pt x="1045" y="1002"/>
                  <a:pt x="1046" y="1004"/>
                </a:cubicBezTo>
                <a:cubicBezTo>
                  <a:pt x="1049" y="1005"/>
                  <a:pt x="1049" y="1002"/>
                  <a:pt x="1052" y="1002"/>
                </a:cubicBezTo>
                <a:cubicBezTo>
                  <a:pt x="1053" y="999"/>
                  <a:pt x="1046" y="999"/>
                  <a:pt x="1049" y="996"/>
                </a:cubicBezTo>
                <a:cubicBezTo>
                  <a:pt x="1052" y="996"/>
                  <a:pt x="1051" y="998"/>
                  <a:pt x="1052" y="1000"/>
                </a:cubicBezTo>
                <a:cubicBezTo>
                  <a:pt x="1053" y="1000"/>
                  <a:pt x="1053" y="998"/>
                  <a:pt x="1055" y="999"/>
                </a:cubicBezTo>
                <a:cubicBezTo>
                  <a:pt x="1052" y="1004"/>
                  <a:pt x="1057" y="1004"/>
                  <a:pt x="1060" y="1006"/>
                </a:cubicBezTo>
                <a:cubicBezTo>
                  <a:pt x="1061" y="1005"/>
                  <a:pt x="1060" y="1002"/>
                  <a:pt x="1062" y="1002"/>
                </a:cubicBezTo>
                <a:cubicBezTo>
                  <a:pt x="1067" y="1004"/>
                  <a:pt x="1074" y="1005"/>
                  <a:pt x="1079" y="1006"/>
                </a:cubicBezTo>
                <a:cubicBezTo>
                  <a:pt x="1077" y="1004"/>
                  <a:pt x="1077" y="1000"/>
                  <a:pt x="1074" y="1000"/>
                </a:cubicBezTo>
                <a:cubicBezTo>
                  <a:pt x="1072" y="1000"/>
                  <a:pt x="1071" y="1002"/>
                  <a:pt x="1068" y="1002"/>
                </a:cubicBezTo>
                <a:cubicBezTo>
                  <a:pt x="1067" y="999"/>
                  <a:pt x="1063" y="1000"/>
                  <a:pt x="1062" y="998"/>
                </a:cubicBezTo>
                <a:cubicBezTo>
                  <a:pt x="1067" y="995"/>
                  <a:pt x="1076" y="998"/>
                  <a:pt x="1083" y="996"/>
                </a:cubicBezTo>
                <a:cubicBezTo>
                  <a:pt x="1082" y="999"/>
                  <a:pt x="1085" y="998"/>
                  <a:pt x="1086" y="999"/>
                </a:cubicBezTo>
                <a:cubicBezTo>
                  <a:pt x="1087" y="1001"/>
                  <a:pt x="1083" y="999"/>
                  <a:pt x="1083" y="1001"/>
                </a:cubicBezTo>
                <a:cubicBezTo>
                  <a:pt x="1084" y="1007"/>
                  <a:pt x="1088" y="999"/>
                  <a:pt x="1092" y="1003"/>
                </a:cubicBezTo>
                <a:cubicBezTo>
                  <a:pt x="1091" y="999"/>
                  <a:pt x="1085" y="998"/>
                  <a:pt x="1087" y="993"/>
                </a:cubicBezTo>
                <a:cubicBezTo>
                  <a:pt x="1090" y="993"/>
                  <a:pt x="1096" y="997"/>
                  <a:pt x="1096" y="1000"/>
                </a:cubicBezTo>
                <a:cubicBezTo>
                  <a:pt x="1097" y="1000"/>
                  <a:pt x="1098" y="1000"/>
                  <a:pt x="1099" y="1000"/>
                </a:cubicBezTo>
                <a:cubicBezTo>
                  <a:pt x="1101" y="999"/>
                  <a:pt x="1098" y="998"/>
                  <a:pt x="1099" y="996"/>
                </a:cubicBezTo>
                <a:cubicBezTo>
                  <a:pt x="1105" y="997"/>
                  <a:pt x="1111" y="999"/>
                  <a:pt x="1114" y="995"/>
                </a:cubicBezTo>
                <a:cubicBezTo>
                  <a:pt x="1120" y="999"/>
                  <a:pt x="1128" y="991"/>
                  <a:pt x="1132" y="996"/>
                </a:cubicBezTo>
                <a:cubicBezTo>
                  <a:pt x="1132" y="994"/>
                  <a:pt x="1133" y="992"/>
                  <a:pt x="1135" y="990"/>
                </a:cubicBezTo>
                <a:cubicBezTo>
                  <a:pt x="1137" y="990"/>
                  <a:pt x="1138" y="992"/>
                  <a:pt x="1139" y="993"/>
                </a:cubicBezTo>
                <a:cubicBezTo>
                  <a:pt x="1141" y="993"/>
                  <a:pt x="1140" y="989"/>
                  <a:pt x="1142" y="989"/>
                </a:cubicBezTo>
                <a:cubicBezTo>
                  <a:pt x="1144" y="993"/>
                  <a:pt x="1149" y="994"/>
                  <a:pt x="1152" y="996"/>
                </a:cubicBezTo>
                <a:cubicBezTo>
                  <a:pt x="1161" y="994"/>
                  <a:pt x="1159" y="988"/>
                  <a:pt x="1160" y="978"/>
                </a:cubicBezTo>
                <a:cubicBezTo>
                  <a:pt x="1161" y="969"/>
                  <a:pt x="1164" y="958"/>
                  <a:pt x="1166" y="946"/>
                </a:cubicBezTo>
                <a:cubicBezTo>
                  <a:pt x="1168" y="939"/>
                  <a:pt x="1166" y="930"/>
                  <a:pt x="1168" y="924"/>
                </a:cubicBezTo>
                <a:cubicBezTo>
                  <a:pt x="1175" y="899"/>
                  <a:pt x="1174" y="869"/>
                  <a:pt x="1178" y="842"/>
                </a:cubicBezTo>
                <a:cubicBezTo>
                  <a:pt x="1169" y="840"/>
                  <a:pt x="1154" y="844"/>
                  <a:pt x="1148" y="842"/>
                </a:cubicBezTo>
                <a:cubicBezTo>
                  <a:pt x="1151" y="838"/>
                  <a:pt x="1158" y="838"/>
                  <a:pt x="1163" y="836"/>
                </a:cubicBezTo>
                <a:cubicBezTo>
                  <a:pt x="1169" y="835"/>
                  <a:pt x="1175" y="832"/>
                  <a:pt x="1179" y="830"/>
                </a:cubicBezTo>
                <a:cubicBezTo>
                  <a:pt x="1179" y="820"/>
                  <a:pt x="1179" y="810"/>
                  <a:pt x="1180" y="801"/>
                </a:cubicBezTo>
                <a:cubicBezTo>
                  <a:pt x="1171" y="801"/>
                  <a:pt x="1155" y="800"/>
                  <a:pt x="1142" y="801"/>
                </a:cubicBezTo>
                <a:cubicBezTo>
                  <a:pt x="1141" y="811"/>
                  <a:pt x="1144" y="818"/>
                  <a:pt x="1142" y="826"/>
                </a:cubicBezTo>
                <a:cubicBezTo>
                  <a:pt x="1136" y="823"/>
                  <a:pt x="1142" y="808"/>
                  <a:pt x="1139" y="799"/>
                </a:cubicBezTo>
                <a:cubicBezTo>
                  <a:pt x="1154" y="796"/>
                  <a:pt x="1166" y="790"/>
                  <a:pt x="1180" y="786"/>
                </a:cubicBezTo>
                <a:cubicBezTo>
                  <a:pt x="1182" y="777"/>
                  <a:pt x="1180" y="761"/>
                  <a:pt x="1182" y="752"/>
                </a:cubicBezTo>
                <a:cubicBezTo>
                  <a:pt x="1176" y="750"/>
                  <a:pt x="1167" y="753"/>
                  <a:pt x="1158" y="752"/>
                </a:cubicBezTo>
                <a:cubicBezTo>
                  <a:pt x="1157" y="753"/>
                  <a:pt x="1159" y="756"/>
                  <a:pt x="1157" y="758"/>
                </a:cubicBezTo>
                <a:cubicBezTo>
                  <a:pt x="1157" y="759"/>
                  <a:pt x="1158" y="765"/>
                  <a:pt x="1157" y="763"/>
                </a:cubicBezTo>
                <a:cubicBezTo>
                  <a:pt x="1157" y="759"/>
                  <a:pt x="1155" y="757"/>
                  <a:pt x="1157" y="755"/>
                </a:cubicBezTo>
                <a:cubicBezTo>
                  <a:pt x="1156" y="753"/>
                  <a:pt x="1155" y="752"/>
                  <a:pt x="1155" y="750"/>
                </a:cubicBezTo>
                <a:cubicBezTo>
                  <a:pt x="1163" y="746"/>
                  <a:pt x="1174" y="745"/>
                  <a:pt x="1183" y="741"/>
                </a:cubicBezTo>
                <a:cubicBezTo>
                  <a:pt x="1185" y="734"/>
                  <a:pt x="1182" y="726"/>
                  <a:pt x="1189" y="726"/>
                </a:cubicBezTo>
                <a:cubicBezTo>
                  <a:pt x="1190" y="730"/>
                  <a:pt x="1193" y="733"/>
                  <a:pt x="1192" y="739"/>
                </a:cubicBezTo>
                <a:cubicBezTo>
                  <a:pt x="1195" y="742"/>
                  <a:pt x="1200" y="743"/>
                  <a:pt x="1204" y="744"/>
                </a:cubicBezTo>
                <a:cubicBezTo>
                  <a:pt x="1202" y="749"/>
                  <a:pt x="1196" y="743"/>
                  <a:pt x="1193" y="745"/>
                </a:cubicBezTo>
                <a:cubicBezTo>
                  <a:pt x="1193" y="750"/>
                  <a:pt x="1200" y="746"/>
                  <a:pt x="1205" y="747"/>
                </a:cubicBezTo>
                <a:cubicBezTo>
                  <a:pt x="1207" y="746"/>
                  <a:pt x="1204" y="745"/>
                  <a:pt x="1206" y="744"/>
                </a:cubicBezTo>
                <a:cubicBezTo>
                  <a:pt x="1211" y="745"/>
                  <a:pt x="1216" y="747"/>
                  <a:pt x="1221" y="748"/>
                </a:cubicBezTo>
                <a:cubicBezTo>
                  <a:pt x="1220" y="756"/>
                  <a:pt x="1222" y="767"/>
                  <a:pt x="1221" y="775"/>
                </a:cubicBezTo>
                <a:cubicBezTo>
                  <a:pt x="1214" y="773"/>
                  <a:pt x="1222" y="758"/>
                  <a:pt x="1219" y="750"/>
                </a:cubicBezTo>
                <a:cubicBezTo>
                  <a:pt x="1212" y="749"/>
                  <a:pt x="1203" y="750"/>
                  <a:pt x="1194" y="751"/>
                </a:cubicBezTo>
                <a:cubicBezTo>
                  <a:pt x="1195" y="760"/>
                  <a:pt x="1196" y="774"/>
                  <a:pt x="1197" y="786"/>
                </a:cubicBezTo>
                <a:cubicBezTo>
                  <a:pt x="1206" y="788"/>
                  <a:pt x="1217" y="792"/>
                  <a:pt x="1226" y="793"/>
                </a:cubicBezTo>
                <a:cubicBezTo>
                  <a:pt x="1229" y="796"/>
                  <a:pt x="1237" y="795"/>
                  <a:pt x="1239" y="799"/>
                </a:cubicBezTo>
                <a:cubicBezTo>
                  <a:pt x="1227" y="800"/>
                  <a:pt x="1210" y="798"/>
                  <a:pt x="1198" y="801"/>
                </a:cubicBezTo>
                <a:cubicBezTo>
                  <a:pt x="1198" y="811"/>
                  <a:pt x="1201" y="820"/>
                  <a:pt x="1200" y="829"/>
                </a:cubicBezTo>
                <a:cubicBezTo>
                  <a:pt x="1202" y="834"/>
                  <a:pt x="1217" y="831"/>
                  <a:pt x="1217" y="837"/>
                </a:cubicBezTo>
                <a:cubicBezTo>
                  <a:pt x="1223" y="835"/>
                  <a:pt x="1226" y="838"/>
                  <a:pt x="1231" y="838"/>
                </a:cubicBezTo>
                <a:cubicBezTo>
                  <a:pt x="1229" y="848"/>
                  <a:pt x="1234" y="860"/>
                  <a:pt x="1230" y="866"/>
                </a:cubicBezTo>
                <a:cubicBezTo>
                  <a:pt x="1227" y="861"/>
                  <a:pt x="1230" y="850"/>
                  <a:pt x="1230" y="841"/>
                </a:cubicBezTo>
                <a:cubicBezTo>
                  <a:pt x="1222" y="839"/>
                  <a:pt x="1210" y="842"/>
                  <a:pt x="1203" y="840"/>
                </a:cubicBezTo>
                <a:cubicBezTo>
                  <a:pt x="1201" y="849"/>
                  <a:pt x="1204" y="866"/>
                  <a:pt x="1208" y="874"/>
                </a:cubicBezTo>
                <a:cubicBezTo>
                  <a:pt x="1206" y="885"/>
                  <a:pt x="1212" y="918"/>
                  <a:pt x="1216" y="929"/>
                </a:cubicBezTo>
                <a:cubicBezTo>
                  <a:pt x="1219" y="952"/>
                  <a:pt x="1223" y="973"/>
                  <a:pt x="1228" y="995"/>
                </a:cubicBezTo>
                <a:cubicBezTo>
                  <a:pt x="1231" y="992"/>
                  <a:pt x="1235" y="997"/>
                  <a:pt x="1236" y="992"/>
                </a:cubicBezTo>
                <a:cubicBezTo>
                  <a:pt x="1241" y="997"/>
                  <a:pt x="1249" y="994"/>
                  <a:pt x="1254" y="996"/>
                </a:cubicBezTo>
                <a:cubicBezTo>
                  <a:pt x="1261" y="982"/>
                  <a:pt x="1259" y="959"/>
                  <a:pt x="1262" y="942"/>
                </a:cubicBezTo>
                <a:cubicBezTo>
                  <a:pt x="1258" y="938"/>
                  <a:pt x="1249" y="943"/>
                  <a:pt x="1245" y="941"/>
                </a:cubicBezTo>
                <a:cubicBezTo>
                  <a:pt x="1247" y="937"/>
                  <a:pt x="1256" y="939"/>
                  <a:pt x="1259" y="935"/>
                </a:cubicBezTo>
                <a:cubicBezTo>
                  <a:pt x="1260" y="934"/>
                  <a:pt x="1261" y="934"/>
                  <a:pt x="1261" y="936"/>
                </a:cubicBezTo>
                <a:cubicBezTo>
                  <a:pt x="1264" y="930"/>
                  <a:pt x="1262" y="924"/>
                  <a:pt x="1264" y="917"/>
                </a:cubicBezTo>
                <a:cubicBezTo>
                  <a:pt x="1257" y="913"/>
                  <a:pt x="1247" y="917"/>
                  <a:pt x="1239" y="916"/>
                </a:cubicBezTo>
                <a:cubicBezTo>
                  <a:pt x="1241" y="913"/>
                  <a:pt x="1247" y="913"/>
                  <a:pt x="1250" y="911"/>
                </a:cubicBezTo>
                <a:cubicBezTo>
                  <a:pt x="1254" y="913"/>
                  <a:pt x="1263" y="916"/>
                  <a:pt x="1265" y="911"/>
                </a:cubicBezTo>
                <a:cubicBezTo>
                  <a:pt x="1262" y="906"/>
                  <a:pt x="1258" y="914"/>
                  <a:pt x="1254" y="911"/>
                </a:cubicBezTo>
                <a:cubicBezTo>
                  <a:pt x="1257" y="909"/>
                  <a:pt x="1262" y="909"/>
                  <a:pt x="1265" y="906"/>
                </a:cubicBezTo>
                <a:cubicBezTo>
                  <a:pt x="1264" y="897"/>
                  <a:pt x="1265" y="893"/>
                  <a:pt x="1265" y="886"/>
                </a:cubicBezTo>
                <a:cubicBezTo>
                  <a:pt x="1261" y="887"/>
                  <a:pt x="1253" y="884"/>
                  <a:pt x="1249" y="887"/>
                </a:cubicBezTo>
                <a:cubicBezTo>
                  <a:pt x="1252" y="881"/>
                  <a:pt x="1264" y="880"/>
                  <a:pt x="1270" y="879"/>
                </a:cubicBezTo>
                <a:cubicBezTo>
                  <a:pt x="1270" y="878"/>
                  <a:pt x="1269" y="877"/>
                  <a:pt x="1269" y="877"/>
                </a:cubicBezTo>
                <a:cubicBezTo>
                  <a:pt x="1271" y="875"/>
                  <a:pt x="1272" y="880"/>
                  <a:pt x="1273" y="881"/>
                </a:cubicBezTo>
                <a:cubicBezTo>
                  <a:pt x="1278" y="883"/>
                  <a:pt x="1286" y="880"/>
                  <a:pt x="1288" y="885"/>
                </a:cubicBezTo>
                <a:cubicBezTo>
                  <a:pt x="1286" y="887"/>
                  <a:pt x="1277" y="884"/>
                  <a:pt x="1273" y="886"/>
                </a:cubicBezTo>
                <a:cubicBezTo>
                  <a:pt x="1274" y="894"/>
                  <a:pt x="1274" y="900"/>
                  <a:pt x="1273" y="906"/>
                </a:cubicBezTo>
                <a:cubicBezTo>
                  <a:pt x="1275" y="908"/>
                  <a:pt x="1280" y="907"/>
                  <a:pt x="1282" y="910"/>
                </a:cubicBezTo>
                <a:cubicBezTo>
                  <a:pt x="1280" y="915"/>
                  <a:pt x="1276" y="906"/>
                  <a:pt x="1274" y="911"/>
                </a:cubicBezTo>
                <a:cubicBezTo>
                  <a:pt x="1277" y="915"/>
                  <a:pt x="1291" y="915"/>
                  <a:pt x="1290" y="907"/>
                </a:cubicBezTo>
                <a:cubicBezTo>
                  <a:pt x="1293" y="910"/>
                  <a:pt x="1294" y="914"/>
                  <a:pt x="1299" y="914"/>
                </a:cubicBezTo>
                <a:cubicBezTo>
                  <a:pt x="1293" y="918"/>
                  <a:pt x="1280" y="912"/>
                  <a:pt x="1275" y="916"/>
                </a:cubicBezTo>
                <a:cubicBezTo>
                  <a:pt x="1277" y="920"/>
                  <a:pt x="1275" y="929"/>
                  <a:pt x="1277" y="937"/>
                </a:cubicBezTo>
                <a:cubicBezTo>
                  <a:pt x="1278" y="938"/>
                  <a:pt x="1280" y="935"/>
                  <a:pt x="1282" y="935"/>
                </a:cubicBezTo>
                <a:cubicBezTo>
                  <a:pt x="1285" y="938"/>
                  <a:pt x="1295" y="937"/>
                  <a:pt x="1298" y="938"/>
                </a:cubicBezTo>
                <a:cubicBezTo>
                  <a:pt x="1301" y="936"/>
                  <a:pt x="1300" y="932"/>
                  <a:pt x="1297" y="930"/>
                </a:cubicBezTo>
                <a:cubicBezTo>
                  <a:pt x="1298" y="928"/>
                  <a:pt x="1298" y="925"/>
                  <a:pt x="1299" y="924"/>
                </a:cubicBezTo>
                <a:cubicBezTo>
                  <a:pt x="1298" y="923"/>
                  <a:pt x="1296" y="922"/>
                  <a:pt x="1295" y="920"/>
                </a:cubicBezTo>
                <a:cubicBezTo>
                  <a:pt x="1293" y="920"/>
                  <a:pt x="1294" y="924"/>
                  <a:pt x="1290" y="922"/>
                </a:cubicBezTo>
                <a:cubicBezTo>
                  <a:pt x="1290" y="918"/>
                  <a:pt x="1294" y="918"/>
                  <a:pt x="1297" y="918"/>
                </a:cubicBezTo>
                <a:cubicBezTo>
                  <a:pt x="1302" y="914"/>
                  <a:pt x="1305" y="905"/>
                  <a:pt x="1300" y="901"/>
                </a:cubicBezTo>
                <a:cubicBezTo>
                  <a:pt x="1301" y="899"/>
                  <a:pt x="1303" y="898"/>
                  <a:pt x="1303" y="895"/>
                </a:cubicBezTo>
                <a:cubicBezTo>
                  <a:pt x="1306" y="896"/>
                  <a:pt x="1305" y="900"/>
                  <a:pt x="1309" y="899"/>
                </a:cubicBezTo>
                <a:cubicBezTo>
                  <a:pt x="1309" y="901"/>
                  <a:pt x="1307" y="900"/>
                  <a:pt x="1307" y="903"/>
                </a:cubicBezTo>
                <a:cubicBezTo>
                  <a:pt x="1308" y="917"/>
                  <a:pt x="1310" y="924"/>
                  <a:pt x="1310" y="935"/>
                </a:cubicBezTo>
                <a:cubicBezTo>
                  <a:pt x="1313" y="939"/>
                  <a:pt x="1317" y="937"/>
                  <a:pt x="1321" y="936"/>
                </a:cubicBezTo>
                <a:cubicBezTo>
                  <a:pt x="1322" y="934"/>
                  <a:pt x="1318" y="936"/>
                  <a:pt x="1319" y="933"/>
                </a:cubicBezTo>
                <a:cubicBezTo>
                  <a:pt x="1320" y="934"/>
                  <a:pt x="1321" y="935"/>
                  <a:pt x="1322" y="933"/>
                </a:cubicBezTo>
                <a:cubicBezTo>
                  <a:pt x="1324" y="930"/>
                  <a:pt x="1318" y="930"/>
                  <a:pt x="1320" y="929"/>
                </a:cubicBezTo>
                <a:cubicBezTo>
                  <a:pt x="1327" y="924"/>
                  <a:pt x="1322" y="940"/>
                  <a:pt x="1327" y="942"/>
                </a:cubicBezTo>
                <a:cubicBezTo>
                  <a:pt x="1326" y="943"/>
                  <a:pt x="1325" y="944"/>
                  <a:pt x="1324" y="945"/>
                </a:cubicBezTo>
                <a:cubicBezTo>
                  <a:pt x="1326" y="948"/>
                  <a:pt x="1326" y="955"/>
                  <a:pt x="1329" y="957"/>
                </a:cubicBezTo>
                <a:cubicBezTo>
                  <a:pt x="1329" y="957"/>
                  <a:pt x="1328" y="957"/>
                  <a:pt x="1327" y="957"/>
                </a:cubicBezTo>
                <a:cubicBezTo>
                  <a:pt x="1329" y="963"/>
                  <a:pt x="1328" y="967"/>
                  <a:pt x="1329" y="973"/>
                </a:cubicBezTo>
                <a:cubicBezTo>
                  <a:pt x="1332" y="970"/>
                  <a:pt x="1331" y="962"/>
                  <a:pt x="1334" y="959"/>
                </a:cubicBezTo>
                <a:cubicBezTo>
                  <a:pt x="1333" y="958"/>
                  <a:pt x="1333" y="957"/>
                  <a:pt x="1331" y="957"/>
                </a:cubicBezTo>
                <a:cubicBezTo>
                  <a:pt x="1331" y="955"/>
                  <a:pt x="1333" y="955"/>
                  <a:pt x="1334" y="953"/>
                </a:cubicBezTo>
                <a:cubicBezTo>
                  <a:pt x="1334" y="950"/>
                  <a:pt x="1329" y="951"/>
                  <a:pt x="1329" y="948"/>
                </a:cubicBezTo>
                <a:cubicBezTo>
                  <a:pt x="1333" y="947"/>
                  <a:pt x="1336" y="947"/>
                  <a:pt x="1340" y="948"/>
                </a:cubicBezTo>
                <a:cubicBezTo>
                  <a:pt x="1340" y="951"/>
                  <a:pt x="1338" y="950"/>
                  <a:pt x="1336" y="950"/>
                </a:cubicBezTo>
                <a:cubicBezTo>
                  <a:pt x="1339" y="955"/>
                  <a:pt x="1335" y="958"/>
                  <a:pt x="1338" y="963"/>
                </a:cubicBezTo>
                <a:cubicBezTo>
                  <a:pt x="1342" y="961"/>
                  <a:pt x="1341" y="955"/>
                  <a:pt x="1344" y="952"/>
                </a:cubicBezTo>
                <a:cubicBezTo>
                  <a:pt x="1347" y="954"/>
                  <a:pt x="1345" y="957"/>
                  <a:pt x="1344" y="959"/>
                </a:cubicBezTo>
                <a:cubicBezTo>
                  <a:pt x="1347" y="963"/>
                  <a:pt x="1354" y="962"/>
                  <a:pt x="1355" y="966"/>
                </a:cubicBezTo>
                <a:cubicBezTo>
                  <a:pt x="1355" y="970"/>
                  <a:pt x="1354" y="965"/>
                  <a:pt x="1351" y="966"/>
                </a:cubicBezTo>
                <a:cubicBezTo>
                  <a:pt x="1350" y="971"/>
                  <a:pt x="1352" y="978"/>
                  <a:pt x="1354" y="981"/>
                </a:cubicBezTo>
                <a:cubicBezTo>
                  <a:pt x="1354" y="983"/>
                  <a:pt x="1351" y="982"/>
                  <a:pt x="1351" y="983"/>
                </a:cubicBezTo>
                <a:cubicBezTo>
                  <a:pt x="1353" y="986"/>
                  <a:pt x="1353" y="989"/>
                  <a:pt x="1354" y="993"/>
                </a:cubicBezTo>
                <a:cubicBezTo>
                  <a:pt x="1358" y="995"/>
                  <a:pt x="1363" y="994"/>
                  <a:pt x="1364" y="990"/>
                </a:cubicBezTo>
                <a:cubicBezTo>
                  <a:pt x="1367" y="990"/>
                  <a:pt x="1365" y="994"/>
                  <a:pt x="1366" y="995"/>
                </a:cubicBezTo>
                <a:cubicBezTo>
                  <a:pt x="1375" y="995"/>
                  <a:pt x="1378" y="989"/>
                  <a:pt x="1382" y="984"/>
                </a:cubicBezTo>
                <a:cubicBezTo>
                  <a:pt x="1386" y="984"/>
                  <a:pt x="1384" y="989"/>
                  <a:pt x="1383" y="991"/>
                </a:cubicBezTo>
                <a:cubicBezTo>
                  <a:pt x="1385" y="995"/>
                  <a:pt x="1390" y="994"/>
                  <a:pt x="1394" y="993"/>
                </a:cubicBezTo>
                <a:cubicBezTo>
                  <a:pt x="1394" y="991"/>
                  <a:pt x="1392" y="989"/>
                  <a:pt x="1394" y="987"/>
                </a:cubicBezTo>
                <a:cubicBezTo>
                  <a:pt x="1398" y="987"/>
                  <a:pt x="1397" y="992"/>
                  <a:pt x="1398" y="993"/>
                </a:cubicBezTo>
                <a:cubicBezTo>
                  <a:pt x="1402" y="994"/>
                  <a:pt x="1400" y="989"/>
                  <a:pt x="1401" y="987"/>
                </a:cubicBezTo>
                <a:cubicBezTo>
                  <a:pt x="1404" y="987"/>
                  <a:pt x="1403" y="992"/>
                  <a:pt x="1405" y="993"/>
                </a:cubicBezTo>
                <a:cubicBezTo>
                  <a:pt x="1409" y="993"/>
                  <a:pt x="1412" y="992"/>
                  <a:pt x="1415" y="991"/>
                </a:cubicBezTo>
                <a:cubicBezTo>
                  <a:pt x="1414" y="986"/>
                  <a:pt x="1415" y="979"/>
                  <a:pt x="1412" y="976"/>
                </a:cubicBezTo>
                <a:cubicBezTo>
                  <a:pt x="1417" y="966"/>
                  <a:pt x="1411" y="947"/>
                  <a:pt x="1418" y="937"/>
                </a:cubicBezTo>
                <a:cubicBezTo>
                  <a:pt x="1418" y="942"/>
                  <a:pt x="1423" y="948"/>
                  <a:pt x="1420" y="952"/>
                </a:cubicBezTo>
                <a:cubicBezTo>
                  <a:pt x="1421" y="955"/>
                  <a:pt x="1422" y="957"/>
                  <a:pt x="1424" y="959"/>
                </a:cubicBezTo>
                <a:cubicBezTo>
                  <a:pt x="1425" y="961"/>
                  <a:pt x="1423" y="962"/>
                  <a:pt x="1422" y="963"/>
                </a:cubicBezTo>
                <a:cubicBezTo>
                  <a:pt x="1426" y="966"/>
                  <a:pt x="1430" y="962"/>
                  <a:pt x="1431" y="959"/>
                </a:cubicBezTo>
                <a:cubicBezTo>
                  <a:pt x="1434" y="967"/>
                  <a:pt x="1429" y="981"/>
                  <a:pt x="1435" y="989"/>
                </a:cubicBezTo>
                <a:cubicBezTo>
                  <a:pt x="1435" y="1012"/>
                  <a:pt x="1435" y="1036"/>
                  <a:pt x="1435" y="1060"/>
                </a:cubicBezTo>
                <a:cubicBezTo>
                  <a:pt x="1349" y="1060"/>
                  <a:pt x="1254" y="1060"/>
                  <a:pt x="1165" y="1060"/>
                </a:cubicBezTo>
                <a:cubicBezTo>
                  <a:pt x="1155" y="1060"/>
                  <a:pt x="1132" y="1062"/>
                  <a:pt x="1127" y="1059"/>
                </a:cubicBezTo>
                <a:cubicBezTo>
                  <a:pt x="1125" y="1057"/>
                  <a:pt x="1130" y="1054"/>
                  <a:pt x="1127" y="1052"/>
                </a:cubicBezTo>
                <a:cubicBezTo>
                  <a:pt x="1128" y="1052"/>
                  <a:pt x="1129" y="1055"/>
                  <a:pt x="1129" y="1053"/>
                </a:cubicBezTo>
                <a:cubicBezTo>
                  <a:pt x="1130" y="1051"/>
                  <a:pt x="1129" y="1046"/>
                  <a:pt x="1126" y="1047"/>
                </a:cubicBezTo>
                <a:cubicBezTo>
                  <a:pt x="1127" y="1049"/>
                  <a:pt x="1123" y="1056"/>
                  <a:pt x="1122" y="1052"/>
                </a:cubicBezTo>
                <a:cubicBezTo>
                  <a:pt x="1120" y="1057"/>
                  <a:pt x="1126" y="1054"/>
                  <a:pt x="1126" y="1058"/>
                </a:cubicBezTo>
                <a:cubicBezTo>
                  <a:pt x="1125" y="1059"/>
                  <a:pt x="1125" y="1059"/>
                  <a:pt x="1125" y="1060"/>
                </a:cubicBezTo>
                <a:cubicBezTo>
                  <a:pt x="1115" y="1059"/>
                  <a:pt x="1103" y="1061"/>
                  <a:pt x="1094" y="1059"/>
                </a:cubicBezTo>
                <a:cubicBezTo>
                  <a:pt x="1093" y="1048"/>
                  <a:pt x="1108" y="1052"/>
                  <a:pt x="1112" y="1046"/>
                </a:cubicBezTo>
                <a:cubicBezTo>
                  <a:pt x="1112" y="1049"/>
                  <a:pt x="1118" y="1046"/>
                  <a:pt x="1118" y="1049"/>
                </a:cubicBezTo>
                <a:cubicBezTo>
                  <a:pt x="1120" y="1047"/>
                  <a:pt x="1123" y="1046"/>
                  <a:pt x="1124" y="1043"/>
                </a:cubicBezTo>
                <a:cubicBezTo>
                  <a:pt x="1127" y="1043"/>
                  <a:pt x="1131" y="1045"/>
                  <a:pt x="1134" y="1041"/>
                </a:cubicBezTo>
                <a:cubicBezTo>
                  <a:pt x="1135" y="1042"/>
                  <a:pt x="1135" y="1043"/>
                  <a:pt x="1135" y="1044"/>
                </a:cubicBezTo>
                <a:cubicBezTo>
                  <a:pt x="1137" y="1043"/>
                  <a:pt x="1140" y="1040"/>
                  <a:pt x="1138" y="1044"/>
                </a:cubicBezTo>
                <a:cubicBezTo>
                  <a:pt x="1141" y="1044"/>
                  <a:pt x="1139" y="1039"/>
                  <a:pt x="1142" y="1039"/>
                </a:cubicBezTo>
                <a:cubicBezTo>
                  <a:pt x="1143" y="1039"/>
                  <a:pt x="1142" y="1042"/>
                  <a:pt x="1144" y="1042"/>
                </a:cubicBezTo>
                <a:cubicBezTo>
                  <a:pt x="1145" y="1041"/>
                  <a:pt x="1146" y="1039"/>
                  <a:pt x="1148" y="1039"/>
                </a:cubicBezTo>
                <a:cubicBezTo>
                  <a:pt x="1148" y="1040"/>
                  <a:pt x="1148" y="1042"/>
                  <a:pt x="1150" y="1043"/>
                </a:cubicBezTo>
                <a:cubicBezTo>
                  <a:pt x="1152" y="1041"/>
                  <a:pt x="1147" y="1039"/>
                  <a:pt x="1150" y="1039"/>
                </a:cubicBezTo>
                <a:cubicBezTo>
                  <a:pt x="1153" y="1038"/>
                  <a:pt x="1150" y="1043"/>
                  <a:pt x="1154" y="1041"/>
                </a:cubicBezTo>
                <a:cubicBezTo>
                  <a:pt x="1155" y="1038"/>
                  <a:pt x="1155" y="1038"/>
                  <a:pt x="1157" y="1035"/>
                </a:cubicBezTo>
                <a:cubicBezTo>
                  <a:pt x="1154" y="1036"/>
                  <a:pt x="1148" y="1034"/>
                  <a:pt x="1146" y="1038"/>
                </a:cubicBezTo>
                <a:cubicBezTo>
                  <a:pt x="1145" y="1037"/>
                  <a:pt x="1145" y="1036"/>
                  <a:pt x="1144" y="1036"/>
                </a:cubicBezTo>
                <a:cubicBezTo>
                  <a:pt x="1127" y="1038"/>
                  <a:pt x="1111" y="1039"/>
                  <a:pt x="1090" y="1039"/>
                </a:cubicBezTo>
                <a:cubicBezTo>
                  <a:pt x="1091" y="1044"/>
                  <a:pt x="1089" y="1044"/>
                  <a:pt x="1090" y="1048"/>
                </a:cubicBezTo>
                <a:cubicBezTo>
                  <a:pt x="1082" y="1050"/>
                  <a:pt x="1074" y="1049"/>
                  <a:pt x="1070" y="1044"/>
                </a:cubicBezTo>
                <a:cubicBezTo>
                  <a:pt x="1074" y="1045"/>
                  <a:pt x="1076" y="1042"/>
                  <a:pt x="1078" y="1040"/>
                </a:cubicBezTo>
                <a:cubicBezTo>
                  <a:pt x="1065" y="1041"/>
                  <a:pt x="1059" y="1040"/>
                  <a:pt x="1049" y="1043"/>
                </a:cubicBezTo>
                <a:cubicBezTo>
                  <a:pt x="1043" y="1039"/>
                  <a:pt x="1029" y="1046"/>
                  <a:pt x="1023" y="1041"/>
                </a:cubicBezTo>
                <a:cubicBezTo>
                  <a:pt x="1017" y="1044"/>
                  <a:pt x="1008" y="1037"/>
                  <a:pt x="1000" y="1041"/>
                </a:cubicBezTo>
                <a:cubicBezTo>
                  <a:pt x="998" y="1036"/>
                  <a:pt x="993" y="1039"/>
                  <a:pt x="991" y="1037"/>
                </a:cubicBezTo>
                <a:cubicBezTo>
                  <a:pt x="984" y="1041"/>
                  <a:pt x="974" y="1037"/>
                  <a:pt x="965" y="1038"/>
                </a:cubicBezTo>
                <a:cubicBezTo>
                  <a:pt x="961" y="1038"/>
                  <a:pt x="956" y="1041"/>
                  <a:pt x="952" y="1039"/>
                </a:cubicBezTo>
                <a:cubicBezTo>
                  <a:pt x="951" y="1039"/>
                  <a:pt x="950" y="1041"/>
                  <a:pt x="948" y="1041"/>
                </a:cubicBezTo>
                <a:cubicBezTo>
                  <a:pt x="936" y="1038"/>
                  <a:pt x="926" y="1044"/>
                  <a:pt x="913" y="1041"/>
                </a:cubicBezTo>
                <a:cubicBezTo>
                  <a:pt x="903" y="1041"/>
                  <a:pt x="889" y="1045"/>
                  <a:pt x="877" y="1039"/>
                </a:cubicBezTo>
                <a:cubicBezTo>
                  <a:pt x="873" y="1039"/>
                  <a:pt x="866" y="1039"/>
                  <a:pt x="863" y="1036"/>
                </a:cubicBezTo>
                <a:cubicBezTo>
                  <a:pt x="861" y="1039"/>
                  <a:pt x="854" y="1036"/>
                  <a:pt x="851" y="1034"/>
                </a:cubicBezTo>
                <a:cubicBezTo>
                  <a:pt x="846" y="1037"/>
                  <a:pt x="839" y="1033"/>
                  <a:pt x="834" y="1034"/>
                </a:cubicBezTo>
                <a:cubicBezTo>
                  <a:pt x="831" y="1032"/>
                  <a:pt x="826" y="1031"/>
                  <a:pt x="821" y="1031"/>
                </a:cubicBezTo>
                <a:cubicBezTo>
                  <a:pt x="820" y="1030"/>
                  <a:pt x="819" y="1028"/>
                  <a:pt x="818" y="1027"/>
                </a:cubicBezTo>
                <a:cubicBezTo>
                  <a:pt x="821" y="1025"/>
                  <a:pt x="825" y="1024"/>
                  <a:pt x="827" y="1022"/>
                </a:cubicBezTo>
                <a:cubicBezTo>
                  <a:pt x="822" y="1021"/>
                  <a:pt x="815" y="1022"/>
                  <a:pt x="809" y="1021"/>
                </a:cubicBezTo>
                <a:cubicBezTo>
                  <a:pt x="808" y="1018"/>
                  <a:pt x="806" y="1014"/>
                  <a:pt x="803" y="1015"/>
                </a:cubicBezTo>
                <a:cubicBezTo>
                  <a:pt x="800" y="1017"/>
                  <a:pt x="803" y="1017"/>
                  <a:pt x="803" y="1020"/>
                </a:cubicBezTo>
                <a:cubicBezTo>
                  <a:pt x="801" y="1024"/>
                  <a:pt x="799" y="1019"/>
                  <a:pt x="797" y="1022"/>
                </a:cubicBezTo>
                <a:cubicBezTo>
                  <a:pt x="799" y="1022"/>
                  <a:pt x="801" y="1026"/>
                  <a:pt x="800" y="1028"/>
                </a:cubicBezTo>
                <a:cubicBezTo>
                  <a:pt x="792" y="1023"/>
                  <a:pt x="780" y="1029"/>
                  <a:pt x="773" y="1028"/>
                </a:cubicBezTo>
                <a:cubicBezTo>
                  <a:pt x="771" y="1029"/>
                  <a:pt x="774" y="1031"/>
                  <a:pt x="771" y="1032"/>
                </a:cubicBezTo>
                <a:cubicBezTo>
                  <a:pt x="753" y="1027"/>
                  <a:pt x="739" y="1033"/>
                  <a:pt x="722" y="1035"/>
                </a:cubicBezTo>
                <a:cubicBezTo>
                  <a:pt x="721" y="1039"/>
                  <a:pt x="718" y="1042"/>
                  <a:pt x="718" y="1044"/>
                </a:cubicBezTo>
                <a:cubicBezTo>
                  <a:pt x="721" y="1045"/>
                  <a:pt x="719" y="1041"/>
                  <a:pt x="721" y="1042"/>
                </a:cubicBezTo>
                <a:cubicBezTo>
                  <a:pt x="726" y="1047"/>
                  <a:pt x="713" y="1048"/>
                  <a:pt x="711" y="1044"/>
                </a:cubicBezTo>
                <a:cubicBezTo>
                  <a:pt x="712" y="1042"/>
                  <a:pt x="714" y="1044"/>
                  <a:pt x="714" y="1041"/>
                </a:cubicBezTo>
                <a:cubicBezTo>
                  <a:pt x="712" y="1041"/>
                  <a:pt x="712" y="1042"/>
                  <a:pt x="710" y="1042"/>
                </a:cubicBezTo>
                <a:cubicBezTo>
                  <a:pt x="709" y="1041"/>
                  <a:pt x="709" y="1038"/>
                  <a:pt x="707" y="1039"/>
                </a:cubicBezTo>
                <a:cubicBezTo>
                  <a:pt x="698" y="1041"/>
                  <a:pt x="691" y="1037"/>
                  <a:pt x="686" y="1036"/>
                </a:cubicBezTo>
                <a:cubicBezTo>
                  <a:pt x="688" y="1038"/>
                  <a:pt x="685" y="1037"/>
                  <a:pt x="684" y="1038"/>
                </a:cubicBezTo>
                <a:cubicBezTo>
                  <a:pt x="673" y="1034"/>
                  <a:pt x="663" y="1034"/>
                  <a:pt x="650" y="1031"/>
                </a:cubicBezTo>
                <a:cubicBezTo>
                  <a:pt x="639" y="1024"/>
                  <a:pt x="618" y="1032"/>
                  <a:pt x="609" y="1025"/>
                </a:cubicBezTo>
                <a:cubicBezTo>
                  <a:pt x="610" y="1022"/>
                  <a:pt x="613" y="1022"/>
                  <a:pt x="613" y="1018"/>
                </a:cubicBezTo>
                <a:cubicBezTo>
                  <a:pt x="610" y="1017"/>
                  <a:pt x="609" y="1020"/>
                  <a:pt x="609" y="1017"/>
                </a:cubicBezTo>
                <a:cubicBezTo>
                  <a:pt x="611" y="1015"/>
                  <a:pt x="613" y="1019"/>
                  <a:pt x="615" y="1017"/>
                </a:cubicBezTo>
                <a:cubicBezTo>
                  <a:pt x="613" y="1015"/>
                  <a:pt x="613" y="1012"/>
                  <a:pt x="616" y="1011"/>
                </a:cubicBezTo>
                <a:cubicBezTo>
                  <a:pt x="614" y="1009"/>
                  <a:pt x="611" y="1010"/>
                  <a:pt x="611" y="1008"/>
                </a:cubicBezTo>
                <a:cubicBezTo>
                  <a:pt x="613" y="1003"/>
                  <a:pt x="607" y="1004"/>
                  <a:pt x="606" y="1000"/>
                </a:cubicBezTo>
                <a:cubicBezTo>
                  <a:pt x="607" y="999"/>
                  <a:pt x="608" y="998"/>
                  <a:pt x="610" y="998"/>
                </a:cubicBezTo>
                <a:cubicBezTo>
                  <a:pt x="612" y="1000"/>
                  <a:pt x="613" y="1003"/>
                  <a:pt x="614" y="1006"/>
                </a:cubicBezTo>
                <a:cubicBezTo>
                  <a:pt x="619" y="1006"/>
                  <a:pt x="623" y="1006"/>
                  <a:pt x="624" y="1010"/>
                </a:cubicBezTo>
                <a:cubicBezTo>
                  <a:pt x="621" y="1012"/>
                  <a:pt x="619" y="1007"/>
                  <a:pt x="617" y="1011"/>
                </a:cubicBezTo>
                <a:cubicBezTo>
                  <a:pt x="619" y="1016"/>
                  <a:pt x="622" y="1017"/>
                  <a:pt x="621" y="1025"/>
                </a:cubicBezTo>
                <a:cubicBezTo>
                  <a:pt x="627" y="1019"/>
                  <a:pt x="636" y="1026"/>
                  <a:pt x="642" y="1024"/>
                </a:cubicBezTo>
                <a:cubicBezTo>
                  <a:pt x="643" y="1021"/>
                  <a:pt x="640" y="1023"/>
                  <a:pt x="641" y="1021"/>
                </a:cubicBezTo>
                <a:cubicBezTo>
                  <a:pt x="642" y="1021"/>
                  <a:pt x="647" y="1018"/>
                  <a:pt x="648" y="1022"/>
                </a:cubicBezTo>
                <a:cubicBezTo>
                  <a:pt x="650" y="1023"/>
                  <a:pt x="649" y="1019"/>
                  <a:pt x="652" y="1019"/>
                </a:cubicBezTo>
                <a:cubicBezTo>
                  <a:pt x="654" y="1022"/>
                  <a:pt x="655" y="1025"/>
                  <a:pt x="657" y="1028"/>
                </a:cubicBezTo>
                <a:cubicBezTo>
                  <a:pt x="657" y="1024"/>
                  <a:pt x="659" y="1023"/>
                  <a:pt x="660" y="1021"/>
                </a:cubicBezTo>
                <a:cubicBezTo>
                  <a:pt x="663" y="1020"/>
                  <a:pt x="665" y="1024"/>
                  <a:pt x="667" y="1021"/>
                </a:cubicBezTo>
                <a:cubicBezTo>
                  <a:pt x="665" y="1020"/>
                  <a:pt x="662" y="1020"/>
                  <a:pt x="662" y="1018"/>
                </a:cubicBezTo>
                <a:cubicBezTo>
                  <a:pt x="662" y="1015"/>
                  <a:pt x="662" y="1011"/>
                  <a:pt x="665" y="1012"/>
                </a:cubicBezTo>
                <a:cubicBezTo>
                  <a:pt x="667" y="1012"/>
                  <a:pt x="668" y="1017"/>
                  <a:pt x="666" y="1017"/>
                </a:cubicBezTo>
                <a:cubicBezTo>
                  <a:pt x="668" y="1018"/>
                  <a:pt x="669" y="1014"/>
                  <a:pt x="670" y="1017"/>
                </a:cubicBezTo>
                <a:cubicBezTo>
                  <a:pt x="670" y="1012"/>
                  <a:pt x="667" y="1011"/>
                  <a:pt x="663" y="1009"/>
                </a:cubicBezTo>
                <a:cubicBezTo>
                  <a:pt x="660" y="1011"/>
                  <a:pt x="657" y="1015"/>
                  <a:pt x="653" y="1012"/>
                </a:cubicBezTo>
                <a:cubicBezTo>
                  <a:pt x="653" y="1011"/>
                  <a:pt x="654" y="1008"/>
                  <a:pt x="652" y="1009"/>
                </a:cubicBezTo>
                <a:cubicBezTo>
                  <a:pt x="652" y="1009"/>
                  <a:pt x="652" y="1010"/>
                  <a:pt x="652" y="1011"/>
                </a:cubicBezTo>
                <a:cubicBezTo>
                  <a:pt x="651" y="1009"/>
                  <a:pt x="649" y="1008"/>
                  <a:pt x="648" y="1007"/>
                </a:cubicBezTo>
                <a:cubicBezTo>
                  <a:pt x="653" y="1007"/>
                  <a:pt x="657" y="1009"/>
                  <a:pt x="661" y="1005"/>
                </a:cubicBezTo>
                <a:cubicBezTo>
                  <a:pt x="663" y="1006"/>
                  <a:pt x="664" y="1008"/>
                  <a:pt x="667" y="1008"/>
                </a:cubicBezTo>
                <a:cubicBezTo>
                  <a:pt x="667" y="1005"/>
                  <a:pt x="669" y="1007"/>
                  <a:pt x="671" y="1005"/>
                </a:cubicBezTo>
                <a:cubicBezTo>
                  <a:pt x="670" y="1001"/>
                  <a:pt x="665" y="1002"/>
                  <a:pt x="663" y="999"/>
                </a:cubicBezTo>
                <a:cubicBezTo>
                  <a:pt x="665" y="999"/>
                  <a:pt x="675" y="997"/>
                  <a:pt x="676" y="1002"/>
                </a:cubicBezTo>
                <a:cubicBezTo>
                  <a:pt x="677" y="1004"/>
                  <a:pt x="673" y="1002"/>
                  <a:pt x="673" y="1005"/>
                </a:cubicBezTo>
                <a:cubicBezTo>
                  <a:pt x="681" y="1012"/>
                  <a:pt x="693" y="1005"/>
                  <a:pt x="701" y="1012"/>
                </a:cubicBezTo>
                <a:cubicBezTo>
                  <a:pt x="695" y="1014"/>
                  <a:pt x="692" y="1011"/>
                  <a:pt x="687" y="1010"/>
                </a:cubicBezTo>
                <a:cubicBezTo>
                  <a:pt x="686" y="1011"/>
                  <a:pt x="686" y="1014"/>
                  <a:pt x="685" y="1015"/>
                </a:cubicBezTo>
                <a:cubicBezTo>
                  <a:pt x="680" y="1015"/>
                  <a:pt x="679" y="1006"/>
                  <a:pt x="673" y="1009"/>
                </a:cubicBezTo>
                <a:cubicBezTo>
                  <a:pt x="680" y="1010"/>
                  <a:pt x="676" y="1019"/>
                  <a:pt x="683" y="1020"/>
                </a:cubicBezTo>
                <a:cubicBezTo>
                  <a:pt x="685" y="1019"/>
                  <a:pt x="684" y="1015"/>
                  <a:pt x="687" y="1015"/>
                </a:cubicBezTo>
                <a:cubicBezTo>
                  <a:pt x="689" y="1015"/>
                  <a:pt x="689" y="1017"/>
                  <a:pt x="690" y="1017"/>
                </a:cubicBezTo>
                <a:cubicBezTo>
                  <a:pt x="690" y="1019"/>
                  <a:pt x="687" y="1018"/>
                  <a:pt x="688" y="1020"/>
                </a:cubicBezTo>
                <a:cubicBezTo>
                  <a:pt x="693" y="1016"/>
                  <a:pt x="696" y="1026"/>
                  <a:pt x="698" y="1020"/>
                </a:cubicBezTo>
                <a:cubicBezTo>
                  <a:pt x="696" y="1019"/>
                  <a:pt x="692" y="1019"/>
                  <a:pt x="691" y="1017"/>
                </a:cubicBezTo>
                <a:cubicBezTo>
                  <a:pt x="693" y="1015"/>
                  <a:pt x="696" y="1016"/>
                  <a:pt x="699" y="1014"/>
                </a:cubicBezTo>
                <a:cubicBezTo>
                  <a:pt x="701" y="1016"/>
                  <a:pt x="704" y="1017"/>
                  <a:pt x="705" y="1020"/>
                </a:cubicBezTo>
                <a:cubicBezTo>
                  <a:pt x="706" y="1017"/>
                  <a:pt x="703" y="1017"/>
                  <a:pt x="704" y="1015"/>
                </a:cubicBezTo>
                <a:cubicBezTo>
                  <a:pt x="710" y="1014"/>
                  <a:pt x="712" y="1020"/>
                  <a:pt x="717" y="1021"/>
                </a:cubicBezTo>
                <a:cubicBezTo>
                  <a:pt x="717" y="1015"/>
                  <a:pt x="707" y="1015"/>
                  <a:pt x="704" y="1011"/>
                </a:cubicBezTo>
                <a:cubicBezTo>
                  <a:pt x="705" y="1010"/>
                  <a:pt x="709" y="1011"/>
                  <a:pt x="709" y="1009"/>
                </a:cubicBezTo>
                <a:cubicBezTo>
                  <a:pt x="707" y="1008"/>
                  <a:pt x="702" y="1010"/>
                  <a:pt x="701" y="1007"/>
                </a:cubicBezTo>
                <a:cubicBezTo>
                  <a:pt x="704" y="1005"/>
                  <a:pt x="710" y="1006"/>
                  <a:pt x="712" y="1008"/>
                </a:cubicBezTo>
                <a:cubicBezTo>
                  <a:pt x="711" y="1010"/>
                  <a:pt x="711" y="1011"/>
                  <a:pt x="712" y="1013"/>
                </a:cubicBezTo>
                <a:cubicBezTo>
                  <a:pt x="714" y="1014"/>
                  <a:pt x="715" y="1011"/>
                  <a:pt x="719" y="1012"/>
                </a:cubicBezTo>
                <a:cubicBezTo>
                  <a:pt x="720" y="1015"/>
                  <a:pt x="724" y="1015"/>
                  <a:pt x="724" y="1019"/>
                </a:cubicBezTo>
                <a:cubicBezTo>
                  <a:pt x="729" y="1020"/>
                  <a:pt x="732" y="1016"/>
                  <a:pt x="736" y="1014"/>
                </a:cubicBezTo>
                <a:cubicBezTo>
                  <a:pt x="733" y="1013"/>
                  <a:pt x="732" y="1011"/>
                  <a:pt x="730" y="1009"/>
                </a:cubicBezTo>
                <a:cubicBezTo>
                  <a:pt x="730" y="1012"/>
                  <a:pt x="727" y="1010"/>
                  <a:pt x="726" y="1011"/>
                </a:cubicBezTo>
                <a:cubicBezTo>
                  <a:pt x="726" y="1012"/>
                  <a:pt x="727" y="1015"/>
                  <a:pt x="725" y="1015"/>
                </a:cubicBezTo>
                <a:cubicBezTo>
                  <a:pt x="722" y="1013"/>
                  <a:pt x="717" y="1012"/>
                  <a:pt x="713" y="1009"/>
                </a:cubicBezTo>
                <a:cubicBezTo>
                  <a:pt x="720" y="1003"/>
                  <a:pt x="732" y="1007"/>
                  <a:pt x="740" y="1007"/>
                </a:cubicBezTo>
                <a:cubicBezTo>
                  <a:pt x="740" y="1002"/>
                  <a:pt x="734" y="1004"/>
                  <a:pt x="734" y="1000"/>
                </a:cubicBezTo>
                <a:cubicBezTo>
                  <a:pt x="735" y="1000"/>
                  <a:pt x="734" y="997"/>
                  <a:pt x="736" y="997"/>
                </a:cubicBezTo>
                <a:cubicBezTo>
                  <a:pt x="740" y="996"/>
                  <a:pt x="739" y="1000"/>
                  <a:pt x="741" y="1000"/>
                </a:cubicBezTo>
                <a:cubicBezTo>
                  <a:pt x="741" y="1000"/>
                  <a:pt x="740" y="1004"/>
                  <a:pt x="741" y="1006"/>
                </a:cubicBezTo>
                <a:cubicBezTo>
                  <a:pt x="746" y="1006"/>
                  <a:pt x="751" y="1008"/>
                  <a:pt x="751" y="1012"/>
                </a:cubicBezTo>
                <a:cubicBezTo>
                  <a:pt x="753" y="1008"/>
                  <a:pt x="762" y="1007"/>
                  <a:pt x="764" y="1012"/>
                </a:cubicBezTo>
                <a:cubicBezTo>
                  <a:pt x="762" y="1015"/>
                  <a:pt x="756" y="1009"/>
                  <a:pt x="755" y="1013"/>
                </a:cubicBezTo>
                <a:cubicBezTo>
                  <a:pt x="759" y="1014"/>
                  <a:pt x="758" y="1016"/>
                  <a:pt x="759" y="1017"/>
                </a:cubicBezTo>
                <a:cubicBezTo>
                  <a:pt x="764" y="1017"/>
                  <a:pt x="765" y="1015"/>
                  <a:pt x="770" y="1015"/>
                </a:cubicBezTo>
                <a:cubicBezTo>
                  <a:pt x="772" y="1017"/>
                  <a:pt x="771" y="1019"/>
                  <a:pt x="771" y="1021"/>
                </a:cubicBezTo>
                <a:cubicBezTo>
                  <a:pt x="773" y="1022"/>
                  <a:pt x="771" y="1019"/>
                  <a:pt x="773" y="1019"/>
                </a:cubicBezTo>
                <a:cubicBezTo>
                  <a:pt x="777" y="1023"/>
                  <a:pt x="781" y="1022"/>
                  <a:pt x="785" y="1024"/>
                </a:cubicBezTo>
                <a:cubicBezTo>
                  <a:pt x="783" y="1019"/>
                  <a:pt x="781" y="1016"/>
                  <a:pt x="774" y="1017"/>
                </a:cubicBezTo>
                <a:cubicBezTo>
                  <a:pt x="773" y="1014"/>
                  <a:pt x="770" y="1012"/>
                  <a:pt x="768" y="1013"/>
                </a:cubicBezTo>
                <a:cubicBezTo>
                  <a:pt x="769" y="1010"/>
                  <a:pt x="764" y="1009"/>
                  <a:pt x="766" y="1008"/>
                </a:cubicBezTo>
                <a:cubicBezTo>
                  <a:pt x="769" y="1008"/>
                  <a:pt x="770" y="1010"/>
                  <a:pt x="772" y="1013"/>
                </a:cubicBezTo>
                <a:cubicBezTo>
                  <a:pt x="779" y="1013"/>
                  <a:pt x="787" y="1016"/>
                  <a:pt x="792" y="1020"/>
                </a:cubicBezTo>
                <a:cubicBezTo>
                  <a:pt x="793" y="1018"/>
                  <a:pt x="794" y="1015"/>
                  <a:pt x="793" y="1013"/>
                </a:cubicBezTo>
                <a:cubicBezTo>
                  <a:pt x="788" y="1016"/>
                  <a:pt x="784" y="1013"/>
                  <a:pt x="783" y="1008"/>
                </a:cubicBezTo>
                <a:cubicBezTo>
                  <a:pt x="786" y="1006"/>
                  <a:pt x="792" y="1008"/>
                  <a:pt x="790" y="1012"/>
                </a:cubicBezTo>
                <a:cubicBezTo>
                  <a:pt x="793" y="1008"/>
                  <a:pt x="797" y="1014"/>
                  <a:pt x="799" y="1009"/>
                </a:cubicBezTo>
                <a:cubicBezTo>
                  <a:pt x="797" y="1007"/>
                  <a:pt x="792" y="1008"/>
                  <a:pt x="792" y="1004"/>
                </a:cubicBezTo>
                <a:cubicBezTo>
                  <a:pt x="797" y="1005"/>
                  <a:pt x="802" y="1003"/>
                  <a:pt x="803" y="1007"/>
                </a:cubicBezTo>
                <a:cubicBezTo>
                  <a:pt x="803" y="1009"/>
                  <a:pt x="801" y="1008"/>
                  <a:pt x="802" y="1010"/>
                </a:cubicBezTo>
                <a:cubicBezTo>
                  <a:pt x="809" y="1009"/>
                  <a:pt x="812" y="1017"/>
                  <a:pt x="818" y="1019"/>
                </a:cubicBezTo>
                <a:cubicBezTo>
                  <a:pt x="818" y="1014"/>
                  <a:pt x="825" y="1017"/>
                  <a:pt x="825" y="1013"/>
                </a:cubicBezTo>
                <a:cubicBezTo>
                  <a:pt x="823" y="1013"/>
                  <a:pt x="821" y="1015"/>
                  <a:pt x="820" y="1013"/>
                </a:cubicBezTo>
                <a:cubicBezTo>
                  <a:pt x="820" y="1010"/>
                  <a:pt x="824" y="1011"/>
                  <a:pt x="825" y="1009"/>
                </a:cubicBezTo>
                <a:cubicBezTo>
                  <a:pt x="821" y="1008"/>
                  <a:pt x="815" y="1009"/>
                  <a:pt x="809" y="1011"/>
                </a:cubicBezTo>
                <a:cubicBezTo>
                  <a:pt x="810" y="1009"/>
                  <a:pt x="809" y="1009"/>
                  <a:pt x="809" y="1007"/>
                </a:cubicBezTo>
                <a:cubicBezTo>
                  <a:pt x="815" y="1006"/>
                  <a:pt x="824" y="1004"/>
                  <a:pt x="829" y="1008"/>
                </a:cubicBezTo>
                <a:cubicBezTo>
                  <a:pt x="829" y="1013"/>
                  <a:pt x="834" y="1012"/>
                  <a:pt x="835" y="1016"/>
                </a:cubicBezTo>
                <a:cubicBezTo>
                  <a:pt x="834" y="1017"/>
                  <a:pt x="828" y="1016"/>
                  <a:pt x="831" y="1019"/>
                </a:cubicBezTo>
                <a:cubicBezTo>
                  <a:pt x="834" y="1021"/>
                  <a:pt x="834" y="1014"/>
                  <a:pt x="837" y="1018"/>
                </a:cubicBezTo>
                <a:cubicBezTo>
                  <a:pt x="838" y="1016"/>
                  <a:pt x="842" y="1016"/>
                  <a:pt x="840" y="1013"/>
                </a:cubicBezTo>
                <a:cubicBezTo>
                  <a:pt x="837" y="1013"/>
                  <a:pt x="838" y="1016"/>
                  <a:pt x="835" y="1014"/>
                </a:cubicBezTo>
                <a:cubicBezTo>
                  <a:pt x="838" y="1011"/>
                  <a:pt x="836" y="1011"/>
                  <a:pt x="835" y="1006"/>
                </a:cubicBezTo>
                <a:cubicBezTo>
                  <a:pt x="840" y="1010"/>
                  <a:pt x="845" y="1005"/>
                  <a:pt x="850" y="1006"/>
                </a:cubicBezTo>
                <a:cubicBezTo>
                  <a:pt x="852" y="1009"/>
                  <a:pt x="857" y="1013"/>
                  <a:pt x="862" y="1011"/>
                </a:cubicBezTo>
                <a:cubicBezTo>
                  <a:pt x="860" y="1008"/>
                  <a:pt x="855" y="1010"/>
                  <a:pt x="855" y="1006"/>
                </a:cubicBezTo>
                <a:cubicBezTo>
                  <a:pt x="862" y="1010"/>
                  <a:pt x="869" y="1007"/>
                  <a:pt x="877" y="1006"/>
                </a:cubicBezTo>
                <a:cubicBezTo>
                  <a:pt x="879" y="1006"/>
                  <a:pt x="877" y="1009"/>
                  <a:pt x="879" y="1009"/>
                </a:cubicBezTo>
                <a:cubicBezTo>
                  <a:pt x="881" y="1007"/>
                  <a:pt x="882" y="1005"/>
                  <a:pt x="884" y="1004"/>
                </a:cubicBezTo>
                <a:cubicBezTo>
                  <a:pt x="892" y="1007"/>
                  <a:pt x="897" y="1004"/>
                  <a:pt x="906" y="1007"/>
                </a:cubicBezTo>
                <a:cubicBezTo>
                  <a:pt x="906" y="1003"/>
                  <a:pt x="907" y="1000"/>
                  <a:pt x="910" y="999"/>
                </a:cubicBezTo>
                <a:cubicBezTo>
                  <a:pt x="911" y="999"/>
                  <a:pt x="912" y="999"/>
                  <a:pt x="913" y="1000"/>
                </a:cubicBezTo>
                <a:cubicBezTo>
                  <a:pt x="912" y="1003"/>
                  <a:pt x="911" y="1004"/>
                  <a:pt x="913" y="1006"/>
                </a:cubicBezTo>
                <a:cubicBezTo>
                  <a:pt x="917" y="1005"/>
                  <a:pt x="928" y="1008"/>
                  <a:pt x="930" y="1002"/>
                </a:cubicBezTo>
                <a:cubicBezTo>
                  <a:pt x="926" y="999"/>
                  <a:pt x="926" y="994"/>
                  <a:pt x="918" y="995"/>
                </a:cubicBezTo>
                <a:cubicBezTo>
                  <a:pt x="916" y="995"/>
                  <a:pt x="918" y="998"/>
                  <a:pt x="915" y="998"/>
                </a:cubicBezTo>
                <a:cubicBezTo>
                  <a:pt x="912" y="999"/>
                  <a:pt x="913" y="994"/>
                  <a:pt x="911" y="995"/>
                </a:cubicBezTo>
                <a:cubicBezTo>
                  <a:pt x="907" y="998"/>
                  <a:pt x="903" y="998"/>
                  <a:pt x="899" y="996"/>
                </a:cubicBezTo>
                <a:cubicBezTo>
                  <a:pt x="898" y="998"/>
                  <a:pt x="896" y="996"/>
                  <a:pt x="892" y="997"/>
                </a:cubicBezTo>
                <a:cubicBezTo>
                  <a:pt x="891" y="1000"/>
                  <a:pt x="895" y="1000"/>
                  <a:pt x="893" y="1000"/>
                </a:cubicBezTo>
                <a:cubicBezTo>
                  <a:pt x="892" y="1000"/>
                  <a:pt x="891" y="1000"/>
                  <a:pt x="889" y="1000"/>
                </a:cubicBezTo>
                <a:cubicBezTo>
                  <a:pt x="890" y="999"/>
                  <a:pt x="889" y="998"/>
                  <a:pt x="889" y="997"/>
                </a:cubicBezTo>
                <a:cubicBezTo>
                  <a:pt x="877" y="995"/>
                  <a:pt x="861" y="995"/>
                  <a:pt x="846" y="996"/>
                </a:cubicBezTo>
                <a:cubicBezTo>
                  <a:pt x="843" y="988"/>
                  <a:pt x="837" y="982"/>
                  <a:pt x="831" y="977"/>
                </a:cubicBezTo>
                <a:cubicBezTo>
                  <a:pt x="826" y="984"/>
                  <a:pt x="820" y="988"/>
                  <a:pt x="817" y="996"/>
                </a:cubicBezTo>
                <a:cubicBezTo>
                  <a:pt x="821" y="997"/>
                  <a:pt x="822" y="999"/>
                  <a:pt x="824" y="999"/>
                </a:cubicBezTo>
                <a:cubicBezTo>
                  <a:pt x="822" y="1003"/>
                  <a:pt x="815" y="999"/>
                  <a:pt x="814" y="1003"/>
                </a:cubicBezTo>
                <a:cubicBezTo>
                  <a:pt x="814" y="1001"/>
                  <a:pt x="812" y="1002"/>
                  <a:pt x="812" y="1000"/>
                </a:cubicBezTo>
                <a:cubicBezTo>
                  <a:pt x="813" y="1000"/>
                  <a:pt x="815" y="999"/>
                  <a:pt x="816" y="998"/>
                </a:cubicBezTo>
                <a:cubicBezTo>
                  <a:pt x="811" y="995"/>
                  <a:pt x="797" y="995"/>
                  <a:pt x="793" y="998"/>
                </a:cubicBezTo>
                <a:cubicBezTo>
                  <a:pt x="794" y="1000"/>
                  <a:pt x="797" y="998"/>
                  <a:pt x="797" y="1000"/>
                </a:cubicBezTo>
                <a:cubicBezTo>
                  <a:pt x="795" y="1004"/>
                  <a:pt x="788" y="998"/>
                  <a:pt x="789" y="996"/>
                </a:cubicBezTo>
                <a:cubicBezTo>
                  <a:pt x="777" y="998"/>
                  <a:pt x="759" y="994"/>
                  <a:pt x="748" y="996"/>
                </a:cubicBezTo>
                <a:cubicBezTo>
                  <a:pt x="751" y="997"/>
                  <a:pt x="754" y="999"/>
                  <a:pt x="757" y="1000"/>
                </a:cubicBezTo>
                <a:cubicBezTo>
                  <a:pt x="753" y="1000"/>
                  <a:pt x="750" y="1001"/>
                  <a:pt x="748" y="1003"/>
                </a:cubicBezTo>
                <a:cubicBezTo>
                  <a:pt x="748" y="1002"/>
                  <a:pt x="746" y="1003"/>
                  <a:pt x="746" y="1002"/>
                </a:cubicBezTo>
                <a:cubicBezTo>
                  <a:pt x="744" y="1000"/>
                  <a:pt x="748" y="1001"/>
                  <a:pt x="747" y="998"/>
                </a:cubicBezTo>
                <a:cubicBezTo>
                  <a:pt x="744" y="995"/>
                  <a:pt x="737" y="995"/>
                  <a:pt x="730" y="996"/>
                </a:cubicBezTo>
                <a:cubicBezTo>
                  <a:pt x="729" y="1000"/>
                  <a:pt x="733" y="998"/>
                  <a:pt x="733" y="1000"/>
                </a:cubicBezTo>
                <a:cubicBezTo>
                  <a:pt x="730" y="1001"/>
                  <a:pt x="730" y="1003"/>
                  <a:pt x="727" y="1002"/>
                </a:cubicBezTo>
                <a:cubicBezTo>
                  <a:pt x="726" y="1000"/>
                  <a:pt x="726" y="998"/>
                  <a:pt x="725" y="996"/>
                </a:cubicBezTo>
                <a:cubicBezTo>
                  <a:pt x="722" y="995"/>
                  <a:pt x="718" y="996"/>
                  <a:pt x="719" y="991"/>
                </a:cubicBezTo>
                <a:cubicBezTo>
                  <a:pt x="720" y="989"/>
                  <a:pt x="722" y="993"/>
                  <a:pt x="722" y="990"/>
                </a:cubicBezTo>
                <a:cubicBezTo>
                  <a:pt x="726" y="962"/>
                  <a:pt x="731" y="936"/>
                  <a:pt x="736" y="909"/>
                </a:cubicBezTo>
                <a:cubicBezTo>
                  <a:pt x="746" y="854"/>
                  <a:pt x="756" y="797"/>
                  <a:pt x="764" y="742"/>
                </a:cubicBezTo>
                <a:cubicBezTo>
                  <a:pt x="768" y="719"/>
                  <a:pt x="775" y="696"/>
                  <a:pt x="775" y="674"/>
                </a:cubicBezTo>
                <a:cubicBezTo>
                  <a:pt x="775" y="666"/>
                  <a:pt x="777" y="662"/>
                  <a:pt x="778" y="656"/>
                </a:cubicBezTo>
                <a:cubicBezTo>
                  <a:pt x="781" y="636"/>
                  <a:pt x="782" y="618"/>
                  <a:pt x="785" y="599"/>
                </a:cubicBezTo>
                <a:cubicBezTo>
                  <a:pt x="770" y="583"/>
                  <a:pt x="755" y="568"/>
                  <a:pt x="740" y="552"/>
                </a:cubicBezTo>
                <a:cubicBezTo>
                  <a:pt x="745" y="552"/>
                  <a:pt x="747" y="555"/>
                  <a:pt x="747" y="559"/>
                </a:cubicBezTo>
                <a:cubicBezTo>
                  <a:pt x="762" y="570"/>
                  <a:pt x="771" y="585"/>
                  <a:pt x="785" y="596"/>
                </a:cubicBezTo>
                <a:cubicBezTo>
                  <a:pt x="788" y="582"/>
                  <a:pt x="789" y="565"/>
                  <a:pt x="792" y="550"/>
                </a:cubicBezTo>
                <a:cubicBezTo>
                  <a:pt x="775" y="549"/>
                  <a:pt x="753" y="548"/>
                  <a:pt x="738" y="551"/>
                </a:cubicBezTo>
                <a:cubicBezTo>
                  <a:pt x="732" y="548"/>
                  <a:pt x="724" y="550"/>
                  <a:pt x="719" y="551"/>
                </a:cubicBezTo>
                <a:cubicBezTo>
                  <a:pt x="724" y="565"/>
                  <a:pt x="717" y="586"/>
                  <a:pt x="723" y="601"/>
                </a:cubicBezTo>
                <a:cubicBezTo>
                  <a:pt x="721" y="601"/>
                  <a:pt x="721" y="603"/>
                  <a:pt x="721" y="605"/>
                </a:cubicBezTo>
                <a:cubicBezTo>
                  <a:pt x="722" y="606"/>
                  <a:pt x="724" y="607"/>
                  <a:pt x="723" y="611"/>
                </a:cubicBezTo>
                <a:cubicBezTo>
                  <a:pt x="722" y="613"/>
                  <a:pt x="720" y="607"/>
                  <a:pt x="719" y="612"/>
                </a:cubicBezTo>
                <a:cubicBezTo>
                  <a:pt x="721" y="616"/>
                  <a:pt x="729" y="622"/>
                  <a:pt x="732" y="627"/>
                </a:cubicBezTo>
                <a:cubicBezTo>
                  <a:pt x="731" y="627"/>
                  <a:pt x="730" y="626"/>
                  <a:pt x="727" y="627"/>
                </a:cubicBezTo>
                <a:cubicBezTo>
                  <a:pt x="724" y="623"/>
                  <a:pt x="721" y="619"/>
                  <a:pt x="717" y="616"/>
                </a:cubicBezTo>
                <a:cubicBezTo>
                  <a:pt x="714" y="618"/>
                  <a:pt x="713" y="618"/>
                  <a:pt x="712" y="614"/>
                </a:cubicBezTo>
                <a:cubicBezTo>
                  <a:pt x="715" y="613"/>
                  <a:pt x="717" y="617"/>
                  <a:pt x="717" y="614"/>
                </a:cubicBezTo>
                <a:cubicBezTo>
                  <a:pt x="717" y="611"/>
                  <a:pt x="713" y="612"/>
                  <a:pt x="714" y="608"/>
                </a:cubicBezTo>
                <a:cubicBezTo>
                  <a:pt x="720" y="592"/>
                  <a:pt x="715" y="570"/>
                  <a:pt x="717" y="551"/>
                </a:cubicBezTo>
                <a:cubicBezTo>
                  <a:pt x="717" y="549"/>
                  <a:pt x="714" y="551"/>
                  <a:pt x="714" y="548"/>
                </a:cubicBezTo>
                <a:cubicBezTo>
                  <a:pt x="719" y="544"/>
                  <a:pt x="728" y="545"/>
                  <a:pt x="730" y="540"/>
                </a:cubicBezTo>
                <a:cubicBezTo>
                  <a:pt x="746" y="536"/>
                  <a:pt x="759" y="529"/>
                  <a:pt x="773" y="523"/>
                </a:cubicBezTo>
                <a:cubicBezTo>
                  <a:pt x="773" y="521"/>
                  <a:pt x="767" y="520"/>
                  <a:pt x="768" y="519"/>
                </a:cubicBezTo>
                <a:cubicBezTo>
                  <a:pt x="773" y="518"/>
                  <a:pt x="774" y="524"/>
                  <a:pt x="778" y="521"/>
                </a:cubicBezTo>
                <a:cubicBezTo>
                  <a:pt x="779" y="519"/>
                  <a:pt x="775" y="520"/>
                  <a:pt x="776" y="518"/>
                </a:cubicBezTo>
                <a:cubicBezTo>
                  <a:pt x="778" y="519"/>
                  <a:pt x="781" y="521"/>
                  <a:pt x="783" y="519"/>
                </a:cubicBezTo>
                <a:cubicBezTo>
                  <a:pt x="785" y="519"/>
                  <a:pt x="781" y="517"/>
                  <a:pt x="783" y="517"/>
                </a:cubicBezTo>
                <a:cubicBezTo>
                  <a:pt x="787" y="519"/>
                  <a:pt x="789" y="516"/>
                  <a:pt x="794" y="515"/>
                </a:cubicBezTo>
                <a:cubicBezTo>
                  <a:pt x="796" y="504"/>
                  <a:pt x="796" y="489"/>
                  <a:pt x="797" y="475"/>
                </a:cubicBezTo>
                <a:cubicBezTo>
                  <a:pt x="798" y="469"/>
                  <a:pt x="800" y="454"/>
                  <a:pt x="799" y="450"/>
                </a:cubicBezTo>
                <a:cubicBezTo>
                  <a:pt x="798" y="443"/>
                  <a:pt x="790" y="440"/>
                  <a:pt x="788" y="435"/>
                </a:cubicBezTo>
                <a:cubicBezTo>
                  <a:pt x="756" y="436"/>
                  <a:pt x="725" y="437"/>
                  <a:pt x="696" y="439"/>
                </a:cubicBezTo>
                <a:cubicBezTo>
                  <a:pt x="700" y="447"/>
                  <a:pt x="694" y="459"/>
                  <a:pt x="699" y="465"/>
                </a:cubicBezTo>
                <a:cubicBezTo>
                  <a:pt x="706" y="468"/>
                  <a:pt x="712" y="471"/>
                  <a:pt x="717" y="476"/>
                </a:cubicBezTo>
                <a:cubicBezTo>
                  <a:pt x="737" y="487"/>
                  <a:pt x="756" y="499"/>
                  <a:pt x="775" y="512"/>
                </a:cubicBezTo>
                <a:cubicBezTo>
                  <a:pt x="777" y="511"/>
                  <a:pt x="780" y="514"/>
                  <a:pt x="779" y="515"/>
                </a:cubicBezTo>
                <a:cubicBezTo>
                  <a:pt x="772" y="512"/>
                  <a:pt x="767" y="507"/>
                  <a:pt x="759" y="504"/>
                </a:cubicBezTo>
                <a:cubicBezTo>
                  <a:pt x="756" y="499"/>
                  <a:pt x="749" y="499"/>
                  <a:pt x="746" y="494"/>
                </a:cubicBezTo>
                <a:cubicBezTo>
                  <a:pt x="733" y="490"/>
                  <a:pt x="726" y="481"/>
                  <a:pt x="714" y="476"/>
                </a:cubicBezTo>
                <a:cubicBezTo>
                  <a:pt x="709" y="472"/>
                  <a:pt x="703" y="467"/>
                  <a:pt x="697" y="466"/>
                </a:cubicBezTo>
                <a:cubicBezTo>
                  <a:pt x="695" y="472"/>
                  <a:pt x="706" y="472"/>
                  <a:pt x="706" y="476"/>
                </a:cubicBezTo>
                <a:cubicBezTo>
                  <a:pt x="702" y="476"/>
                  <a:pt x="701" y="473"/>
                  <a:pt x="698" y="472"/>
                </a:cubicBezTo>
                <a:cubicBezTo>
                  <a:pt x="698" y="475"/>
                  <a:pt x="697" y="480"/>
                  <a:pt x="697" y="486"/>
                </a:cubicBezTo>
                <a:cubicBezTo>
                  <a:pt x="699" y="488"/>
                  <a:pt x="701" y="488"/>
                  <a:pt x="702" y="491"/>
                </a:cubicBezTo>
                <a:cubicBezTo>
                  <a:pt x="700" y="493"/>
                  <a:pt x="698" y="498"/>
                  <a:pt x="701" y="501"/>
                </a:cubicBezTo>
                <a:cubicBezTo>
                  <a:pt x="699" y="500"/>
                  <a:pt x="697" y="497"/>
                  <a:pt x="695" y="499"/>
                </a:cubicBezTo>
                <a:cubicBezTo>
                  <a:pt x="703" y="513"/>
                  <a:pt x="719" y="525"/>
                  <a:pt x="730" y="540"/>
                </a:cubicBezTo>
                <a:cubicBezTo>
                  <a:pt x="719" y="531"/>
                  <a:pt x="711" y="519"/>
                  <a:pt x="699" y="511"/>
                </a:cubicBezTo>
                <a:cubicBezTo>
                  <a:pt x="699" y="510"/>
                  <a:pt x="698" y="509"/>
                  <a:pt x="698" y="507"/>
                </a:cubicBezTo>
                <a:cubicBezTo>
                  <a:pt x="696" y="503"/>
                  <a:pt x="690" y="506"/>
                  <a:pt x="689" y="502"/>
                </a:cubicBezTo>
                <a:cubicBezTo>
                  <a:pt x="691" y="500"/>
                  <a:pt x="693" y="505"/>
                  <a:pt x="693" y="502"/>
                </a:cubicBezTo>
                <a:cubicBezTo>
                  <a:pt x="690" y="497"/>
                  <a:pt x="691" y="494"/>
                  <a:pt x="693" y="490"/>
                </a:cubicBezTo>
                <a:cubicBezTo>
                  <a:pt x="692" y="482"/>
                  <a:pt x="695" y="471"/>
                  <a:pt x="691" y="467"/>
                </a:cubicBezTo>
                <a:cubicBezTo>
                  <a:pt x="692" y="467"/>
                  <a:pt x="694" y="467"/>
                  <a:pt x="693" y="464"/>
                </a:cubicBezTo>
                <a:cubicBezTo>
                  <a:pt x="685" y="454"/>
                  <a:pt x="671" y="451"/>
                  <a:pt x="663" y="441"/>
                </a:cubicBezTo>
                <a:cubicBezTo>
                  <a:pt x="642" y="431"/>
                  <a:pt x="626" y="416"/>
                  <a:pt x="605" y="406"/>
                </a:cubicBezTo>
                <a:cubicBezTo>
                  <a:pt x="605" y="407"/>
                  <a:pt x="604" y="408"/>
                  <a:pt x="603" y="408"/>
                </a:cubicBezTo>
                <a:cubicBezTo>
                  <a:pt x="627" y="428"/>
                  <a:pt x="653" y="440"/>
                  <a:pt x="678" y="458"/>
                </a:cubicBezTo>
                <a:cubicBezTo>
                  <a:pt x="652" y="445"/>
                  <a:pt x="628" y="426"/>
                  <a:pt x="601" y="411"/>
                </a:cubicBezTo>
                <a:cubicBezTo>
                  <a:pt x="610" y="423"/>
                  <a:pt x="626" y="427"/>
                  <a:pt x="637" y="437"/>
                </a:cubicBezTo>
                <a:cubicBezTo>
                  <a:pt x="638" y="437"/>
                  <a:pt x="639" y="437"/>
                  <a:pt x="640" y="437"/>
                </a:cubicBezTo>
                <a:cubicBezTo>
                  <a:pt x="644" y="444"/>
                  <a:pt x="657" y="447"/>
                  <a:pt x="660" y="452"/>
                </a:cubicBezTo>
                <a:cubicBezTo>
                  <a:pt x="637" y="439"/>
                  <a:pt x="614" y="425"/>
                  <a:pt x="594" y="410"/>
                </a:cubicBezTo>
                <a:cubicBezTo>
                  <a:pt x="595" y="409"/>
                  <a:pt x="593" y="408"/>
                  <a:pt x="594" y="406"/>
                </a:cubicBezTo>
                <a:cubicBezTo>
                  <a:pt x="564" y="385"/>
                  <a:pt x="533" y="367"/>
                  <a:pt x="505" y="346"/>
                </a:cubicBezTo>
                <a:cubicBezTo>
                  <a:pt x="476" y="330"/>
                  <a:pt x="452" y="309"/>
                  <a:pt x="423" y="292"/>
                </a:cubicBezTo>
                <a:cubicBezTo>
                  <a:pt x="415" y="286"/>
                  <a:pt x="407" y="280"/>
                  <a:pt x="397" y="275"/>
                </a:cubicBezTo>
                <a:cubicBezTo>
                  <a:pt x="396" y="271"/>
                  <a:pt x="393" y="270"/>
                  <a:pt x="389" y="269"/>
                </a:cubicBezTo>
                <a:cubicBezTo>
                  <a:pt x="315" y="216"/>
                  <a:pt x="240" y="164"/>
                  <a:pt x="166" y="113"/>
                </a:cubicBezTo>
                <a:cubicBezTo>
                  <a:pt x="144" y="96"/>
                  <a:pt x="121" y="80"/>
                  <a:pt x="99" y="64"/>
                </a:cubicBezTo>
                <a:cubicBezTo>
                  <a:pt x="91" y="59"/>
                  <a:pt x="84" y="52"/>
                  <a:pt x="75" y="49"/>
                </a:cubicBezTo>
                <a:cubicBezTo>
                  <a:pt x="128" y="90"/>
                  <a:pt x="184" y="128"/>
                  <a:pt x="240" y="166"/>
                </a:cubicBezTo>
                <a:cubicBezTo>
                  <a:pt x="309" y="217"/>
                  <a:pt x="382" y="264"/>
                  <a:pt x="451" y="314"/>
                </a:cubicBezTo>
                <a:cubicBezTo>
                  <a:pt x="471" y="325"/>
                  <a:pt x="487" y="339"/>
                  <a:pt x="507" y="350"/>
                </a:cubicBezTo>
                <a:cubicBezTo>
                  <a:pt x="513" y="356"/>
                  <a:pt x="520" y="360"/>
                  <a:pt x="528" y="364"/>
                </a:cubicBezTo>
                <a:cubicBezTo>
                  <a:pt x="528" y="366"/>
                  <a:pt x="530" y="366"/>
                  <a:pt x="531" y="368"/>
                </a:cubicBezTo>
                <a:cubicBezTo>
                  <a:pt x="540" y="373"/>
                  <a:pt x="549" y="379"/>
                  <a:pt x="557" y="385"/>
                </a:cubicBezTo>
                <a:cubicBezTo>
                  <a:pt x="569" y="391"/>
                  <a:pt x="579" y="398"/>
                  <a:pt x="588" y="406"/>
                </a:cubicBezTo>
                <a:cubicBezTo>
                  <a:pt x="591" y="405"/>
                  <a:pt x="594" y="408"/>
                  <a:pt x="592" y="409"/>
                </a:cubicBezTo>
                <a:cubicBezTo>
                  <a:pt x="490" y="344"/>
                  <a:pt x="392" y="275"/>
                  <a:pt x="292" y="208"/>
                </a:cubicBezTo>
                <a:cubicBezTo>
                  <a:pt x="220" y="156"/>
                  <a:pt x="146" y="106"/>
                  <a:pt x="75" y="54"/>
                </a:cubicBezTo>
                <a:cubicBezTo>
                  <a:pt x="73" y="54"/>
                  <a:pt x="71" y="53"/>
                  <a:pt x="69" y="53"/>
                </a:cubicBezTo>
                <a:cubicBezTo>
                  <a:pt x="69" y="51"/>
                  <a:pt x="68" y="51"/>
                  <a:pt x="68" y="49"/>
                </a:cubicBezTo>
                <a:cubicBezTo>
                  <a:pt x="60" y="44"/>
                  <a:pt x="52" y="39"/>
                  <a:pt x="45" y="34"/>
                </a:cubicBezTo>
                <a:cubicBezTo>
                  <a:pt x="38" y="30"/>
                  <a:pt x="32" y="23"/>
                  <a:pt x="25" y="18"/>
                </a:cubicBezTo>
                <a:cubicBezTo>
                  <a:pt x="17" y="13"/>
                  <a:pt x="5" y="7"/>
                  <a:pt x="0" y="0"/>
                </a:cubicBezTo>
                <a:close/>
                <a:moveTo>
                  <a:pt x="918" y="593"/>
                </a:moveTo>
                <a:cubicBezTo>
                  <a:pt x="918" y="595"/>
                  <a:pt x="920" y="595"/>
                  <a:pt x="921" y="596"/>
                </a:cubicBezTo>
                <a:cubicBezTo>
                  <a:pt x="921" y="595"/>
                  <a:pt x="922" y="595"/>
                  <a:pt x="922" y="593"/>
                </a:cubicBezTo>
                <a:cubicBezTo>
                  <a:pt x="920" y="593"/>
                  <a:pt x="919" y="593"/>
                  <a:pt x="918" y="593"/>
                </a:cubicBezTo>
                <a:close/>
                <a:moveTo>
                  <a:pt x="721" y="1021"/>
                </a:moveTo>
                <a:cubicBezTo>
                  <a:pt x="723" y="1021"/>
                  <a:pt x="724" y="1022"/>
                  <a:pt x="726" y="1022"/>
                </a:cubicBezTo>
                <a:cubicBezTo>
                  <a:pt x="726" y="1019"/>
                  <a:pt x="722" y="1019"/>
                  <a:pt x="721" y="1021"/>
                </a:cubicBezTo>
                <a:close/>
                <a:moveTo>
                  <a:pt x="587" y="393"/>
                </a:moveTo>
                <a:cubicBezTo>
                  <a:pt x="548" y="366"/>
                  <a:pt x="510" y="340"/>
                  <a:pt x="471" y="314"/>
                </a:cubicBezTo>
                <a:cubicBezTo>
                  <a:pt x="362" y="238"/>
                  <a:pt x="252" y="160"/>
                  <a:pt x="145" y="83"/>
                </a:cubicBezTo>
                <a:cubicBezTo>
                  <a:pt x="124" y="67"/>
                  <a:pt x="103" y="50"/>
                  <a:pt x="80" y="36"/>
                </a:cubicBezTo>
                <a:cubicBezTo>
                  <a:pt x="80" y="36"/>
                  <a:pt x="79" y="36"/>
                  <a:pt x="79" y="36"/>
                </a:cubicBezTo>
                <a:cubicBezTo>
                  <a:pt x="80" y="40"/>
                  <a:pt x="78" y="42"/>
                  <a:pt x="78" y="45"/>
                </a:cubicBezTo>
                <a:cubicBezTo>
                  <a:pt x="229" y="153"/>
                  <a:pt x="380" y="261"/>
                  <a:pt x="535" y="364"/>
                </a:cubicBezTo>
                <a:cubicBezTo>
                  <a:pt x="553" y="376"/>
                  <a:pt x="573" y="392"/>
                  <a:pt x="593" y="402"/>
                </a:cubicBezTo>
                <a:cubicBezTo>
                  <a:pt x="595" y="403"/>
                  <a:pt x="599" y="408"/>
                  <a:pt x="602" y="404"/>
                </a:cubicBezTo>
                <a:cubicBezTo>
                  <a:pt x="598" y="399"/>
                  <a:pt x="592" y="396"/>
                  <a:pt x="587" y="393"/>
                </a:cubicBezTo>
                <a:close/>
                <a:moveTo>
                  <a:pt x="75" y="42"/>
                </a:moveTo>
                <a:cubicBezTo>
                  <a:pt x="75" y="39"/>
                  <a:pt x="74" y="38"/>
                  <a:pt x="70" y="38"/>
                </a:cubicBezTo>
                <a:cubicBezTo>
                  <a:pt x="70" y="41"/>
                  <a:pt x="72" y="42"/>
                  <a:pt x="75" y="42"/>
                </a:cubicBezTo>
                <a:close/>
                <a:moveTo>
                  <a:pt x="825" y="236"/>
                </a:moveTo>
                <a:cubicBezTo>
                  <a:pt x="825" y="235"/>
                  <a:pt x="826" y="232"/>
                  <a:pt x="824" y="232"/>
                </a:cubicBezTo>
                <a:cubicBezTo>
                  <a:pt x="823" y="232"/>
                  <a:pt x="823" y="237"/>
                  <a:pt x="825" y="236"/>
                </a:cubicBezTo>
                <a:close/>
                <a:moveTo>
                  <a:pt x="819" y="257"/>
                </a:moveTo>
                <a:cubicBezTo>
                  <a:pt x="825" y="255"/>
                  <a:pt x="823" y="262"/>
                  <a:pt x="827" y="262"/>
                </a:cubicBezTo>
                <a:cubicBezTo>
                  <a:pt x="829" y="253"/>
                  <a:pt x="826" y="247"/>
                  <a:pt x="820" y="243"/>
                </a:cubicBezTo>
                <a:cubicBezTo>
                  <a:pt x="820" y="240"/>
                  <a:pt x="821" y="235"/>
                  <a:pt x="819" y="234"/>
                </a:cubicBezTo>
                <a:cubicBezTo>
                  <a:pt x="818" y="243"/>
                  <a:pt x="819" y="250"/>
                  <a:pt x="819" y="257"/>
                </a:cubicBezTo>
                <a:close/>
                <a:moveTo>
                  <a:pt x="817" y="271"/>
                </a:moveTo>
                <a:cubicBezTo>
                  <a:pt x="818" y="271"/>
                  <a:pt x="818" y="270"/>
                  <a:pt x="820" y="270"/>
                </a:cubicBezTo>
                <a:cubicBezTo>
                  <a:pt x="820" y="268"/>
                  <a:pt x="820" y="267"/>
                  <a:pt x="819" y="266"/>
                </a:cubicBezTo>
                <a:cubicBezTo>
                  <a:pt x="818" y="266"/>
                  <a:pt x="818" y="266"/>
                  <a:pt x="817" y="266"/>
                </a:cubicBezTo>
                <a:cubicBezTo>
                  <a:pt x="817" y="268"/>
                  <a:pt x="817" y="269"/>
                  <a:pt x="817" y="271"/>
                </a:cubicBezTo>
                <a:close/>
                <a:moveTo>
                  <a:pt x="827" y="270"/>
                </a:moveTo>
                <a:cubicBezTo>
                  <a:pt x="827" y="268"/>
                  <a:pt x="826" y="267"/>
                  <a:pt x="824" y="267"/>
                </a:cubicBezTo>
                <a:cubicBezTo>
                  <a:pt x="824" y="269"/>
                  <a:pt x="826" y="269"/>
                  <a:pt x="827" y="270"/>
                </a:cubicBezTo>
                <a:close/>
                <a:moveTo>
                  <a:pt x="790" y="282"/>
                </a:moveTo>
                <a:cubicBezTo>
                  <a:pt x="797" y="281"/>
                  <a:pt x="805" y="280"/>
                  <a:pt x="809" y="275"/>
                </a:cubicBezTo>
                <a:cubicBezTo>
                  <a:pt x="801" y="276"/>
                  <a:pt x="795" y="279"/>
                  <a:pt x="790" y="282"/>
                </a:cubicBezTo>
                <a:close/>
                <a:moveTo>
                  <a:pt x="831" y="282"/>
                </a:moveTo>
                <a:cubicBezTo>
                  <a:pt x="830" y="280"/>
                  <a:pt x="830" y="279"/>
                  <a:pt x="829" y="278"/>
                </a:cubicBezTo>
                <a:cubicBezTo>
                  <a:pt x="827" y="280"/>
                  <a:pt x="829" y="282"/>
                  <a:pt x="831" y="282"/>
                </a:cubicBezTo>
                <a:close/>
                <a:moveTo>
                  <a:pt x="817" y="288"/>
                </a:moveTo>
                <a:cubicBezTo>
                  <a:pt x="818" y="285"/>
                  <a:pt x="820" y="283"/>
                  <a:pt x="821" y="279"/>
                </a:cubicBezTo>
                <a:cubicBezTo>
                  <a:pt x="816" y="277"/>
                  <a:pt x="814" y="285"/>
                  <a:pt x="817" y="288"/>
                </a:cubicBezTo>
                <a:close/>
                <a:moveTo>
                  <a:pt x="836" y="279"/>
                </a:moveTo>
                <a:cubicBezTo>
                  <a:pt x="836" y="282"/>
                  <a:pt x="838" y="284"/>
                  <a:pt x="841" y="284"/>
                </a:cubicBezTo>
                <a:cubicBezTo>
                  <a:pt x="842" y="282"/>
                  <a:pt x="845" y="281"/>
                  <a:pt x="847" y="279"/>
                </a:cubicBezTo>
                <a:cubicBezTo>
                  <a:pt x="843" y="280"/>
                  <a:pt x="839" y="278"/>
                  <a:pt x="836" y="279"/>
                </a:cubicBezTo>
                <a:close/>
                <a:moveTo>
                  <a:pt x="820" y="288"/>
                </a:moveTo>
                <a:cubicBezTo>
                  <a:pt x="822" y="289"/>
                  <a:pt x="826" y="287"/>
                  <a:pt x="829" y="287"/>
                </a:cubicBezTo>
                <a:cubicBezTo>
                  <a:pt x="828" y="284"/>
                  <a:pt x="826" y="282"/>
                  <a:pt x="824" y="280"/>
                </a:cubicBezTo>
                <a:cubicBezTo>
                  <a:pt x="823" y="282"/>
                  <a:pt x="822" y="285"/>
                  <a:pt x="820" y="288"/>
                </a:cubicBezTo>
                <a:close/>
                <a:moveTo>
                  <a:pt x="842" y="286"/>
                </a:moveTo>
                <a:cubicBezTo>
                  <a:pt x="847" y="287"/>
                  <a:pt x="854" y="285"/>
                  <a:pt x="855" y="281"/>
                </a:cubicBezTo>
                <a:cubicBezTo>
                  <a:pt x="849" y="281"/>
                  <a:pt x="847" y="284"/>
                  <a:pt x="842" y="286"/>
                </a:cubicBezTo>
                <a:close/>
                <a:moveTo>
                  <a:pt x="794" y="287"/>
                </a:moveTo>
                <a:cubicBezTo>
                  <a:pt x="799" y="287"/>
                  <a:pt x="802" y="288"/>
                  <a:pt x="807" y="288"/>
                </a:cubicBezTo>
                <a:cubicBezTo>
                  <a:pt x="807" y="286"/>
                  <a:pt x="807" y="283"/>
                  <a:pt x="808" y="282"/>
                </a:cubicBezTo>
                <a:cubicBezTo>
                  <a:pt x="803" y="284"/>
                  <a:pt x="797" y="282"/>
                  <a:pt x="794" y="287"/>
                </a:cubicBezTo>
                <a:close/>
                <a:moveTo>
                  <a:pt x="861" y="286"/>
                </a:moveTo>
                <a:cubicBezTo>
                  <a:pt x="866" y="285"/>
                  <a:pt x="871" y="286"/>
                  <a:pt x="874" y="284"/>
                </a:cubicBezTo>
                <a:cubicBezTo>
                  <a:pt x="871" y="282"/>
                  <a:pt x="865" y="283"/>
                  <a:pt x="862" y="282"/>
                </a:cubicBezTo>
                <a:cubicBezTo>
                  <a:pt x="861" y="283"/>
                  <a:pt x="861" y="284"/>
                  <a:pt x="861" y="286"/>
                </a:cubicBezTo>
                <a:close/>
                <a:moveTo>
                  <a:pt x="854" y="286"/>
                </a:moveTo>
                <a:cubicBezTo>
                  <a:pt x="855" y="287"/>
                  <a:pt x="860" y="284"/>
                  <a:pt x="857" y="284"/>
                </a:cubicBezTo>
                <a:cubicBezTo>
                  <a:pt x="856" y="285"/>
                  <a:pt x="854" y="284"/>
                  <a:pt x="854" y="286"/>
                </a:cubicBezTo>
                <a:close/>
                <a:moveTo>
                  <a:pt x="788" y="288"/>
                </a:moveTo>
                <a:cubicBezTo>
                  <a:pt x="788" y="289"/>
                  <a:pt x="788" y="290"/>
                  <a:pt x="788" y="290"/>
                </a:cubicBezTo>
                <a:cubicBezTo>
                  <a:pt x="792" y="290"/>
                  <a:pt x="795" y="291"/>
                  <a:pt x="796" y="288"/>
                </a:cubicBezTo>
                <a:cubicBezTo>
                  <a:pt x="793" y="289"/>
                  <a:pt x="790" y="286"/>
                  <a:pt x="788" y="288"/>
                </a:cubicBezTo>
                <a:close/>
                <a:moveTo>
                  <a:pt x="772" y="292"/>
                </a:moveTo>
                <a:cubicBezTo>
                  <a:pt x="775" y="293"/>
                  <a:pt x="784" y="294"/>
                  <a:pt x="783" y="289"/>
                </a:cubicBezTo>
                <a:cubicBezTo>
                  <a:pt x="779" y="289"/>
                  <a:pt x="775" y="290"/>
                  <a:pt x="772" y="292"/>
                </a:cubicBezTo>
                <a:close/>
                <a:moveTo>
                  <a:pt x="855" y="290"/>
                </a:moveTo>
                <a:cubicBezTo>
                  <a:pt x="856" y="291"/>
                  <a:pt x="857" y="291"/>
                  <a:pt x="859" y="290"/>
                </a:cubicBezTo>
                <a:cubicBezTo>
                  <a:pt x="858" y="289"/>
                  <a:pt x="855" y="289"/>
                  <a:pt x="855" y="290"/>
                </a:cubicBezTo>
                <a:close/>
                <a:moveTo>
                  <a:pt x="848" y="291"/>
                </a:moveTo>
                <a:cubicBezTo>
                  <a:pt x="848" y="293"/>
                  <a:pt x="851" y="291"/>
                  <a:pt x="852" y="292"/>
                </a:cubicBezTo>
                <a:cubicBezTo>
                  <a:pt x="853" y="289"/>
                  <a:pt x="847" y="289"/>
                  <a:pt x="848" y="291"/>
                </a:cubicBezTo>
                <a:close/>
                <a:moveTo>
                  <a:pt x="902" y="292"/>
                </a:moveTo>
                <a:cubicBezTo>
                  <a:pt x="885" y="289"/>
                  <a:pt x="870" y="295"/>
                  <a:pt x="853" y="295"/>
                </a:cubicBezTo>
                <a:cubicBezTo>
                  <a:pt x="852" y="299"/>
                  <a:pt x="856" y="300"/>
                  <a:pt x="858" y="301"/>
                </a:cubicBezTo>
                <a:cubicBezTo>
                  <a:pt x="865" y="308"/>
                  <a:pt x="873" y="317"/>
                  <a:pt x="881" y="325"/>
                </a:cubicBezTo>
                <a:cubicBezTo>
                  <a:pt x="888" y="333"/>
                  <a:pt x="897" y="341"/>
                  <a:pt x="906" y="347"/>
                </a:cubicBezTo>
                <a:cubicBezTo>
                  <a:pt x="906" y="343"/>
                  <a:pt x="902" y="343"/>
                  <a:pt x="902" y="340"/>
                </a:cubicBezTo>
                <a:cubicBezTo>
                  <a:pt x="911" y="332"/>
                  <a:pt x="905" y="306"/>
                  <a:pt x="906" y="290"/>
                </a:cubicBezTo>
                <a:cubicBezTo>
                  <a:pt x="904" y="289"/>
                  <a:pt x="903" y="291"/>
                  <a:pt x="902" y="292"/>
                </a:cubicBezTo>
                <a:close/>
                <a:moveTo>
                  <a:pt x="817" y="295"/>
                </a:moveTo>
                <a:cubicBezTo>
                  <a:pt x="820" y="294"/>
                  <a:pt x="826" y="296"/>
                  <a:pt x="826" y="292"/>
                </a:cubicBezTo>
                <a:cubicBezTo>
                  <a:pt x="823" y="292"/>
                  <a:pt x="817" y="290"/>
                  <a:pt x="817" y="295"/>
                </a:cubicBezTo>
                <a:close/>
                <a:moveTo>
                  <a:pt x="823" y="301"/>
                </a:moveTo>
                <a:cubicBezTo>
                  <a:pt x="824" y="302"/>
                  <a:pt x="825" y="303"/>
                  <a:pt x="827" y="303"/>
                </a:cubicBezTo>
                <a:cubicBezTo>
                  <a:pt x="829" y="302"/>
                  <a:pt x="832" y="301"/>
                  <a:pt x="831" y="297"/>
                </a:cubicBezTo>
                <a:cubicBezTo>
                  <a:pt x="827" y="297"/>
                  <a:pt x="824" y="297"/>
                  <a:pt x="823" y="301"/>
                </a:cubicBezTo>
                <a:close/>
                <a:moveTo>
                  <a:pt x="741" y="303"/>
                </a:moveTo>
                <a:cubicBezTo>
                  <a:pt x="741" y="315"/>
                  <a:pt x="741" y="334"/>
                  <a:pt x="741" y="350"/>
                </a:cubicBezTo>
                <a:cubicBezTo>
                  <a:pt x="742" y="352"/>
                  <a:pt x="746" y="353"/>
                  <a:pt x="744" y="356"/>
                </a:cubicBezTo>
                <a:cubicBezTo>
                  <a:pt x="742" y="356"/>
                  <a:pt x="744" y="352"/>
                  <a:pt x="742" y="353"/>
                </a:cubicBezTo>
                <a:cubicBezTo>
                  <a:pt x="739" y="356"/>
                  <a:pt x="746" y="359"/>
                  <a:pt x="742" y="363"/>
                </a:cubicBezTo>
                <a:cubicBezTo>
                  <a:pt x="741" y="363"/>
                  <a:pt x="739" y="360"/>
                  <a:pt x="737" y="362"/>
                </a:cubicBezTo>
                <a:cubicBezTo>
                  <a:pt x="749" y="376"/>
                  <a:pt x="758" y="392"/>
                  <a:pt x="770" y="405"/>
                </a:cubicBezTo>
                <a:cubicBezTo>
                  <a:pt x="781" y="401"/>
                  <a:pt x="791" y="397"/>
                  <a:pt x="802" y="393"/>
                </a:cubicBezTo>
                <a:cubicBezTo>
                  <a:pt x="801" y="383"/>
                  <a:pt x="806" y="368"/>
                  <a:pt x="801" y="361"/>
                </a:cubicBezTo>
                <a:cubicBezTo>
                  <a:pt x="805" y="354"/>
                  <a:pt x="803" y="342"/>
                  <a:pt x="804" y="333"/>
                </a:cubicBezTo>
                <a:cubicBezTo>
                  <a:pt x="805" y="322"/>
                  <a:pt x="807" y="311"/>
                  <a:pt x="807" y="299"/>
                </a:cubicBezTo>
                <a:cubicBezTo>
                  <a:pt x="787" y="300"/>
                  <a:pt x="770" y="300"/>
                  <a:pt x="752" y="302"/>
                </a:cubicBezTo>
                <a:cubicBezTo>
                  <a:pt x="765" y="311"/>
                  <a:pt x="774" y="323"/>
                  <a:pt x="786" y="332"/>
                </a:cubicBezTo>
                <a:cubicBezTo>
                  <a:pt x="790" y="339"/>
                  <a:pt x="800" y="342"/>
                  <a:pt x="801" y="349"/>
                </a:cubicBezTo>
                <a:cubicBezTo>
                  <a:pt x="800" y="347"/>
                  <a:pt x="796" y="347"/>
                  <a:pt x="796" y="343"/>
                </a:cubicBezTo>
                <a:cubicBezTo>
                  <a:pt x="780" y="332"/>
                  <a:pt x="768" y="316"/>
                  <a:pt x="751" y="304"/>
                </a:cubicBezTo>
                <a:cubicBezTo>
                  <a:pt x="751" y="303"/>
                  <a:pt x="751" y="302"/>
                  <a:pt x="751" y="301"/>
                </a:cubicBezTo>
                <a:cubicBezTo>
                  <a:pt x="749" y="302"/>
                  <a:pt x="744" y="300"/>
                  <a:pt x="745" y="303"/>
                </a:cubicBezTo>
                <a:cubicBezTo>
                  <a:pt x="750" y="307"/>
                  <a:pt x="755" y="313"/>
                  <a:pt x="760" y="318"/>
                </a:cubicBezTo>
                <a:cubicBezTo>
                  <a:pt x="756" y="318"/>
                  <a:pt x="756" y="315"/>
                  <a:pt x="753" y="314"/>
                </a:cubicBezTo>
                <a:cubicBezTo>
                  <a:pt x="753" y="315"/>
                  <a:pt x="754" y="317"/>
                  <a:pt x="753" y="317"/>
                </a:cubicBezTo>
                <a:cubicBezTo>
                  <a:pt x="750" y="314"/>
                  <a:pt x="745" y="312"/>
                  <a:pt x="743" y="307"/>
                </a:cubicBezTo>
                <a:cubicBezTo>
                  <a:pt x="747" y="308"/>
                  <a:pt x="749" y="314"/>
                  <a:pt x="753" y="313"/>
                </a:cubicBezTo>
                <a:cubicBezTo>
                  <a:pt x="748" y="310"/>
                  <a:pt x="747" y="305"/>
                  <a:pt x="741" y="303"/>
                </a:cubicBezTo>
                <a:close/>
                <a:moveTo>
                  <a:pt x="823" y="307"/>
                </a:moveTo>
                <a:cubicBezTo>
                  <a:pt x="822" y="301"/>
                  <a:pt x="811" y="305"/>
                  <a:pt x="815" y="315"/>
                </a:cubicBezTo>
                <a:cubicBezTo>
                  <a:pt x="817" y="313"/>
                  <a:pt x="824" y="309"/>
                  <a:pt x="823" y="307"/>
                </a:cubicBezTo>
                <a:close/>
                <a:moveTo>
                  <a:pt x="831" y="307"/>
                </a:moveTo>
                <a:cubicBezTo>
                  <a:pt x="831" y="306"/>
                  <a:pt x="831" y="305"/>
                  <a:pt x="831" y="304"/>
                </a:cubicBezTo>
                <a:cubicBezTo>
                  <a:pt x="829" y="304"/>
                  <a:pt x="829" y="307"/>
                  <a:pt x="831" y="307"/>
                </a:cubicBezTo>
                <a:close/>
                <a:moveTo>
                  <a:pt x="818" y="319"/>
                </a:moveTo>
                <a:cubicBezTo>
                  <a:pt x="823" y="321"/>
                  <a:pt x="825" y="314"/>
                  <a:pt x="829" y="313"/>
                </a:cubicBezTo>
                <a:cubicBezTo>
                  <a:pt x="829" y="311"/>
                  <a:pt x="827" y="310"/>
                  <a:pt x="826" y="309"/>
                </a:cubicBezTo>
                <a:cubicBezTo>
                  <a:pt x="823" y="312"/>
                  <a:pt x="818" y="313"/>
                  <a:pt x="818" y="319"/>
                </a:cubicBezTo>
                <a:close/>
                <a:moveTo>
                  <a:pt x="823" y="323"/>
                </a:moveTo>
                <a:cubicBezTo>
                  <a:pt x="825" y="323"/>
                  <a:pt x="826" y="325"/>
                  <a:pt x="829" y="325"/>
                </a:cubicBezTo>
                <a:cubicBezTo>
                  <a:pt x="833" y="323"/>
                  <a:pt x="831" y="319"/>
                  <a:pt x="832" y="315"/>
                </a:cubicBezTo>
                <a:cubicBezTo>
                  <a:pt x="828" y="316"/>
                  <a:pt x="825" y="319"/>
                  <a:pt x="823" y="323"/>
                </a:cubicBezTo>
                <a:close/>
                <a:moveTo>
                  <a:pt x="814" y="337"/>
                </a:moveTo>
                <a:cubicBezTo>
                  <a:pt x="818" y="335"/>
                  <a:pt x="819" y="332"/>
                  <a:pt x="823" y="330"/>
                </a:cubicBezTo>
                <a:cubicBezTo>
                  <a:pt x="822" y="328"/>
                  <a:pt x="821" y="326"/>
                  <a:pt x="818" y="325"/>
                </a:cubicBezTo>
                <a:cubicBezTo>
                  <a:pt x="815" y="328"/>
                  <a:pt x="814" y="330"/>
                  <a:pt x="814" y="337"/>
                </a:cubicBezTo>
                <a:close/>
                <a:moveTo>
                  <a:pt x="830" y="327"/>
                </a:moveTo>
                <a:cubicBezTo>
                  <a:pt x="830" y="328"/>
                  <a:pt x="830" y="328"/>
                  <a:pt x="831" y="329"/>
                </a:cubicBezTo>
                <a:cubicBezTo>
                  <a:pt x="832" y="329"/>
                  <a:pt x="833" y="328"/>
                  <a:pt x="833" y="326"/>
                </a:cubicBezTo>
                <a:cubicBezTo>
                  <a:pt x="831" y="326"/>
                  <a:pt x="831" y="326"/>
                  <a:pt x="830" y="327"/>
                </a:cubicBezTo>
                <a:close/>
                <a:moveTo>
                  <a:pt x="838" y="332"/>
                </a:moveTo>
                <a:cubicBezTo>
                  <a:pt x="838" y="330"/>
                  <a:pt x="838" y="329"/>
                  <a:pt x="837" y="328"/>
                </a:cubicBezTo>
                <a:cubicBezTo>
                  <a:pt x="836" y="329"/>
                  <a:pt x="836" y="333"/>
                  <a:pt x="838" y="332"/>
                </a:cubicBezTo>
                <a:close/>
                <a:moveTo>
                  <a:pt x="817" y="340"/>
                </a:moveTo>
                <a:cubicBezTo>
                  <a:pt x="819" y="340"/>
                  <a:pt x="818" y="342"/>
                  <a:pt x="820" y="342"/>
                </a:cubicBezTo>
                <a:cubicBezTo>
                  <a:pt x="824" y="338"/>
                  <a:pt x="828" y="337"/>
                  <a:pt x="831" y="333"/>
                </a:cubicBezTo>
                <a:cubicBezTo>
                  <a:pt x="824" y="329"/>
                  <a:pt x="820" y="336"/>
                  <a:pt x="817" y="340"/>
                </a:cubicBezTo>
                <a:close/>
                <a:moveTo>
                  <a:pt x="823" y="344"/>
                </a:moveTo>
                <a:cubicBezTo>
                  <a:pt x="825" y="345"/>
                  <a:pt x="827" y="346"/>
                  <a:pt x="829" y="346"/>
                </a:cubicBezTo>
                <a:cubicBezTo>
                  <a:pt x="833" y="345"/>
                  <a:pt x="835" y="340"/>
                  <a:pt x="833" y="336"/>
                </a:cubicBezTo>
                <a:cubicBezTo>
                  <a:pt x="828" y="338"/>
                  <a:pt x="826" y="341"/>
                  <a:pt x="823" y="344"/>
                </a:cubicBezTo>
                <a:close/>
                <a:moveTo>
                  <a:pt x="809" y="342"/>
                </a:moveTo>
                <a:cubicBezTo>
                  <a:pt x="810" y="341"/>
                  <a:pt x="811" y="338"/>
                  <a:pt x="809" y="338"/>
                </a:cubicBezTo>
                <a:cubicBezTo>
                  <a:pt x="808" y="339"/>
                  <a:pt x="808" y="341"/>
                  <a:pt x="809" y="342"/>
                </a:cubicBezTo>
                <a:close/>
                <a:moveTo>
                  <a:pt x="814" y="357"/>
                </a:moveTo>
                <a:cubicBezTo>
                  <a:pt x="817" y="358"/>
                  <a:pt x="821" y="353"/>
                  <a:pt x="824" y="351"/>
                </a:cubicBezTo>
                <a:cubicBezTo>
                  <a:pt x="822" y="349"/>
                  <a:pt x="820" y="348"/>
                  <a:pt x="818" y="346"/>
                </a:cubicBezTo>
                <a:cubicBezTo>
                  <a:pt x="815" y="348"/>
                  <a:pt x="813" y="354"/>
                  <a:pt x="814" y="357"/>
                </a:cubicBezTo>
                <a:close/>
                <a:moveTo>
                  <a:pt x="831" y="350"/>
                </a:moveTo>
                <a:cubicBezTo>
                  <a:pt x="835" y="351"/>
                  <a:pt x="835" y="346"/>
                  <a:pt x="832" y="346"/>
                </a:cubicBezTo>
                <a:cubicBezTo>
                  <a:pt x="832" y="348"/>
                  <a:pt x="831" y="348"/>
                  <a:pt x="831" y="350"/>
                </a:cubicBezTo>
                <a:close/>
                <a:moveTo>
                  <a:pt x="839" y="355"/>
                </a:moveTo>
                <a:cubicBezTo>
                  <a:pt x="840" y="353"/>
                  <a:pt x="840" y="350"/>
                  <a:pt x="838" y="350"/>
                </a:cubicBezTo>
                <a:cubicBezTo>
                  <a:pt x="839" y="351"/>
                  <a:pt x="837" y="354"/>
                  <a:pt x="839" y="355"/>
                </a:cubicBezTo>
                <a:close/>
                <a:moveTo>
                  <a:pt x="818" y="361"/>
                </a:moveTo>
                <a:cubicBezTo>
                  <a:pt x="820" y="361"/>
                  <a:pt x="819" y="362"/>
                  <a:pt x="821" y="362"/>
                </a:cubicBezTo>
                <a:cubicBezTo>
                  <a:pt x="824" y="359"/>
                  <a:pt x="828" y="358"/>
                  <a:pt x="831" y="355"/>
                </a:cubicBezTo>
                <a:cubicBezTo>
                  <a:pt x="826" y="350"/>
                  <a:pt x="819" y="356"/>
                  <a:pt x="818" y="361"/>
                </a:cubicBezTo>
                <a:close/>
                <a:moveTo>
                  <a:pt x="824" y="364"/>
                </a:moveTo>
                <a:cubicBezTo>
                  <a:pt x="829" y="371"/>
                  <a:pt x="837" y="364"/>
                  <a:pt x="834" y="357"/>
                </a:cubicBezTo>
                <a:cubicBezTo>
                  <a:pt x="830" y="358"/>
                  <a:pt x="826" y="360"/>
                  <a:pt x="824" y="364"/>
                </a:cubicBezTo>
                <a:close/>
                <a:moveTo>
                  <a:pt x="819" y="374"/>
                </a:moveTo>
                <a:cubicBezTo>
                  <a:pt x="819" y="371"/>
                  <a:pt x="822" y="373"/>
                  <a:pt x="824" y="372"/>
                </a:cubicBezTo>
                <a:cubicBezTo>
                  <a:pt x="823" y="370"/>
                  <a:pt x="821" y="369"/>
                  <a:pt x="818" y="368"/>
                </a:cubicBezTo>
                <a:cubicBezTo>
                  <a:pt x="815" y="370"/>
                  <a:pt x="812" y="372"/>
                  <a:pt x="813" y="379"/>
                </a:cubicBezTo>
                <a:cubicBezTo>
                  <a:pt x="816" y="379"/>
                  <a:pt x="818" y="378"/>
                  <a:pt x="818" y="376"/>
                </a:cubicBezTo>
                <a:cubicBezTo>
                  <a:pt x="818" y="373"/>
                  <a:pt x="815" y="374"/>
                  <a:pt x="816" y="372"/>
                </a:cubicBezTo>
                <a:cubicBezTo>
                  <a:pt x="818" y="373"/>
                  <a:pt x="818" y="368"/>
                  <a:pt x="820" y="371"/>
                </a:cubicBezTo>
                <a:cubicBezTo>
                  <a:pt x="819" y="371"/>
                  <a:pt x="816" y="375"/>
                  <a:pt x="819" y="374"/>
                </a:cubicBezTo>
                <a:close/>
                <a:moveTo>
                  <a:pt x="842" y="377"/>
                </a:moveTo>
                <a:cubicBezTo>
                  <a:pt x="841" y="375"/>
                  <a:pt x="842" y="372"/>
                  <a:pt x="840" y="372"/>
                </a:cubicBezTo>
                <a:cubicBezTo>
                  <a:pt x="840" y="374"/>
                  <a:pt x="839" y="377"/>
                  <a:pt x="842" y="377"/>
                </a:cubicBezTo>
                <a:close/>
                <a:moveTo>
                  <a:pt x="825" y="374"/>
                </a:moveTo>
                <a:cubicBezTo>
                  <a:pt x="825" y="375"/>
                  <a:pt x="825" y="376"/>
                  <a:pt x="825" y="376"/>
                </a:cubicBezTo>
                <a:cubicBezTo>
                  <a:pt x="826" y="377"/>
                  <a:pt x="830" y="378"/>
                  <a:pt x="831" y="376"/>
                </a:cubicBezTo>
                <a:cubicBezTo>
                  <a:pt x="830" y="375"/>
                  <a:pt x="828" y="372"/>
                  <a:pt x="825" y="374"/>
                </a:cubicBezTo>
                <a:close/>
                <a:moveTo>
                  <a:pt x="818" y="381"/>
                </a:moveTo>
                <a:cubicBezTo>
                  <a:pt x="822" y="385"/>
                  <a:pt x="822" y="377"/>
                  <a:pt x="825" y="379"/>
                </a:cubicBezTo>
                <a:cubicBezTo>
                  <a:pt x="825" y="377"/>
                  <a:pt x="825" y="376"/>
                  <a:pt x="822" y="376"/>
                </a:cubicBezTo>
                <a:cubicBezTo>
                  <a:pt x="823" y="380"/>
                  <a:pt x="817" y="377"/>
                  <a:pt x="818" y="381"/>
                </a:cubicBezTo>
                <a:close/>
                <a:moveTo>
                  <a:pt x="824" y="383"/>
                </a:moveTo>
                <a:cubicBezTo>
                  <a:pt x="828" y="389"/>
                  <a:pt x="838" y="387"/>
                  <a:pt x="835" y="379"/>
                </a:cubicBezTo>
                <a:cubicBezTo>
                  <a:pt x="829" y="378"/>
                  <a:pt x="830" y="384"/>
                  <a:pt x="824" y="383"/>
                </a:cubicBezTo>
                <a:close/>
                <a:moveTo>
                  <a:pt x="809" y="383"/>
                </a:moveTo>
                <a:cubicBezTo>
                  <a:pt x="810" y="380"/>
                  <a:pt x="809" y="379"/>
                  <a:pt x="807" y="379"/>
                </a:cubicBezTo>
                <a:cubicBezTo>
                  <a:pt x="807" y="381"/>
                  <a:pt x="807" y="383"/>
                  <a:pt x="809" y="383"/>
                </a:cubicBezTo>
                <a:close/>
                <a:moveTo>
                  <a:pt x="813" y="393"/>
                </a:moveTo>
                <a:cubicBezTo>
                  <a:pt x="816" y="391"/>
                  <a:pt x="821" y="393"/>
                  <a:pt x="823" y="390"/>
                </a:cubicBezTo>
                <a:cubicBezTo>
                  <a:pt x="820" y="389"/>
                  <a:pt x="812" y="386"/>
                  <a:pt x="813" y="393"/>
                </a:cubicBezTo>
                <a:close/>
                <a:moveTo>
                  <a:pt x="817" y="401"/>
                </a:moveTo>
                <a:cubicBezTo>
                  <a:pt x="824" y="400"/>
                  <a:pt x="829" y="401"/>
                  <a:pt x="832" y="396"/>
                </a:cubicBezTo>
                <a:cubicBezTo>
                  <a:pt x="826" y="393"/>
                  <a:pt x="820" y="397"/>
                  <a:pt x="817" y="401"/>
                </a:cubicBezTo>
                <a:close/>
                <a:moveTo>
                  <a:pt x="812" y="396"/>
                </a:moveTo>
                <a:cubicBezTo>
                  <a:pt x="812" y="397"/>
                  <a:pt x="812" y="398"/>
                  <a:pt x="812" y="399"/>
                </a:cubicBezTo>
                <a:cubicBezTo>
                  <a:pt x="815" y="399"/>
                  <a:pt x="816" y="398"/>
                  <a:pt x="818" y="396"/>
                </a:cubicBezTo>
                <a:cubicBezTo>
                  <a:pt x="817" y="395"/>
                  <a:pt x="813" y="395"/>
                  <a:pt x="812" y="396"/>
                </a:cubicBezTo>
                <a:close/>
                <a:moveTo>
                  <a:pt x="865" y="400"/>
                </a:moveTo>
                <a:cubicBezTo>
                  <a:pt x="859" y="401"/>
                  <a:pt x="856" y="398"/>
                  <a:pt x="849" y="397"/>
                </a:cubicBezTo>
                <a:cubicBezTo>
                  <a:pt x="852" y="400"/>
                  <a:pt x="862" y="403"/>
                  <a:pt x="865" y="400"/>
                </a:cubicBezTo>
                <a:close/>
                <a:moveTo>
                  <a:pt x="778" y="407"/>
                </a:moveTo>
                <a:cubicBezTo>
                  <a:pt x="785" y="411"/>
                  <a:pt x="793" y="404"/>
                  <a:pt x="801" y="403"/>
                </a:cubicBezTo>
                <a:cubicBezTo>
                  <a:pt x="801" y="400"/>
                  <a:pt x="802" y="400"/>
                  <a:pt x="801" y="398"/>
                </a:cubicBezTo>
                <a:cubicBezTo>
                  <a:pt x="792" y="400"/>
                  <a:pt x="784" y="402"/>
                  <a:pt x="778" y="407"/>
                </a:cubicBezTo>
                <a:close/>
                <a:moveTo>
                  <a:pt x="824" y="404"/>
                </a:moveTo>
                <a:cubicBezTo>
                  <a:pt x="823" y="403"/>
                  <a:pt x="819" y="403"/>
                  <a:pt x="817" y="403"/>
                </a:cubicBezTo>
                <a:cubicBezTo>
                  <a:pt x="817" y="407"/>
                  <a:pt x="823" y="407"/>
                  <a:pt x="824" y="404"/>
                </a:cubicBezTo>
                <a:close/>
                <a:moveTo>
                  <a:pt x="822" y="409"/>
                </a:moveTo>
                <a:cubicBezTo>
                  <a:pt x="825" y="410"/>
                  <a:pt x="826" y="413"/>
                  <a:pt x="830" y="413"/>
                </a:cubicBezTo>
                <a:cubicBezTo>
                  <a:pt x="832" y="410"/>
                  <a:pt x="836" y="409"/>
                  <a:pt x="837" y="405"/>
                </a:cubicBezTo>
                <a:cubicBezTo>
                  <a:pt x="831" y="401"/>
                  <a:pt x="825" y="406"/>
                  <a:pt x="822" y="409"/>
                </a:cubicBezTo>
                <a:close/>
                <a:moveTo>
                  <a:pt x="846" y="404"/>
                </a:moveTo>
                <a:cubicBezTo>
                  <a:pt x="847" y="408"/>
                  <a:pt x="846" y="414"/>
                  <a:pt x="849" y="415"/>
                </a:cubicBezTo>
                <a:cubicBezTo>
                  <a:pt x="851" y="412"/>
                  <a:pt x="858" y="410"/>
                  <a:pt x="856" y="405"/>
                </a:cubicBezTo>
                <a:cubicBezTo>
                  <a:pt x="853" y="404"/>
                  <a:pt x="849" y="404"/>
                  <a:pt x="846" y="404"/>
                </a:cubicBezTo>
                <a:close/>
                <a:moveTo>
                  <a:pt x="883" y="404"/>
                </a:moveTo>
                <a:cubicBezTo>
                  <a:pt x="881" y="404"/>
                  <a:pt x="877" y="403"/>
                  <a:pt x="876" y="405"/>
                </a:cubicBezTo>
                <a:cubicBezTo>
                  <a:pt x="878" y="405"/>
                  <a:pt x="882" y="406"/>
                  <a:pt x="883" y="404"/>
                </a:cubicBezTo>
                <a:close/>
                <a:moveTo>
                  <a:pt x="812" y="413"/>
                </a:moveTo>
                <a:cubicBezTo>
                  <a:pt x="814" y="414"/>
                  <a:pt x="816" y="411"/>
                  <a:pt x="816" y="409"/>
                </a:cubicBezTo>
                <a:cubicBezTo>
                  <a:pt x="814" y="409"/>
                  <a:pt x="815" y="406"/>
                  <a:pt x="812" y="407"/>
                </a:cubicBezTo>
                <a:cubicBezTo>
                  <a:pt x="812" y="409"/>
                  <a:pt x="812" y="411"/>
                  <a:pt x="812" y="413"/>
                </a:cubicBezTo>
                <a:close/>
                <a:moveTo>
                  <a:pt x="841" y="412"/>
                </a:moveTo>
                <a:cubicBezTo>
                  <a:pt x="841" y="411"/>
                  <a:pt x="843" y="407"/>
                  <a:pt x="840" y="407"/>
                </a:cubicBezTo>
                <a:cubicBezTo>
                  <a:pt x="841" y="408"/>
                  <a:pt x="839" y="412"/>
                  <a:pt x="841" y="412"/>
                </a:cubicBezTo>
                <a:close/>
                <a:moveTo>
                  <a:pt x="864" y="411"/>
                </a:moveTo>
                <a:cubicBezTo>
                  <a:pt x="867" y="411"/>
                  <a:pt x="868" y="409"/>
                  <a:pt x="868" y="407"/>
                </a:cubicBezTo>
                <a:cubicBezTo>
                  <a:pt x="864" y="406"/>
                  <a:pt x="863" y="408"/>
                  <a:pt x="864" y="411"/>
                </a:cubicBezTo>
                <a:close/>
                <a:moveTo>
                  <a:pt x="786" y="411"/>
                </a:moveTo>
                <a:cubicBezTo>
                  <a:pt x="789" y="416"/>
                  <a:pt x="794" y="420"/>
                  <a:pt x="800" y="423"/>
                </a:cubicBezTo>
                <a:cubicBezTo>
                  <a:pt x="800" y="418"/>
                  <a:pt x="802" y="411"/>
                  <a:pt x="801" y="407"/>
                </a:cubicBezTo>
                <a:cubicBezTo>
                  <a:pt x="795" y="408"/>
                  <a:pt x="791" y="410"/>
                  <a:pt x="786" y="411"/>
                </a:cubicBezTo>
                <a:close/>
                <a:moveTo>
                  <a:pt x="872" y="409"/>
                </a:moveTo>
                <a:cubicBezTo>
                  <a:pt x="874" y="410"/>
                  <a:pt x="876" y="413"/>
                  <a:pt x="879" y="415"/>
                </a:cubicBezTo>
                <a:cubicBezTo>
                  <a:pt x="883" y="414"/>
                  <a:pt x="887" y="413"/>
                  <a:pt x="889" y="410"/>
                </a:cubicBezTo>
                <a:cubicBezTo>
                  <a:pt x="883" y="410"/>
                  <a:pt x="876" y="405"/>
                  <a:pt x="872" y="409"/>
                </a:cubicBezTo>
                <a:close/>
                <a:moveTo>
                  <a:pt x="777" y="411"/>
                </a:moveTo>
                <a:cubicBezTo>
                  <a:pt x="777" y="408"/>
                  <a:pt x="775" y="408"/>
                  <a:pt x="773" y="408"/>
                </a:cubicBezTo>
                <a:cubicBezTo>
                  <a:pt x="772" y="411"/>
                  <a:pt x="775" y="410"/>
                  <a:pt x="777" y="411"/>
                </a:cubicBezTo>
                <a:close/>
                <a:moveTo>
                  <a:pt x="751" y="417"/>
                </a:moveTo>
                <a:cubicBezTo>
                  <a:pt x="759" y="416"/>
                  <a:pt x="766" y="415"/>
                  <a:pt x="771" y="411"/>
                </a:cubicBezTo>
                <a:cubicBezTo>
                  <a:pt x="764" y="409"/>
                  <a:pt x="756" y="413"/>
                  <a:pt x="751" y="417"/>
                </a:cubicBezTo>
                <a:close/>
                <a:moveTo>
                  <a:pt x="848" y="417"/>
                </a:moveTo>
                <a:cubicBezTo>
                  <a:pt x="849" y="419"/>
                  <a:pt x="847" y="419"/>
                  <a:pt x="848" y="420"/>
                </a:cubicBezTo>
                <a:cubicBezTo>
                  <a:pt x="857" y="422"/>
                  <a:pt x="861" y="418"/>
                  <a:pt x="863" y="412"/>
                </a:cubicBezTo>
                <a:cubicBezTo>
                  <a:pt x="860" y="414"/>
                  <a:pt x="860" y="411"/>
                  <a:pt x="857" y="411"/>
                </a:cubicBezTo>
                <a:cubicBezTo>
                  <a:pt x="855" y="413"/>
                  <a:pt x="853" y="416"/>
                  <a:pt x="848" y="417"/>
                </a:cubicBezTo>
                <a:close/>
                <a:moveTo>
                  <a:pt x="881" y="418"/>
                </a:moveTo>
                <a:cubicBezTo>
                  <a:pt x="889" y="421"/>
                  <a:pt x="893" y="415"/>
                  <a:pt x="897" y="412"/>
                </a:cubicBezTo>
                <a:cubicBezTo>
                  <a:pt x="892" y="409"/>
                  <a:pt x="885" y="416"/>
                  <a:pt x="881" y="418"/>
                </a:cubicBezTo>
                <a:close/>
                <a:moveTo>
                  <a:pt x="832" y="415"/>
                </a:moveTo>
                <a:cubicBezTo>
                  <a:pt x="833" y="417"/>
                  <a:pt x="835" y="418"/>
                  <a:pt x="837" y="419"/>
                </a:cubicBezTo>
                <a:cubicBezTo>
                  <a:pt x="838" y="412"/>
                  <a:pt x="835" y="410"/>
                  <a:pt x="832" y="415"/>
                </a:cubicBezTo>
                <a:close/>
                <a:moveTo>
                  <a:pt x="872" y="418"/>
                </a:moveTo>
                <a:cubicBezTo>
                  <a:pt x="873" y="417"/>
                  <a:pt x="877" y="418"/>
                  <a:pt x="877" y="416"/>
                </a:cubicBezTo>
                <a:cubicBezTo>
                  <a:pt x="873" y="416"/>
                  <a:pt x="874" y="411"/>
                  <a:pt x="870" y="411"/>
                </a:cubicBezTo>
                <a:cubicBezTo>
                  <a:pt x="869" y="413"/>
                  <a:pt x="872" y="415"/>
                  <a:pt x="872" y="418"/>
                </a:cubicBezTo>
                <a:close/>
                <a:moveTo>
                  <a:pt x="812" y="422"/>
                </a:moveTo>
                <a:cubicBezTo>
                  <a:pt x="820" y="426"/>
                  <a:pt x="821" y="418"/>
                  <a:pt x="820" y="413"/>
                </a:cubicBezTo>
                <a:cubicBezTo>
                  <a:pt x="816" y="412"/>
                  <a:pt x="813" y="417"/>
                  <a:pt x="812" y="422"/>
                </a:cubicBezTo>
                <a:close/>
                <a:moveTo>
                  <a:pt x="891" y="418"/>
                </a:moveTo>
                <a:cubicBezTo>
                  <a:pt x="899" y="419"/>
                  <a:pt x="907" y="419"/>
                  <a:pt x="913" y="417"/>
                </a:cubicBezTo>
                <a:cubicBezTo>
                  <a:pt x="915" y="418"/>
                  <a:pt x="919" y="420"/>
                  <a:pt x="921" y="417"/>
                </a:cubicBezTo>
                <a:cubicBezTo>
                  <a:pt x="913" y="412"/>
                  <a:pt x="898" y="412"/>
                  <a:pt x="891" y="418"/>
                </a:cubicBezTo>
                <a:close/>
                <a:moveTo>
                  <a:pt x="777" y="417"/>
                </a:moveTo>
                <a:cubicBezTo>
                  <a:pt x="780" y="417"/>
                  <a:pt x="780" y="413"/>
                  <a:pt x="777" y="413"/>
                </a:cubicBezTo>
                <a:cubicBezTo>
                  <a:pt x="777" y="415"/>
                  <a:pt x="777" y="416"/>
                  <a:pt x="777" y="417"/>
                </a:cubicBezTo>
                <a:close/>
                <a:moveTo>
                  <a:pt x="781" y="415"/>
                </a:moveTo>
                <a:cubicBezTo>
                  <a:pt x="781" y="416"/>
                  <a:pt x="780" y="421"/>
                  <a:pt x="783" y="424"/>
                </a:cubicBezTo>
                <a:cubicBezTo>
                  <a:pt x="787" y="425"/>
                  <a:pt x="788" y="423"/>
                  <a:pt x="792" y="424"/>
                </a:cubicBezTo>
                <a:cubicBezTo>
                  <a:pt x="790" y="420"/>
                  <a:pt x="785" y="416"/>
                  <a:pt x="781" y="415"/>
                </a:cubicBezTo>
                <a:close/>
                <a:moveTo>
                  <a:pt x="822" y="420"/>
                </a:moveTo>
                <a:cubicBezTo>
                  <a:pt x="823" y="418"/>
                  <a:pt x="825" y="418"/>
                  <a:pt x="825" y="416"/>
                </a:cubicBezTo>
                <a:cubicBezTo>
                  <a:pt x="825" y="415"/>
                  <a:pt x="823" y="414"/>
                  <a:pt x="821" y="414"/>
                </a:cubicBezTo>
                <a:cubicBezTo>
                  <a:pt x="822" y="417"/>
                  <a:pt x="820" y="418"/>
                  <a:pt x="822" y="420"/>
                </a:cubicBezTo>
                <a:close/>
                <a:moveTo>
                  <a:pt x="760" y="420"/>
                </a:moveTo>
                <a:cubicBezTo>
                  <a:pt x="763" y="423"/>
                  <a:pt x="768" y="425"/>
                  <a:pt x="772" y="426"/>
                </a:cubicBezTo>
                <a:cubicBezTo>
                  <a:pt x="774" y="424"/>
                  <a:pt x="772" y="420"/>
                  <a:pt x="773" y="416"/>
                </a:cubicBezTo>
                <a:cubicBezTo>
                  <a:pt x="770" y="416"/>
                  <a:pt x="762" y="417"/>
                  <a:pt x="760" y="420"/>
                </a:cubicBezTo>
                <a:close/>
                <a:moveTo>
                  <a:pt x="843" y="420"/>
                </a:moveTo>
                <a:cubicBezTo>
                  <a:pt x="844" y="419"/>
                  <a:pt x="844" y="416"/>
                  <a:pt x="842" y="416"/>
                </a:cubicBezTo>
                <a:cubicBezTo>
                  <a:pt x="843" y="418"/>
                  <a:pt x="840" y="420"/>
                  <a:pt x="843" y="420"/>
                </a:cubicBezTo>
                <a:close/>
                <a:moveTo>
                  <a:pt x="862" y="420"/>
                </a:moveTo>
                <a:cubicBezTo>
                  <a:pt x="864" y="419"/>
                  <a:pt x="867" y="420"/>
                  <a:pt x="868" y="419"/>
                </a:cubicBezTo>
                <a:cubicBezTo>
                  <a:pt x="868" y="418"/>
                  <a:pt x="868" y="417"/>
                  <a:pt x="868" y="416"/>
                </a:cubicBezTo>
                <a:cubicBezTo>
                  <a:pt x="865" y="416"/>
                  <a:pt x="862" y="417"/>
                  <a:pt x="862" y="420"/>
                </a:cubicBezTo>
                <a:close/>
                <a:moveTo>
                  <a:pt x="805" y="421"/>
                </a:moveTo>
                <a:cubicBezTo>
                  <a:pt x="806" y="420"/>
                  <a:pt x="807" y="417"/>
                  <a:pt x="805" y="417"/>
                </a:cubicBezTo>
                <a:cubicBezTo>
                  <a:pt x="805" y="418"/>
                  <a:pt x="803" y="420"/>
                  <a:pt x="805" y="421"/>
                </a:cubicBezTo>
                <a:close/>
                <a:moveTo>
                  <a:pt x="745" y="419"/>
                </a:moveTo>
                <a:cubicBezTo>
                  <a:pt x="747" y="419"/>
                  <a:pt x="750" y="420"/>
                  <a:pt x="750" y="417"/>
                </a:cubicBezTo>
                <a:cubicBezTo>
                  <a:pt x="748" y="418"/>
                  <a:pt x="744" y="416"/>
                  <a:pt x="745" y="419"/>
                </a:cubicBezTo>
                <a:close/>
                <a:moveTo>
                  <a:pt x="937" y="418"/>
                </a:moveTo>
                <a:cubicBezTo>
                  <a:pt x="936" y="417"/>
                  <a:pt x="933" y="418"/>
                  <a:pt x="931" y="417"/>
                </a:cubicBezTo>
                <a:cubicBezTo>
                  <a:pt x="930" y="420"/>
                  <a:pt x="936" y="419"/>
                  <a:pt x="937" y="418"/>
                </a:cubicBezTo>
                <a:close/>
                <a:moveTo>
                  <a:pt x="775" y="426"/>
                </a:moveTo>
                <a:cubicBezTo>
                  <a:pt x="777" y="425"/>
                  <a:pt x="779" y="425"/>
                  <a:pt x="779" y="424"/>
                </a:cubicBezTo>
                <a:cubicBezTo>
                  <a:pt x="778" y="422"/>
                  <a:pt x="778" y="418"/>
                  <a:pt x="775" y="418"/>
                </a:cubicBezTo>
                <a:cubicBezTo>
                  <a:pt x="775" y="421"/>
                  <a:pt x="774" y="424"/>
                  <a:pt x="775" y="426"/>
                </a:cubicBezTo>
                <a:close/>
                <a:moveTo>
                  <a:pt x="739" y="421"/>
                </a:moveTo>
                <a:cubicBezTo>
                  <a:pt x="741" y="422"/>
                  <a:pt x="745" y="420"/>
                  <a:pt x="743" y="419"/>
                </a:cubicBezTo>
                <a:cubicBezTo>
                  <a:pt x="743" y="421"/>
                  <a:pt x="738" y="418"/>
                  <a:pt x="739" y="421"/>
                </a:cubicBezTo>
                <a:close/>
                <a:moveTo>
                  <a:pt x="825" y="422"/>
                </a:moveTo>
                <a:cubicBezTo>
                  <a:pt x="828" y="421"/>
                  <a:pt x="830" y="422"/>
                  <a:pt x="831" y="420"/>
                </a:cubicBezTo>
                <a:cubicBezTo>
                  <a:pt x="829" y="419"/>
                  <a:pt x="825" y="419"/>
                  <a:pt x="825" y="422"/>
                </a:cubicBezTo>
                <a:close/>
                <a:moveTo>
                  <a:pt x="734" y="428"/>
                </a:moveTo>
                <a:cubicBezTo>
                  <a:pt x="744" y="430"/>
                  <a:pt x="754" y="429"/>
                  <a:pt x="762" y="426"/>
                </a:cubicBezTo>
                <a:cubicBezTo>
                  <a:pt x="755" y="419"/>
                  <a:pt x="740" y="423"/>
                  <a:pt x="734" y="428"/>
                </a:cubicBezTo>
                <a:close/>
                <a:moveTo>
                  <a:pt x="855" y="428"/>
                </a:moveTo>
                <a:cubicBezTo>
                  <a:pt x="860" y="426"/>
                  <a:pt x="872" y="428"/>
                  <a:pt x="872" y="424"/>
                </a:cubicBezTo>
                <a:cubicBezTo>
                  <a:pt x="869" y="427"/>
                  <a:pt x="855" y="421"/>
                  <a:pt x="855" y="428"/>
                </a:cubicBezTo>
                <a:close/>
                <a:moveTo>
                  <a:pt x="953" y="427"/>
                </a:moveTo>
                <a:cubicBezTo>
                  <a:pt x="953" y="425"/>
                  <a:pt x="953" y="424"/>
                  <a:pt x="952" y="424"/>
                </a:cubicBezTo>
                <a:cubicBezTo>
                  <a:pt x="951" y="424"/>
                  <a:pt x="950" y="425"/>
                  <a:pt x="948" y="424"/>
                </a:cubicBezTo>
                <a:cubicBezTo>
                  <a:pt x="951" y="428"/>
                  <a:pt x="951" y="434"/>
                  <a:pt x="956" y="436"/>
                </a:cubicBezTo>
                <a:cubicBezTo>
                  <a:pt x="954" y="431"/>
                  <a:pt x="956" y="426"/>
                  <a:pt x="954" y="424"/>
                </a:cubicBezTo>
                <a:cubicBezTo>
                  <a:pt x="953" y="425"/>
                  <a:pt x="956" y="427"/>
                  <a:pt x="953" y="427"/>
                </a:cubicBezTo>
                <a:close/>
                <a:moveTo>
                  <a:pt x="817" y="430"/>
                </a:moveTo>
                <a:cubicBezTo>
                  <a:pt x="821" y="429"/>
                  <a:pt x="827" y="433"/>
                  <a:pt x="828" y="428"/>
                </a:cubicBezTo>
                <a:cubicBezTo>
                  <a:pt x="824" y="426"/>
                  <a:pt x="818" y="425"/>
                  <a:pt x="817" y="430"/>
                </a:cubicBezTo>
                <a:close/>
                <a:moveTo>
                  <a:pt x="783" y="430"/>
                </a:moveTo>
                <a:cubicBezTo>
                  <a:pt x="789" y="430"/>
                  <a:pt x="796" y="433"/>
                  <a:pt x="799" y="428"/>
                </a:cubicBezTo>
                <a:cubicBezTo>
                  <a:pt x="795" y="429"/>
                  <a:pt x="786" y="428"/>
                  <a:pt x="783" y="430"/>
                </a:cubicBezTo>
                <a:close/>
                <a:moveTo>
                  <a:pt x="757" y="433"/>
                </a:moveTo>
                <a:cubicBezTo>
                  <a:pt x="762" y="433"/>
                  <a:pt x="766" y="431"/>
                  <a:pt x="771" y="433"/>
                </a:cubicBezTo>
                <a:cubicBezTo>
                  <a:pt x="768" y="430"/>
                  <a:pt x="759" y="431"/>
                  <a:pt x="757" y="433"/>
                </a:cubicBezTo>
                <a:close/>
                <a:moveTo>
                  <a:pt x="824" y="436"/>
                </a:moveTo>
                <a:cubicBezTo>
                  <a:pt x="828" y="437"/>
                  <a:pt x="829" y="439"/>
                  <a:pt x="832" y="440"/>
                </a:cubicBezTo>
                <a:cubicBezTo>
                  <a:pt x="834" y="438"/>
                  <a:pt x="838" y="437"/>
                  <a:pt x="838" y="434"/>
                </a:cubicBezTo>
                <a:cubicBezTo>
                  <a:pt x="834" y="433"/>
                  <a:pt x="826" y="433"/>
                  <a:pt x="824" y="436"/>
                </a:cubicBezTo>
                <a:close/>
                <a:moveTo>
                  <a:pt x="792" y="437"/>
                </a:moveTo>
                <a:cubicBezTo>
                  <a:pt x="795" y="438"/>
                  <a:pt x="796" y="443"/>
                  <a:pt x="799" y="445"/>
                </a:cubicBezTo>
                <a:cubicBezTo>
                  <a:pt x="800" y="443"/>
                  <a:pt x="799" y="438"/>
                  <a:pt x="800" y="435"/>
                </a:cubicBezTo>
                <a:cubicBezTo>
                  <a:pt x="797" y="437"/>
                  <a:pt x="793" y="434"/>
                  <a:pt x="792" y="437"/>
                </a:cubicBezTo>
                <a:close/>
                <a:moveTo>
                  <a:pt x="811" y="452"/>
                </a:moveTo>
                <a:cubicBezTo>
                  <a:pt x="817" y="451"/>
                  <a:pt x="821" y="447"/>
                  <a:pt x="825" y="443"/>
                </a:cubicBezTo>
                <a:cubicBezTo>
                  <a:pt x="818" y="437"/>
                  <a:pt x="809" y="441"/>
                  <a:pt x="811" y="452"/>
                </a:cubicBezTo>
                <a:close/>
                <a:moveTo>
                  <a:pt x="835" y="442"/>
                </a:moveTo>
                <a:cubicBezTo>
                  <a:pt x="836" y="443"/>
                  <a:pt x="837" y="443"/>
                  <a:pt x="839" y="443"/>
                </a:cubicBezTo>
                <a:cubicBezTo>
                  <a:pt x="839" y="441"/>
                  <a:pt x="839" y="440"/>
                  <a:pt x="838" y="439"/>
                </a:cubicBezTo>
                <a:cubicBezTo>
                  <a:pt x="837" y="439"/>
                  <a:pt x="837" y="439"/>
                  <a:pt x="836" y="439"/>
                </a:cubicBezTo>
                <a:cubicBezTo>
                  <a:pt x="836" y="441"/>
                  <a:pt x="835" y="441"/>
                  <a:pt x="835" y="442"/>
                </a:cubicBezTo>
                <a:close/>
                <a:moveTo>
                  <a:pt x="847" y="451"/>
                </a:moveTo>
                <a:cubicBezTo>
                  <a:pt x="845" y="449"/>
                  <a:pt x="847" y="443"/>
                  <a:pt x="844" y="441"/>
                </a:cubicBezTo>
                <a:cubicBezTo>
                  <a:pt x="843" y="444"/>
                  <a:pt x="843" y="452"/>
                  <a:pt x="847" y="451"/>
                </a:cubicBezTo>
                <a:close/>
                <a:moveTo>
                  <a:pt x="816" y="453"/>
                </a:moveTo>
                <a:cubicBezTo>
                  <a:pt x="816" y="456"/>
                  <a:pt x="819" y="456"/>
                  <a:pt x="820" y="457"/>
                </a:cubicBezTo>
                <a:cubicBezTo>
                  <a:pt x="824" y="454"/>
                  <a:pt x="830" y="453"/>
                  <a:pt x="833" y="449"/>
                </a:cubicBezTo>
                <a:cubicBezTo>
                  <a:pt x="828" y="440"/>
                  <a:pt x="823" y="453"/>
                  <a:pt x="816" y="453"/>
                </a:cubicBezTo>
                <a:close/>
                <a:moveTo>
                  <a:pt x="825" y="459"/>
                </a:moveTo>
                <a:cubicBezTo>
                  <a:pt x="831" y="465"/>
                  <a:pt x="843" y="462"/>
                  <a:pt x="839" y="451"/>
                </a:cubicBezTo>
                <a:cubicBezTo>
                  <a:pt x="833" y="453"/>
                  <a:pt x="828" y="455"/>
                  <a:pt x="825" y="459"/>
                </a:cubicBezTo>
                <a:close/>
                <a:moveTo>
                  <a:pt x="805" y="465"/>
                </a:moveTo>
                <a:cubicBezTo>
                  <a:pt x="805" y="465"/>
                  <a:pt x="807" y="466"/>
                  <a:pt x="807" y="465"/>
                </a:cubicBezTo>
                <a:cubicBezTo>
                  <a:pt x="805" y="464"/>
                  <a:pt x="808" y="463"/>
                  <a:pt x="807" y="462"/>
                </a:cubicBezTo>
                <a:cubicBezTo>
                  <a:pt x="806" y="462"/>
                  <a:pt x="805" y="463"/>
                  <a:pt x="805" y="465"/>
                </a:cubicBezTo>
                <a:close/>
                <a:moveTo>
                  <a:pt x="837" y="466"/>
                </a:moveTo>
                <a:cubicBezTo>
                  <a:pt x="838" y="466"/>
                  <a:pt x="840" y="466"/>
                  <a:pt x="840" y="465"/>
                </a:cubicBezTo>
                <a:cubicBezTo>
                  <a:pt x="839" y="464"/>
                  <a:pt x="840" y="462"/>
                  <a:pt x="837" y="463"/>
                </a:cubicBezTo>
                <a:cubicBezTo>
                  <a:pt x="837" y="463"/>
                  <a:pt x="837" y="464"/>
                  <a:pt x="837" y="466"/>
                </a:cubicBezTo>
                <a:close/>
                <a:moveTo>
                  <a:pt x="814" y="464"/>
                </a:moveTo>
                <a:cubicBezTo>
                  <a:pt x="813" y="468"/>
                  <a:pt x="819" y="467"/>
                  <a:pt x="818" y="471"/>
                </a:cubicBezTo>
                <a:cubicBezTo>
                  <a:pt x="822" y="471"/>
                  <a:pt x="823" y="469"/>
                  <a:pt x="826" y="467"/>
                </a:cubicBezTo>
                <a:cubicBezTo>
                  <a:pt x="822" y="466"/>
                  <a:pt x="819" y="462"/>
                  <a:pt x="814" y="464"/>
                </a:cubicBezTo>
                <a:close/>
                <a:moveTo>
                  <a:pt x="849" y="476"/>
                </a:moveTo>
                <a:cubicBezTo>
                  <a:pt x="849" y="471"/>
                  <a:pt x="849" y="467"/>
                  <a:pt x="846" y="466"/>
                </a:cubicBezTo>
                <a:cubicBezTo>
                  <a:pt x="844" y="469"/>
                  <a:pt x="846" y="475"/>
                  <a:pt x="849" y="476"/>
                </a:cubicBezTo>
                <a:close/>
                <a:moveTo>
                  <a:pt x="811" y="476"/>
                </a:moveTo>
                <a:cubicBezTo>
                  <a:pt x="818" y="477"/>
                  <a:pt x="817" y="467"/>
                  <a:pt x="811" y="467"/>
                </a:cubicBezTo>
                <a:cubicBezTo>
                  <a:pt x="811" y="469"/>
                  <a:pt x="809" y="473"/>
                  <a:pt x="811" y="476"/>
                </a:cubicBezTo>
                <a:close/>
                <a:moveTo>
                  <a:pt x="822" y="474"/>
                </a:moveTo>
                <a:cubicBezTo>
                  <a:pt x="822" y="475"/>
                  <a:pt x="822" y="476"/>
                  <a:pt x="822" y="477"/>
                </a:cubicBezTo>
                <a:cubicBezTo>
                  <a:pt x="824" y="477"/>
                  <a:pt x="824" y="478"/>
                  <a:pt x="826" y="478"/>
                </a:cubicBezTo>
                <a:cubicBezTo>
                  <a:pt x="828" y="475"/>
                  <a:pt x="833" y="475"/>
                  <a:pt x="835" y="471"/>
                </a:cubicBezTo>
                <a:cubicBezTo>
                  <a:pt x="830" y="467"/>
                  <a:pt x="826" y="472"/>
                  <a:pt x="822" y="474"/>
                </a:cubicBezTo>
                <a:close/>
                <a:moveTo>
                  <a:pt x="825" y="482"/>
                </a:moveTo>
                <a:cubicBezTo>
                  <a:pt x="829" y="485"/>
                  <a:pt x="836" y="487"/>
                  <a:pt x="841" y="483"/>
                </a:cubicBezTo>
                <a:cubicBezTo>
                  <a:pt x="842" y="480"/>
                  <a:pt x="841" y="479"/>
                  <a:pt x="841" y="475"/>
                </a:cubicBezTo>
                <a:cubicBezTo>
                  <a:pt x="834" y="473"/>
                  <a:pt x="831" y="480"/>
                  <a:pt x="825" y="482"/>
                </a:cubicBezTo>
                <a:close/>
                <a:moveTo>
                  <a:pt x="802" y="482"/>
                </a:moveTo>
                <a:cubicBezTo>
                  <a:pt x="804" y="483"/>
                  <a:pt x="806" y="480"/>
                  <a:pt x="806" y="478"/>
                </a:cubicBezTo>
                <a:cubicBezTo>
                  <a:pt x="804" y="477"/>
                  <a:pt x="803" y="476"/>
                  <a:pt x="801" y="476"/>
                </a:cubicBezTo>
                <a:cubicBezTo>
                  <a:pt x="801" y="478"/>
                  <a:pt x="802" y="479"/>
                  <a:pt x="802" y="482"/>
                </a:cubicBezTo>
                <a:close/>
                <a:moveTo>
                  <a:pt x="816" y="477"/>
                </a:moveTo>
                <a:cubicBezTo>
                  <a:pt x="816" y="479"/>
                  <a:pt x="819" y="480"/>
                  <a:pt x="822" y="480"/>
                </a:cubicBezTo>
                <a:cubicBezTo>
                  <a:pt x="821" y="475"/>
                  <a:pt x="819" y="476"/>
                  <a:pt x="816" y="477"/>
                </a:cubicBezTo>
                <a:close/>
                <a:moveTo>
                  <a:pt x="813" y="482"/>
                </a:moveTo>
                <a:cubicBezTo>
                  <a:pt x="814" y="482"/>
                  <a:pt x="814" y="483"/>
                  <a:pt x="816" y="482"/>
                </a:cubicBezTo>
                <a:cubicBezTo>
                  <a:pt x="816" y="482"/>
                  <a:pt x="816" y="481"/>
                  <a:pt x="816" y="480"/>
                </a:cubicBezTo>
                <a:cubicBezTo>
                  <a:pt x="814" y="480"/>
                  <a:pt x="813" y="481"/>
                  <a:pt x="813" y="482"/>
                </a:cubicBezTo>
                <a:close/>
                <a:moveTo>
                  <a:pt x="812" y="487"/>
                </a:moveTo>
                <a:cubicBezTo>
                  <a:pt x="813" y="485"/>
                  <a:pt x="812" y="484"/>
                  <a:pt x="811" y="484"/>
                </a:cubicBezTo>
                <a:cubicBezTo>
                  <a:pt x="810" y="485"/>
                  <a:pt x="810" y="487"/>
                  <a:pt x="812" y="487"/>
                </a:cubicBezTo>
                <a:close/>
                <a:moveTo>
                  <a:pt x="805" y="490"/>
                </a:moveTo>
                <a:cubicBezTo>
                  <a:pt x="806" y="489"/>
                  <a:pt x="807" y="484"/>
                  <a:pt x="805" y="484"/>
                </a:cubicBezTo>
                <a:cubicBezTo>
                  <a:pt x="805" y="487"/>
                  <a:pt x="803" y="489"/>
                  <a:pt x="805" y="490"/>
                </a:cubicBezTo>
                <a:close/>
                <a:moveTo>
                  <a:pt x="809" y="500"/>
                </a:moveTo>
                <a:cubicBezTo>
                  <a:pt x="814" y="500"/>
                  <a:pt x="820" y="494"/>
                  <a:pt x="826" y="491"/>
                </a:cubicBezTo>
                <a:cubicBezTo>
                  <a:pt x="818" y="483"/>
                  <a:pt x="807" y="488"/>
                  <a:pt x="809" y="500"/>
                </a:cubicBezTo>
                <a:close/>
                <a:moveTo>
                  <a:pt x="838" y="487"/>
                </a:moveTo>
                <a:cubicBezTo>
                  <a:pt x="838" y="489"/>
                  <a:pt x="839" y="490"/>
                  <a:pt x="842" y="490"/>
                </a:cubicBezTo>
                <a:cubicBezTo>
                  <a:pt x="842" y="489"/>
                  <a:pt x="842" y="488"/>
                  <a:pt x="842" y="487"/>
                </a:cubicBezTo>
                <a:cubicBezTo>
                  <a:pt x="841" y="486"/>
                  <a:pt x="839" y="486"/>
                  <a:pt x="838" y="487"/>
                </a:cubicBezTo>
                <a:close/>
                <a:moveTo>
                  <a:pt x="850" y="498"/>
                </a:moveTo>
                <a:cubicBezTo>
                  <a:pt x="851" y="496"/>
                  <a:pt x="850" y="490"/>
                  <a:pt x="848" y="488"/>
                </a:cubicBezTo>
                <a:cubicBezTo>
                  <a:pt x="846" y="491"/>
                  <a:pt x="846" y="498"/>
                  <a:pt x="850" y="498"/>
                </a:cubicBezTo>
                <a:close/>
                <a:moveTo>
                  <a:pt x="697" y="493"/>
                </a:moveTo>
                <a:cubicBezTo>
                  <a:pt x="701" y="494"/>
                  <a:pt x="701" y="489"/>
                  <a:pt x="698" y="489"/>
                </a:cubicBezTo>
                <a:cubicBezTo>
                  <a:pt x="698" y="491"/>
                  <a:pt x="697" y="491"/>
                  <a:pt x="697" y="493"/>
                </a:cubicBezTo>
                <a:close/>
                <a:moveTo>
                  <a:pt x="829" y="493"/>
                </a:moveTo>
                <a:cubicBezTo>
                  <a:pt x="823" y="497"/>
                  <a:pt x="815" y="500"/>
                  <a:pt x="811" y="504"/>
                </a:cubicBezTo>
                <a:cubicBezTo>
                  <a:pt x="818" y="520"/>
                  <a:pt x="830" y="505"/>
                  <a:pt x="836" y="497"/>
                </a:cubicBezTo>
                <a:cubicBezTo>
                  <a:pt x="835" y="495"/>
                  <a:pt x="833" y="493"/>
                  <a:pt x="829" y="493"/>
                </a:cubicBezTo>
                <a:close/>
                <a:moveTo>
                  <a:pt x="803" y="498"/>
                </a:moveTo>
                <a:cubicBezTo>
                  <a:pt x="805" y="496"/>
                  <a:pt x="803" y="494"/>
                  <a:pt x="801" y="494"/>
                </a:cubicBezTo>
                <a:cubicBezTo>
                  <a:pt x="800" y="497"/>
                  <a:pt x="801" y="498"/>
                  <a:pt x="803" y="498"/>
                </a:cubicBezTo>
                <a:close/>
                <a:moveTo>
                  <a:pt x="827" y="514"/>
                </a:moveTo>
                <a:cubicBezTo>
                  <a:pt x="835" y="512"/>
                  <a:pt x="848" y="513"/>
                  <a:pt x="840" y="502"/>
                </a:cubicBezTo>
                <a:cubicBezTo>
                  <a:pt x="840" y="501"/>
                  <a:pt x="843" y="499"/>
                  <a:pt x="840" y="499"/>
                </a:cubicBezTo>
                <a:cubicBezTo>
                  <a:pt x="837" y="505"/>
                  <a:pt x="827" y="507"/>
                  <a:pt x="827" y="514"/>
                </a:cubicBezTo>
                <a:close/>
                <a:moveTo>
                  <a:pt x="801" y="509"/>
                </a:moveTo>
                <a:cubicBezTo>
                  <a:pt x="805" y="509"/>
                  <a:pt x="804" y="501"/>
                  <a:pt x="801" y="501"/>
                </a:cubicBezTo>
                <a:cubicBezTo>
                  <a:pt x="801" y="504"/>
                  <a:pt x="801" y="506"/>
                  <a:pt x="801" y="509"/>
                </a:cubicBezTo>
                <a:close/>
                <a:moveTo>
                  <a:pt x="809" y="514"/>
                </a:moveTo>
                <a:cubicBezTo>
                  <a:pt x="812" y="513"/>
                  <a:pt x="814" y="515"/>
                  <a:pt x="816" y="514"/>
                </a:cubicBezTo>
                <a:cubicBezTo>
                  <a:pt x="814" y="511"/>
                  <a:pt x="811" y="510"/>
                  <a:pt x="809" y="508"/>
                </a:cubicBezTo>
                <a:cubicBezTo>
                  <a:pt x="808" y="509"/>
                  <a:pt x="809" y="511"/>
                  <a:pt x="809" y="514"/>
                </a:cubicBezTo>
                <a:close/>
                <a:moveTo>
                  <a:pt x="835" y="521"/>
                </a:moveTo>
                <a:cubicBezTo>
                  <a:pt x="838" y="523"/>
                  <a:pt x="840" y="521"/>
                  <a:pt x="843" y="522"/>
                </a:cubicBezTo>
                <a:cubicBezTo>
                  <a:pt x="843" y="520"/>
                  <a:pt x="843" y="517"/>
                  <a:pt x="843" y="515"/>
                </a:cubicBezTo>
                <a:cubicBezTo>
                  <a:pt x="840" y="516"/>
                  <a:pt x="838" y="519"/>
                  <a:pt x="835" y="521"/>
                </a:cubicBezTo>
                <a:close/>
                <a:moveTo>
                  <a:pt x="809" y="517"/>
                </a:moveTo>
                <a:cubicBezTo>
                  <a:pt x="810" y="520"/>
                  <a:pt x="807" y="523"/>
                  <a:pt x="809" y="523"/>
                </a:cubicBezTo>
                <a:cubicBezTo>
                  <a:pt x="811" y="520"/>
                  <a:pt x="816" y="519"/>
                  <a:pt x="815" y="516"/>
                </a:cubicBezTo>
                <a:cubicBezTo>
                  <a:pt x="813" y="517"/>
                  <a:pt x="810" y="516"/>
                  <a:pt x="809" y="517"/>
                </a:cubicBezTo>
                <a:close/>
                <a:moveTo>
                  <a:pt x="831" y="521"/>
                </a:moveTo>
                <a:cubicBezTo>
                  <a:pt x="833" y="519"/>
                  <a:pt x="835" y="519"/>
                  <a:pt x="835" y="516"/>
                </a:cubicBezTo>
                <a:cubicBezTo>
                  <a:pt x="831" y="516"/>
                  <a:pt x="830" y="516"/>
                  <a:pt x="825" y="516"/>
                </a:cubicBezTo>
                <a:cubicBezTo>
                  <a:pt x="826" y="519"/>
                  <a:pt x="828" y="520"/>
                  <a:pt x="831" y="521"/>
                </a:cubicBezTo>
                <a:close/>
                <a:moveTo>
                  <a:pt x="803" y="521"/>
                </a:moveTo>
                <a:cubicBezTo>
                  <a:pt x="805" y="522"/>
                  <a:pt x="806" y="517"/>
                  <a:pt x="803" y="517"/>
                </a:cubicBezTo>
                <a:cubicBezTo>
                  <a:pt x="802" y="517"/>
                  <a:pt x="803" y="520"/>
                  <a:pt x="803" y="521"/>
                </a:cubicBezTo>
                <a:close/>
                <a:moveTo>
                  <a:pt x="848" y="520"/>
                </a:moveTo>
                <a:cubicBezTo>
                  <a:pt x="849" y="519"/>
                  <a:pt x="849" y="517"/>
                  <a:pt x="848" y="517"/>
                </a:cubicBezTo>
                <a:cubicBezTo>
                  <a:pt x="847" y="518"/>
                  <a:pt x="847" y="519"/>
                  <a:pt x="848" y="520"/>
                </a:cubicBezTo>
                <a:close/>
                <a:moveTo>
                  <a:pt x="816" y="523"/>
                </a:moveTo>
                <a:cubicBezTo>
                  <a:pt x="819" y="522"/>
                  <a:pt x="821" y="522"/>
                  <a:pt x="825" y="522"/>
                </a:cubicBezTo>
                <a:cubicBezTo>
                  <a:pt x="824" y="517"/>
                  <a:pt x="816" y="517"/>
                  <a:pt x="816" y="523"/>
                </a:cubicBezTo>
                <a:close/>
                <a:moveTo>
                  <a:pt x="779" y="526"/>
                </a:moveTo>
                <a:cubicBezTo>
                  <a:pt x="784" y="528"/>
                  <a:pt x="791" y="528"/>
                  <a:pt x="794" y="525"/>
                </a:cubicBezTo>
                <a:cubicBezTo>
                  <a:pt x="793" y="524"/>
                  <a:pt x="792" y="523"/>
                  <a:pt x="792" y="523"/>
                </a:cubicBezTo>
                <a:cubicBezTo>
                  <a:pt x="793" y="522"/>
                  <a:pt x="794" y="522"/>
                  <a:pt x="794" y="519"/>
                </a:cubicBezTo>
                <a:cubicBezTo>
                  <a:pt x="793" y="519"/>
                  <a:pt x="793" y="518"/>
                  <a:pt x="792" y="519"/>
                </a:cubicBezTo>
                <a:cubicBezTo>
                  <a:pt x="790" y="523"/>
                  <a:pt x="782" y="521"/>
                  <a:pt x="779" y="526"/>
                </a:cubicBezTo>
                <a:close/>
                <a:moveTo>
                  <a:pt x="867" y="521"/>
                </a:moveTo>
                <a:cubicBezTo>
                  <a:pt x="863" y="520"/>
                  <a:pt x="861" y="519"/>
                  <a:pt x="857" y="519"/>
                </a:cubicBezTo>
                <a:cubicBezTo>
                  <a:pt x="857" y="522"/>
                  <a:pt x="866" y="523"/>
                  <a:pt x="867" y="521"/>
                </a:cubicBezTo>
                <a:close/>
                <a:moveTo>
                  <a:pt x="884" y="525"/>
                </a:moveTo>
                <a:cubicBezTo>
                  <a:pt x="879" y="524"/>
                  <a:pt x="876" y="522"/>
                  <a:pt x="871" y="522"/>
                </a:cubicBezTo>
                <a:cubicBezTo>
                  <a:pt x="873" y="525"/>
                  <a:pt x="880" y="526"/>
                  <a:pt x="884" y="525"/>
                </a:cubicBezTo>
                <a:close/>
                <a:moveTo>
                  <a:pt x="844" y="532"/>
                </a:moveTo>
                <a:cubicBezTo>
                  <a:pt x="844" y="530"/>
                  <a:pt x="844" y="526"/>
                  <a:pt x="843" y="524"/>
                </a:cubicBezTo>
                <a:cubicBezTo>
                  <a:pt x="840" y="524"/>
                  <a:pt x="837" y="524"/>
                  <a:pt x="835" y="524"/>
                </a:cubicBezTo>
                <a:cubicBezTo>
                  <a:pt x="837" y="528"/>
                  <a:pt x="841" y="530"/>
                  <a:pt x="844" y="532"/>
                </a:cubicBezTo>
                <a:close/>
                <a:moveTo>
                  <a:pt x="853" y="534"/>
                </a:moveTo>
                <a:cubicBezTo>
                  <a:pt x="852" y="530"/>
                  <a:pt x="854" y="525"/>
                  <a:pt x="850" y="525"/>
                </a:cubicBezTo>
                <a:cubicBezTo>
                  <a:pt x="850" y="528"/>
                  <a:pt x="847" y="535"/>
                  <a:pt x="853" y="534"/>
                </a:cubicBezTo>
                <a:close/>
                <a:moveTo>
                  <a:pt x="809" y="527"/>
                </a:moveTo>
                <a:cubicBezTo>
                  <a:pt x="809" y="528"/>
                  <a:pt x="809" y="529"/>
                  <a:pt x="808" y="529"/>
                </a:cubicBezTo>
                <a:cubicBezTo>
                  <a:pt x="808" y="531"/>
                  <a:pt x="810" y="532"/>
                  <a:pt x="811" y="533"/>
                </a:cubicBezTo>
                <a:cubicBezTo>
                  <a:pt x="809" y="533"/>
                  <a:pt x="808" y="535"/>
                  <a:pt x="809" y="536"/>
                </a:cubicBezTo>
                <a:cubicBezTo>
                  <a:pt x="817" y="536"/>
                  <a:pt x="822" y="532"/>
                  <a:pt x="825" y="525"/>
                </a:cubicBezTo>
                <a:cubicBezTo>
                  <a:pt x="821" y="527"/>
                  <a:pt x="813" y="525"/>
                  <a:pt x="809" y="527"/>
                </a:cubicBezTo>
                <a:close/>
                <a:moveTo>
                  <a:pt x="857" y="527"/>
                </a:moveTo>
                <a:cubicBezTo>
                  <a:pt x="859" y="528"/>
                  <a:pt x="857" y="533"/>
                  <a:pt x="859" y="535"/>
                </a:cubicBezTo>
                <a:cubicBezTo>
                  <a:pt x="863" y="534"/>
                  <a:pt x="864" y="535"/>
                  <a:pt x="868" y="533"/>
                </a:cubicBezTo>
                <a:cubicBezTo>
                  <a:pt x="870" y="530"/>
                  <a:pt x="866" y="530"/>
                  <a:pt x="868" y="527"/>
                </a:cubicBezTo>
                <a:cubicBezTo>
                  <a:pt x="866" y="527"/>
                  <a:pt x="865" y="526"/>
                  <a:pt x="863" y="526"/>
                </a:cubicBezTo>
                <a:cubicBezTo>
                  <a:pt x="861" y="528"/>
                  <a:pt x="866" y="529"/>
                  <a:pt x="865" y="532"/>
                </a:cubicBezTo>
                <a:cubicBezTo>
                  <a:pt x="865" y="532"/>
                  <a:pt x="865" y="532"/>
                  <a:pt x="864" y="532"/>
                </a:cubicBezTo>
                <a:cubicBezTo>
                  <a:pt x="863" y="529"/>
                  <a:pt x="858" y="530"/>
                  <a:pt x="859" y="525"/>
                </a:cubicBezTo>
                <a:cubicBezTo>
                  <a:pt x="858" y="525"/>
                  <a:pt x="857" y="526"/>
                  <a:pt x="857" y="527"/>
                </a:cubicBezTo>
                <a:close/>
                <a:moveTo>
                  <a:pt x="831" y="527"/>
                </a:moveTo>
                <a:cubicBezTo>
                  <a:pt x="827" y="528"/>
                  <a:pt x="824" y="532"/>
                  <a:pt x="821" y="536"/>
                </a:cubicBezTo>
                <a:cubicBezTo>
                  <a:pt x="829" y="535"/>
                  <a:pt x="834" y="535"/>
                  <a:pt x="841" y="536"/>
                </a:cubicBezTo>
                <a:cubicBezTo>
                  <a:pt x="839" y="531"/>
                  <a:pt x="835" y="529"/>
                  <a:pt x="831" y="527"/>
                </a:cubicBezTo>
                <a:close/>
                <a:moveTo>
                  <a:pt x="744" y="539"/>
                </a:moveTo>
                <a:cubicBezTo>
                  <a:pt x="757" y="536"/>
                  <a:pt x="771" y="533"/>
                  <a:pt x="783" y="528"/>
                </a:cubicBezTo>
                <a:cubicBezTo>
                  <a:pt x="766" y="525"/>
                  <a:pt x="756" y="535"/>
                  <a:pt x="744" y="539"/>
                </a:cubicBezTo>
                <a:close/>
                <a:moveTo>
                  <a:pt x="799" y="532"/>
                </a:moveTo>
                <a:cubicBezTo>
                  <a:pt x="801" y="532"/>
                  <a:pt x="801" y="528"/>
                  <a:pt x="799" y="528"/>
                </a:cubicBezTo>
                <a:cubicBezTo>
                  <a:pt x="797" y="529"/>
                  <a:pt x="798" y="530"/>
                  <a:pt x="799" y="532"/>
                </a:cubicBezTo>
                <a:close/>
                <a:moveTo>
                  <a:pt x="872" y="534"/>
                </a:moveTo>
                <a:cubicBezTo>
                  <a:pt x="876" y="533"/>
                  <a:pt x="880" y="532"/>
                  <a:pt x="881" y="528"/>
                </a:cubicBezTo>
                <a:cubicBezTo>
                  <a:pt x="875" y="529"/>
                  <a:pt x="873" y="528"/>
                  <a:pt x="872" y="534"/>
                </a:cubicBezTo>
                <a:close/>
                <a:moveTo>
                  <a:pt x="787" y="532"/>
                </a:moveTo>
                <a:cubicBezTo>
                  <a:pt x="788" y="534"/>
                  <a:pt x="790" y="535"/>
                  <a:pt x="792" y="536"/>
                </a:cubicBezTo>
                <a:cubicBezTo>
                  <a:pt x="792" y="532"/>
                  <a:pt x="791" y="533"/>
                  <a:pt x="793" y="530"/>
                </a:cubicBezTo>
                <a:cubicBezTo>
                  <a:pt x="790" y="530"/>
                  <a:pt x="790" y="532"/>
                  <a:pt x="787" y="532"/>
                </a:cubicBezTo>
                <a:close/>
                <a:moveTo>
                  <a:pt x="878" y="535"/>
                </a:moveTo>
                <a:cubicBezTo>
                  <a:pt x="884" y="535"/>
                  <a:pt x="890" y="535"/>
                  <a:pt x="891" y="531"/>
                </a:cubicBezTo>
                <a:cubicBezTo>
                  <a:pt x="887" y="529"/>
                  <a:pt x="879" y="530"/>
                  <a:pt x="878" y="535"/>
                </a:cubicBezTo>
                <a:close/>
                <a:moveTo>
                  <a:pt x="893" y="535"/>
                </a:moveTo>
                <a:cubicBezTo>
                  <a:pt x="894" y="535"/>
                  <a:pt x="901" y="535"/>
                  <a:pt x="902" y="533"/>
                </a:cubicBezTo>
                <a:cubicBezTo>
                  <a:pt x="900" y="532"/>
                  <a:pt x="893" y="531"/>
                  <a:pt x="893" y="535"/>
                </a:cubicBezTo>
                <a:close/>
                <a:moveTo>
                  <a:pt x="776" y="534"/>
                </a:moveTo>
                <a:cubicBezTo>
                  <a:pt x="775" y="535"/>
                  <a:pt x="776" y="538"/>
                  <a:pt x="775" y="538"/>
                </a:cubicBezTo>
                <a:cubicBezTo>
                  <a:pt x="774" y="534"/>
                  <a:pt x="768" y="536"/>
                  <a:pt x="767" y="538"/>
                </a:cubicBezTo>
                <a:cubicBezTo>
                  <a:pt x="773" y="541"/>
                  <a:pt x="782" y="538"/>
                  <a:pt x="788" y="538"/>
                </a:cubicBezTo>
                <a:cubicBezTo>
                  <a:pt x="786" y="533"/>
                  <a:pt x="781" y="533"/>
                  <a:pt x="776" y="534"/>
                </a:cubicBezTo>
                <a:close/>
                <a:moveTo>
                  <a:pt x="911" y="534"/>
                </a:moveTo>
                <a:cubicBezTo>
                  <a:pt x="908" y="535"/>
                  <a:pt x="904" y="533"/>
                  <a:pt x="903" y="534"/>
                </a:cubicBezTo>
                <a:cubicBezTo>
                  <a:pt x="905" y="535"/>
                  <a:pt x="910" y="537"/>
                  <a:pt x="911" y="534"/>
                </a:cubicBezTo>
                <a:close/>
                <a:moveTo>
                  <a:pt x="854" y="540"/>
                </a:moveTo>
                <a:cubicBezTo>
                  <a:pt x="855" y="538"/>
                  <a:pt x="853" y="538"/>
                  <a:pt x="851" y="538"/>
                </a:cubicBezTo>
                <a:cubicBezTo>
                  <a:pt x="851" y="540"/>
                  <a:pt x="853" y="540"/>
                  <a:pt x="854" y="540"/>
                </a:cubicBezTo>
                <a:close/>
                <a:moveTo>
                  <a:pt x="859" y="542"/>
                </a:moveTo>
                <a:cubicBezTo>
                  <a:pt x="861" y="541"/>
                  <a:pt x="863" y="541"/>
                  <a:pt x="863" y="538"/>
                </a:cubicBezTo>
                <a:cubicBezTo>
                  <a:pt x="861" y="537"/>
                  <a:pt x="858" y="538"/>
                  <a:pt x="859" y="542"/>
                </a:cubicBezTo>
                <a:close/>
                <a:moveTo>
                  <a:pt x="872" y="538"/>
                </a:moveTo>
                <a:cubicBezTo>
                  <a:pt x="871" y="541"/>
                  <a:pt x="874" y="539"/>
                  <a:pt x="875" y="540"/>
                </a:cubicBezTo>
                <a:cubicBezTo>
                  <a:pt x="876" y="537"/>
                  <a:pt x="873" y="537"/>
                  <a:pt x="872" y="538"/>
                </a:cubicBezTo>
                <a:close/>
                <a:moveTo>
                  <a:pt x="879" y="539"/>
                </a:moveTo>
                <a:cubicBezTo>
                  <a:pt x="880" y="540"/>
                  <a:pt x="883" y="540"/>
                  <a:pt x="883" y="538"/>
                </a:cubicBezTo>
                <a:cubicBezTo>
                  <a:pt x="881" y="538"/>
                  <a:pt x="880" y="537"/>
                  <a:pt x="879" y="539"/>
                </a:cubicBezTo>
                <a:close/>
                <a:moveTo>
                  <a:pt x="751" y="541"/>
                </a:moveTo>
                <a:cubicBezTo>
                  <a:pt x="756" y="543"/>
                  <a:pt x="759" y="540"/>
                  <a:pt x="765" y="540"/>
                </a:cubicBezTo>
                <a:cubicBezTo>
                  <a:pt x="762" y="535"/>
                  <a:pt x="755" y="541"/>
                  <a:pt x="751" y="541"/>
                </a:cubicBezTo>
                <a:close/>
                <a:moveTo>
                  <a:pt x="864" y="543"/>
                </a:moveTo>
                <a:cubicBezTo>
                  <a:pt x="867" y="542"/>
                  <a:pt x="870" y="542"/>
                  <a:pt x="871" y="540"/>
                </a:cubicBezTo>
                <a:cubicBezTo>
                  <a:pt x="869" y="539"/>
                  <a:pt x="864" y="538"/>
                  <a:pt x="864" y="543"/>
                </a:cubicBezTo>
                <a:close/>
                <a:moveTo>
                  <a:pt x="797" y="540"/>
                </a:moveTo>
                <a:cubicBezTo>
                  <a:pt x="797" y="543"/>
                  <a:pt x="802" y="542"/>
                  <a:pt x="802" y="540"/>
                </a:cubicBezTo>
                <a:cubicBezTo>
                  <a:pt x="801" y="540"/>
                  <a:pt x="798" y="540"/>
                  <a:pt x="797" y="540"/>
                </a:cubicBezTo>
                <a:close/>
                <a:moveTo>
                  <a:pt x="827" y="545"/>
                </a:moveTo>
                <a:cubicBezTo>
                  <a:pt x="832" y="543"/>
                  <a:pt x="837" y="545"/>
                  <a:pt x="842" y="542"/>
                </a:cubicBezTo>
                <a:cubicBezTo>
                  <a:pt x="837" y="540"/>
                  <a:pt x="830" y="541"/>
                  <a:pt x="825" y="540"/>
                </a:cubicBezTo>
                <a:cubicBezTo>
                  <a:pt x="824" y="543"/>
                  <a:pt x="828" y="541"/>
                  <a:pt x="827" y="545"/>
                </a:cubicBezTo>
                <a:close/>
                <a:moveTo>
                  <a:pt x="790" y="543"/>
                </a:moveTo>
                <a:cubicBezTo>
                  <a:pt x="786" y="543"/>
                  <a:pt x="784" y="543"/>
                  <a:pt x="779" y="543"/>
                </a:cubicBezTo>
                <a:cubicBezTo>
                  <a:pt x="781" y="546"/>
                  <a:pt x="788" y="546"/>
                  <a:pt x="792" y="545"/>
                </a:cubicBezTo>
                <a:cubicBezTo>
                  <a:pt x="790" y="543"/>
                  <a:pt x="793" y="541"/>
                  <a:pt x="790" y="540"/>
                </a:cubicBezTo>
                <a:cubicBezTo>
                  <a:pt x="790" y="541"/>
                  <a:pt x="790" y="542"/>
                  <a:pt x="790" y="543"/>
                </a:cubicBezTo>
                <a:close/>
                <a:moveTo>
                  <a:pt x="822" y="543"/>
                </a:moveTo>
                <a:cubicBezTo>
                  <a:pt x="822" y="542"/>
                  <a:pt x="822" y="542"/>
                  <a:pt x="822" y="541"/>
                </a:cubicBezTo>
                <a:cubicBezTo>
                  <a:pt x="821" y="541"/>
                  <a:pt x="820" y="541"/>
                  <a:pt x="819" y="541"/>
                </a:cubicBezTo>
                <a:cubicBezTo>
                  <a:pt x="818" y="544"/>
                  <a:pt x="822" y="544"/>
                  <a:pt x="822" y="543"/>
                </a:cubicBezTo>
                <a:close/>
                <a:moveTo>
                  <a:pt x="763" y="545"/>
                </a:moveTo>
                <a:cubicBezTo>
                  <a:pt x="763" y="547"/>
                  <a:pt x="772" y="547"/>
                  <a:pt x="772" y="545"/>
                </a:cubicBezTo>
                <a:cubicBezTo>
                  <a:pt x="770" y="544"/>
                  <a:pt x="765" y="544"/>
                  <a:pt x="763" y="545"/>
                </a:cubicBezTo>
                <a:close/>
                <a:moveTo>
                  <a:pt x="807" y="568"/>
                </a:moveTo>
                <a:cubicBezTo>
                  <a:pt x="820" y="569"/>
                  <a:pt x="823" y="557"/>
                  <a:pt x="827" y="549"/>
                </a:cubicBezTo>
                <a:cubicBezTo>
                  <a:pt x="815" y="545"/>
                  <a:pt x="806" y="555"/>
                  <a:pt x="807" y="568"/>
                </a:cubicBezTo>
                <a:close/>
                <a:moveTo>
                  <a:pt x="841" y="549"/>
                </a:moveTo>
                <a:cubicBezTo>
                  <a:pt x="842" y="550"/>
                  <a:pt x="843" y="550"/>
                  <a:pt x="843" y="551"/>
                </a:cubicBezTo>
                <a:cubicBezTo>
                  <a:pt x="841" y="551"/>
                  <a:pt x="840" y="552"/>
                  <a:pt x="839" y="552"/>
                </a:cubicBezTo>
                <a:cubicBezTo>
                  <a:pt x="840" y="554"/>
                  <a:pt x="840" y="557"/>
                  <a:pt x="842" y="558"/>
                </a:cubicBezTo>
                <a:cubicBezTo>
                  <a:pt x="842" y="555"/>
                  <a:pt x="844" y="558"/>
                  <a:pt x="846" y="557"/>
                </a:cubicBezTo>
                <a:cubicBezTo>
                  <a:pt x="847" y="554"/>
                  <a:pt x="844" y="553"/>
                  <a:pt x="842" y="552"/>
                </a:cubicBezTo>
                <a:cubicBezTo>
                  <a:pt x="845" y="553"/>
                  <a:pt x="846" y="551"/>
                  <a:pt x="846" y="549"/>
                </a:cubicBezTo>
                <a:cubicBezTo>
                  <a:pt x="845" y="548"/>
                  <a:pt x="841" y="547"/>
                  <a:pt x="841" y="549"/>
                </a:cubicBezTo>
                <a:close/>
                <a:moveTo>
                  <a:pt x="809" y="552"/>
                </a:moveTo>
                <a:cubicBezTo>
                  <a:pt x="811" y="552"/>
                  <a:pt x="811" y="548"/>
                  <a:pt x="809" y="549"/>
                </a:cubicBezTo>
                <a:cubicBezTo>
                  <a:pt x="808" y="549"/>
                  <a:pt x="807" y="553"/>
                  <a:pt x="809" y="552"/>
                </a:cubicBezTo>
                <a:close/>
                <a:moveTo>
                  <a:pt x="801" y="551"/>
                </a:moveTo>
                <a:cubicBezTo>
                  <a:pt x="802" y="551"/>
                  <a:pt x="801" y="553"/>
                  <a:pt x="803" y="553"/>
                </a:cubicBezTo>
                <a:cubicBezTo>
                  <a:pt x="803" y="552"/>
                  <a:pt x="803" y="551"/>
                  <a:pt x="803" y="550"/>
                </a:cubicBezTo>
                <a:cubicBezTo>
                  <a:pt x="802" y="550"/>
                  <a:pt x="801" y="550"/>
                  <a:pt x="801" y="551"/>
                </a:cubicBezTo>
                <a:close/>
                <a:moveTo>
                  <a:pt x="828" y="554"/>
                </a:moveTo>
                <a:cubicBezTo>
                  <a:pt x="823" y="563"/>
                  <a:pt x="816" y="571"/>
                  <a:pt x="812" y="581"/>
                </a:cubicBezTo>
                <a:cubicBezTo>
                  <a:pt x="823" y="582"/>
                  <a:pt x="836" y="579"/>
                  <a:pt x="848" y="579"/>
                </a:cubicBezTo>
                <a:cubicBezTo>
                  <a:pt x="842" y="570"/>
                  <a:pt x="837" y="560"/>
                  <a:pt x="828" y="554"/>
                </a:cubicBezTo>
                <a:close/>
                <a:moveTo>
                  <a:pt x="855" y="562"/>
                </a:moveTo>
                <a:cubicBezTo>
                  <a:pt x="857" y="561"/>
                  <a:pt x="855" y="558"/>
                  <a:pt x="854" y="557"/>
                </a:cubicBezTo>
                <a:cubicBezTo>
                  <a:pt x="854" y="559"/>
                  <a:pt x="853" y="562"/>
                  <a:pt x="855" y="562"/>
                </a:cubicBezTo>
                <a:close/>
                <a:moveTo>
                  <a:pt x="842" y="564"/>
                </a:moveTo>
                <a:cubicBezTo>
                  <a:pt x="842" y="563"/>
                  <a:pt x="841" y="561"/>
                  <a:pt x="840" y="562"/>
                </a:cubicBezTo>
                <a:cubicBezTo>
                  <a:pt x="839" y="563"/>
                  <a:pt x="840" y="565"/>
                  <a:pt x="842" y="564"/>
                </a:cubicBezTo>
                <a:close/>
                <a:moveTo>
                  <a:pt x="794" y="575"/>
                </a:moveTo>
                <a:cubicBezTo>
                  <a:pt x="795" y="571"/>
                  <a:pt x="799" y="569"/>
                  <a:pt x="799" y="564"/>
                </a:cubicBezTo>
                <a:cubicBezTo>
                  <a:pt x="798" y="564"/>
                  <a:pt x="797" y="563"/>
                  <a:pt x="796" y="563"/>
                </a:cubicBezTo>
                <a:cubicBezTo>
                  <a:pt x="794" y="565"/>
                  <a:pt x="792" y="573"/>
                  <a:pt x="794" y="575"/>
                </a:cubicBezTo>
                <a:close/>
                <a:moveTo>
                  <a:pt x="848" y="575"/>
                </a:moveTo>
                <a:cubicBezTo>
                  <a:pt x="849" y="571"/>
                  <a:pt x="846" y="566"/>
                  <a:pt x="842" y="565"/>
                </a:cubicBezTo>
                <a:cubicBezTo>
                  <a:pt x="843" y="569"/>
                  <a:pt x="847" y="571"/>
                  <a:pt x="848" y="575"/>
                </a:cubicBezTo>
                <a:close/>
                <a:moveTo>
                  <a:pt x="859" y="582"/>
                </a:moveTo>
                <a:cubicBezTo>
                  <a:pt x="859" y="576"/>
                  <a:pt x="859" y="570"/>
                  <a:pt x="855" y="568"/>
                </a:cubicBezTo>
                <a:cubicBezTo>
                  <a:pt x="852" y="575"/>
                  <a:pt x="856" y="579"/>
                  <a:pt x="859" y="582"/>
                </a:cubicBezTo>
                <a:close/>
                <a:moveTo>
                  <a:pt x="805" y="581"/>
                </a:moveTo>
                <a:cubicBezTo>
                  <a:pt x="811" y="581"/>
                  <a:pt x="811" y="575"/>
                  <a:pt x="814" y="572"/>
                </a:cubicBezTo>
                <a:cubicBezTo>
                  <a:pt x="811" y="570"/>
                  <a:pt x="809" y="572"/>
                  <a:pt x="807" y="571"/>
                </a:cubicBezTo>
                <a:cubicBezTo>
                  <a:pt x="805" y="573"/>
                  <a:pt x="805" y="578"/>
                  <a:pt x="805" y="581"/>
                </a:cubicBezTo>
                <a:close/>
                <a:moveTo>
                  <a:pt x="792" y="581"/>
                </a:moveTo>
                <a:cubicBezTo>
                  <a:pt x="794" y="583"/>
                  <a:pt x="797" y="582"/>
                  <a:pt x="799" y="581"/>
                </a:cubicBezTo>
                <a:cubicBezTo>
                  <a:pt x="799" y="578"/>
                  <a:pt x="799" y="574"/>
                  <a:pt x="797" y="573"/>
                </a:cubicBezTo>
                <a:cubicBezTo>
                  <a:pt x="797" y="577"/>
                  <a:pt x="793" y="577"/>
                  <a:pt x="792" y="581"/>
                </a:cubicBezTo>
                <a:close/>
                <a:moveTo>
                  <a:pt x="806" y="590"/>
                </a:moveTo>
                <a:cubicBezTo>
                  <a:pt x="809" y="591"/>
                  <a:pt x="810" y="590"/>
                  <a:pt x="814" y="590"/>
                </a:cubicBezTo>
                <a:cubicBezTo>
                  <a:pt x="814" y="587"/>
                  <a:pt x="817" y="587"/>
                  <a:pt x="817" y="584"/>
                </a:cubicBezTo>
                <a:cubicBezTo>
                  <a:pt x="810" y="582"/>
                  <a:pt x="807" y="585"/>
                  <a:pt x="806" y="590"/>
                </a:cubicBezTo>
                <a:close/>
                <a:moveTo>
                  <a:pt x="828" y="591"/>
                </a:moveTo>
                <a:cubicBezTo>
                  <a:pt x="837" y="590"/>
                  <a:pt x="842" y="590"/>
                  <a:pt x="848" y="586"/>
                </a:cubicBezTo>
                <a:cubicBezTo>
                  <a:pt x="848" y="588"/>
                  <a:pt x="845" y="589"/>
                  <a:pt x="848" y="589"/>
                </a:cubicBezTo>
                <a:cubicBezTo>
                  <a:pt x="852" y="580"/>
                  <a:pt x="831" y="585"/>
                  <a:pt x="822" y="584"/>
                </a:cubicBezTo>
                <a:cubicBezTo>
                  <a:pt x="824" y="587"/>
                  <a:pt x="826" y="589"/>
                  <a:pt x="828" y="591"/>
                </a:cubicBezTo>
                <a:close/>
                <a:moveTo>
                  <a:pt x="800" y="588"/>
                </a:moveTo>
                <a:cubicBezTo>
                  <a:pt x="801" y="585"/>
                  <a:pt x="797" y="586"/>
                  <a:pt x="794" y="586"/>
                </a:cubicBezTo>
                <a:cubicBezTo>
                  <a:pt x="795" y="587"/>
                  <a:pt x="798" y="590"/>
                  <a:pt x="800" y="588"/>
                </a:cubicBezTo>
                <a:close/>
                <a:moveTo>
                  <a:pt x="817" y="590"/>
                </a:moveTo>
                <a:cubicBezTo>
                  <a:pt x="818" y="592"/>
                  <a:pt x="821" y="591"/>
                  <a:pt x="824" y="591"/>
                </a:cubicBezTo>
                <a:cubicBezTo>
                  <a:pt x="822" y="589"/>
                  <a:pt x="822" y="586"/>
                  <a:pt x="820" y="586"/>
                </a:cubicBezTo>
                <a:cubicBezTo>
                  <a:pt x="818" y="587"/>
                  <a:pt x="818" y="589"/>
                  <a:pt x="817" y="590"/>
                </a:cubicBezTo>
                <a:close/>
                <a:moveTo>
                  <a:pt x="792" y="596"/>
                </a:moveTo>
                <a:cubicBezTo>
                  <a:pt x="791" y="592"/>
                  <a:pt x="794" y="589"/>
                  <a:pt x="790" y="588"/>
                </a:cubicBezTo>
                <a:cubicBezTo>
                  <a:pt x="790" y="590"/>
                  <a:pt x="788" y="596"/>
                  <a:pt x="792" y="596"/>
                </a:cubicBezTo>
                <a:close/>
                <a:moveTo>
                  <a:pt x="806" y="601"/>
                </a:moveTo>
                <a:cubicBezTo>
                  <a:pt x="806" y="597"/>
                  <a:pt x="811" y="598"/>
                  <a:pt x="810" y="594"/>
                </a:cubicBezTo>
                <a:cubicBezTo>
                  <a:pt x="809" y="593"/>
                  <a:pt x="806" y="593"/>
                  <a:pt x="805" y="592"/>
                </a:cubicBezTo>
                <a:cubicBezTo>
                  <a:pt x="806" y="596"/>
                  <a:pt x="802" y="601"/>
                  <a:pt x="806" y="601"/>
                </a:cubicBezTo>
                <a:close/>
                <a:moveTo>
                  <a:pt x="835" y="595"/>
                </a:moveTo>
                <a:cubicBezTo>
                  <a:pt x="836" y="595"/>
                  <a:pt x="837" y="595"/>
                  <a:pt x="838" y="595"/>
                </a:cubicBezTo>
                <a:cubicBezTo>
                  <a:pt x="838" y="594"/>
                  <a:pt x="838" y="593"/>
                  <a:pt x="837" y="592"/>
                </a:cubicBezTo>
                <a:cubicBezTo>
                  <a:pt x="837" y="594"/>
                  <a:pt x="835" y="593"/>
                  <a:pt x="835" y="595"/>
                </a:cubicBezTo>
                <a:close/>
                <a:moveTo>
                  <a:pt x="838" y="599"/>
                </a:moveTo>
                <a:cubicBezTo>
                  <a:pt x="842" y="601"/>
                  <a:pt x="849" y="600"/>
                  <a:pt x="851" y="601"/>
                </a:cubicBezTo>
                <a:cubicBezTo>
                  <a:pt x="851" y="597"/>
                  <a:pt x="851" y="595"/>
                  <a:pt x="850" y="592"/>
                </a:cubicBezTo>
                <a:cubicBezTo>
                  <a:pt x="844" y="593"/>
                  <a:pt x="839" y="592"/>
                  <a:pt x="838" y="599"/>
                </a:cubicBezTo>
                <a:close/>
                <a:moveTo>
                  <a:pt x="814" y="594"/>
                </a:moveTo>
                <a:cubicBezTo>
                  <a:pt x="814" y="597"/>
                  <a:pt x="810" y="597"/>
                  <a:pt x="811" y="602"/>
                </a:cubicBezTo>
                <a:cubicBezTo>
                  <a:pt x="811" y="604"/>
                  <a:pt x="815" y="603"/>
                  <a:pt x="814" y="605"/>
                </a:cubicBezTo>
                <a:cubicBezTo>
                  <a:pt x="812" y="607"/>
                  <a:pt x="811" y="603"/>
                  <a:pt x="809" y="602"/>
                </a:cubicBezTo>
                <a:cubicBezTo>
                  <a:pt x="808" y="605"/>
                  <a:pt x="805" y="606"/>
                  <a:pt x="805" y="609"/>
                </a:cubicBezTo>
                <a:cubicBezTo>
                  <a:pt x="807" y="611"/>
                  <a:pt x="812" y="610"/>
                  <a:pt x="816" y="610"/>
                </a:cubicBezTo>
                <a:cubicBezTo>
                  <a:pt x="815" y="609"/>
                  <a:pt x="816" y="608"/>
                  <a:pt x="817" y="607"/>
                </a:cubicBezTo>
                <a:cubicBezTo>
                  <a:pt x="817" y="609"/>
                  <a:pt x="819" y="610"/>
                  <a:pt x="821" y="610"/>
                </a:cubicBezTo>
                <a:cubicBezTo>
                  <a:pt x="823" y="605"/>
                  <a:pt x="827" y="602"/>
                  <a:pt x="828" y="597"/>
                </a:cubicBezTo>
                <a:cubicBezTo>
                  <a:pt x="826" y="592"/>
                  <a:pt x="819" y="593"/>
                  <a:pt x="814" y="594"/>
                </a:cubicBezTo>
                <a:close/>
                <a:moveTo>
                  <a:pt x="856" y="598"/>
                </a:moveTo>
                <a:cubicBezTo>
                  <a:pt x="856" y="596"/>
                  <a:pt x="857" y="593"/>
                  <a:pt x="855" y="593"/>
                </a:cubicBezTo>
                <a:cubicBezTo>
                  <a:pt x="855" y="595"/>
                  <a:pt x="853" y="598"/>
                  <a:pt x="856" y="598"/>
                </a:cubicBezTo>
                <a:close/>
                <a:moveTo>
                  <a:pt x="799" y="602"/>
                </a:moveTo>
                <a:cubicBezTo>
                  <a:pt x="797" y="600"/>
                  <a:pt x="800" y="594"/>
                  <a:pt x="797" y="594"/>
                </a:cubicBezTo>
                <a:cubicBezTo>
                  <a:pt x="796" y="597"/>
                  <a:pt x="797" y="601"/>
                  <a:pt x="799" y="602"/>
                </a:cubicBezTo>
                <a:close/>
                <a:moveTo>
                  <a:pt x="831" y="596"/>
                </a:moveTo>
                <a:cubicBezTo>
                  <a:pt x="831" y="597"/>
                  <a:pt x="833" y="597"/>
                  <a:pt x="832" y="599"/>
                </a:cubicBezTo>
                <a:cubicBezTo>
                  <a:pt x="835" y="599"/>
                  <a:pt x="835" y="596"/>
                  <a:pt x="833" y="595"/>
                </a:cubicBezTo>
                <a:cubicBezTo>
                  <a:pt x="833" y="596"/>
                  <a:pt x="832" y="596"/>
                  <a:pt x="831" y="596"/>
                </a:cubicBezTo>
                <a:close/>
                <a:moveTo>
                  <a:pt x="920" y="599"/>
                </a:moveTo>
                <a:cubicBezTo>
                  <a:pt x="922" y="600"/>
                  <a:pt x="925" y="601"/>
                  <a:pt x="926" y="603"/>
                </a:cubicBezTo>
                <a:cubicBezTo>
                  <a:pt x="926" y="599"/>
                  <a:pt x="924" y="598"/>
                  <a:pt x="922" y="596"/>
                </a:cubicBezTo>
                <a:cubicBezTo>
                  <a:pt x="921" y="597"/>
                  <a:pt x="921" y="598"/>
                  <a:pt x="920" y="599"/>
                </a:cubicBezTo>
                <a:close/>
                <a:moveTo>
                  <a:pt x="815" y="629"/>
                </a:moveTo>
                <a:cubicBezTo>
                  <a:pt x="810" y="630"/>
                  <a:pt x="808" y="638"/>
                  <a:pt x="807" y="641"/>
                </a:cubicBezTo>
                <a:cubicBezTo>
                  <a:pt x="825" y="639"/>
                  <a:pt x="839" y="641"/>
                  <a:pt x="855" y="638"/>
                </a:cubicBezTo>
                <a:cubicBezTo>
                  <a:pt x="846" y="626"/>
                  <a:pt x="839" y="612"/>
                  <a:pt x="829" y="601"/>
                </a:cubicBezTo>
                <a:cubicBezTo>
                  <a:pt x="829" y="601"/>
                  <a:pt x="828" y="601"/>
                  <a:pt x="828" y="601"/>
                </a:cubicBezTo>
                <a:cubicBezTo>
                  <a:pt x="826" y="610"/>
                  <a:pt x="817" y="617"/>
                  <a:pt x="815" y="629"/>
                </a:cubicBezTo>
                <a:close/>
                <a:moveTo>
                  <a:pt x="848" y="620"/>
                </a:moveTo>
                <a:cubicBezTo>
                  <a:pt x="847" y="627"/>
                  <a:pt x="854" y="627"/>
                  <a:pt x="853" y="634"/>
                </a:cubicBezTo>
                <a:cubicBezTo>
                  <a:pt x="860" y="629"/>
                  <a:pt x="848" y="622"/>
                  <a:pt x="850" y="618"/>
                </a:cubicBezTo>
                <a:cubicBezTo>
                  <a:pt x="842" y="615"/>
                  <a:pt x="844" y="604"/>
                  <a:pt x="835" y="603"/>
                </a:cubicBezTo>
                <a:cubicBezTo>
                  <a:pt x="838" y="610"/>
                  <a:pt x="842" y="616"/>
                  <a:pt x="848" y="620"/>
                </a:cubicBezTo>
                <a:close/>
                <a:moveTo>
                  <a:pt x="931" y="604"/>
                </a:moveTo>
                <a:cubicBezTo>
                  <a:pt x="932" y="605"/>
                  <a:pt x="935" y="605"/>
                  <a:pt x="934" y="603"/>
                </a:cubicBezTo>
                <a:cubicBezTo>
                  <a:pt x="933" y="603"/>
                  <a:pt x="931" y="603"/>
                  <a:pt x="931" y="604"/>
                </a:cubicBezTo>
                <a:close/>
                <a:moveTo>
                  <a:pt x="847" y="609"/>
                </a:moveTo>
                <a:cubicBezTo>
                  <a:pt x="849" y="607"/>
                  <a:pt x="851" y="607"/>
                  <a:pt x="850" y="603"/>
                </a:cubicBezTo>
                <a:cubicBezTo>
                  <a:pt x="848" y="603"/>
                  <a:pt x="845" y="603"/>
                  <a:pt x="842" y="603"/>
                </a:cubicBezTo>
                <a:cubicBezTo>
                  <a:pt x="842" y="607"/>
                  <a:pt x="845" y="608"/>
                  <a:pt x="847" y="609"/>
                </a:cubicBezTo>
                <a:close/>
                <a:moveTo>
                  <a:pt x="930" y="608"/>
                </a:moveTo>
                <a:cubicBezTo>
                  <a:pt x="930" y="607"/>
                  <a:pt x="930" y="606"/>
                  <a:pt x="930" y="604"/>
                </a:cubicBezTo>
                <a:cubicBezTo>
                  <a:pt x="928" y="605"/>
                  <a:pt x="929" y="603"/>
                  <a:pt x="927" y="603"/>
                </a:cubicBezTo>
                <a:cubicBezTo>
                  <a:pt x="927" y="606"/>
                  <a:pt x="928" y="607"/>
                  <a:pt x="930" y="608"/>
                </a:cubicBezTo>
                <a:close/>
                <a:moveTo>
                  <a:pt x="792" y="618"/>
                </a:moveTo>
                <a:cubicBezTo>
                  <a:pt x="790" y="619"/>
                  <a:pt x="791" y="616"/>
                  <a:pt x="789" y="617"/>
                </a:cubicBezTo>
                <a:cubicBezTo>
                  <a:pt x="789" y="619"/>
                  <a:pt x="788" y="620"/>
                  <a:pt x="788" y="622"/>
                </a:cubicBezTo>
                <a:cubicBezTo>
                  <a:pt x="796" y="624"/>
                  <a:pt x="792" y="614"/>
                  <a:pt x="793" y="608"/>
                </a:cubicBezTo>
                <a:cubicBezTo>
                  <a:pt x="792" y="608"/>
                  <a:pt x="792" y="608"/>
                  <a:pt x="791" y="608"/>
                </a:cubicBezTo>
                <a:cubicBezTo>
                  <a:pt x="790" y="612"/>
                  <a:pt x="790" y="616"/>
                  <a:pt x="792" y="618"/>
                </a:cubicBezTo>
                <a:close/>
                <a:moveTo>
                  <a:pt x="861" y="623"/>
                </a:moveTo>
                <a:cubicBezTo>
                  <a:pt x="863" y="620"/>
                  <a:pt x="864" y="612"/>
                  <a:pt x="861" y="610"/>
                </a:cubicBezTo>
                <a:cubicBezTo>
                  <a:pt x="860" y="613"/>
                  <a:pt x="859" y="621"/>
                  <a:pt x="861" y="623"/>
                </a:cubicBezTo>
                <a:close/>
                <a:moveTo>
                  <a:pt x="853" y="619"/>
                </a:moveTo>
                <a:cubicBezTo>
                  <a:pt x="854" y="617"/>
                  <a:pt x="852" y="614"/>
                  <a:pt x="853" y="612"/>
                </a:cubicBezTo>
                <a:cubicBezTo>
                  <a:pt x="852" y="612"/>
                  <a:pt x="851" y="612"/>
                  <a:pt x="850" y="612"/>
                </a:cubicBezTo>
                <a:cubicBezTo>
                  <a:pt x="848" y="614"/>
                  <a:pt x="851" y="617"/>
                  <a:pt x="853" y="619"/>
                </a:cubicBezTo>
                <a:close/>
                <a:moveTo>
                  <a:pt x="814" y="624"/>
                </a:moveTo>
                <a:cubicBezTo>
                  <a:pt x="813" y="618"/>
                  <a:pt x="818" y="619"/>
                  <a:pt x="818" y="614"/>
                </a:cubicBezTo>
                <a:cubicBezTo>
                  <a:pt x="814" y="614"/>
                  <a:pt x="810" y="613"/>
                  <a:pt x="809" y="616"/>
                </a:cubicBezTo>
                <a:cubicBezTo>
                  <a:pt x="808" y="615"/>
                  <a:pt x="806" y="614"/>
                  <a:pt x="803" y="614"/>
                </a:cubicBezTo>
                <a:cubicBezTo>
                  <a:pt x="803" y="618"/>
                  <a:pt x="807" y="617"/>
                  <a:pt x="807" y="620"/>
                </a:cubicBezTo>
                <a:cubicBezTo>
                  <a:pt x="804" y="622"/>
                  <a:pt x="808" y="626"/>
                  <a:pt x="807" y="629"/>
                </a:cubicBezTo>
                <a:cubicBezTo>
                  <a:pt x="803" y="628"/>
                  <a:pt x="806" y="621"/>
                  <a:pt x="803" y="619"/>
                </a:cubicBezTo>
                <a:cubicBezTo>
                  <a:pt x="801" y="623"/>
                  <a:pt x="800" y="628"/>
                  <a:pt x="803" y="631"/>
                </a:cubicBezTo>
                <a:cubicBezTo>
                  <a:pt x="811" y="632"/>
                  <a:pt x="812" y="625"/>
                  <a:pt x="808" y="620"/>
                </a:cubicBezTo>
                <a:cubicBezTo>
                  <a:pt x="810" y="621"/>
                  <a:pt x="810" y="625"/>
                  <a:pt x="814" y="624"/>
                </a:cubicBezTo>
                <a:close/>
                <a:moveTo>
                  <a:pt x="861" y="628"/>
                </a:moveTo>
                <a:cubicBezTo>
                  <a:pt x="862" y="628"/>
                  <a:pt x="864" y="629"/>
                  <a:pt x="865" y="628"/>
                </a:cubicBezTo>
                <a:cubicBezTo>
                  <a:pt x="865" y="625"/>
                  <a:pt x="865" y="622"/>
                  <a:pt x="863" y="621"/>
                </a:cubicBezTo>
                <a:cubicBezTo>
                  <a:pt x="863" y="624"/>
                  <a:pt x="861" y="625"/>
                  <a:pt x="861" y="628"/>
                </a:cubicBezTo>
                <a:close/>
                <a:moveTo>
                  <a:pt x="785" y="634"/>
                </a:moveTo>
                <a:cubicBezTo>
                  <a:pt x="788" y="632"/>
                  <a:pt x="789" y="629"/>
                  <a:pt x="790" y="625"/>
                </a:cubicBezTo>
                <a:cubicBezTo>
                  <a:pt x="789" y="625"/>
                  <a:pt x="789" y="624"/>
                  <a:pt x="788" y="625"/>
                </a:cubicBezTo>
                <a:cubicBezTo>
                  <a:pt x="786" y="627"/>
                  <a:pt x="786" y="631"/>
                  <a:pt x="785" y="634"/>
                </a:cubicBezTo>
                <a:close/>
                <a:moveTo>
                  <a:pt x="785" y="642"/>
                </a:moveTo>
                <a:cubicBezTo>
                  <a:pt x="786" y="642"/>
                  <a:pt x="790" y="641"/>
                  <a:pt x="794" y="642"/>
                </a:cubicBezTo>
                <a:cubicBezTo>
                  <a:pt x="793" y="637"/>
                  <a:pt x="795" y="629"/>
                  <a:pt x="792" y="627"/>
                </a:cubicBezTo>
                <a:cubicBezTo>
                  <a:pt x="791" y="633"/>
                  <a:pt x="785" y="635"/>
                  <a:pt x="785" y="642"/>
                </a:cubicBezTo>
                <a:close/>
                <a:moveTo>
                  <a:pt x="862" y="634"/>
                </a:moveTo>
                <a:cubicBezTo>
                  <a:pt x="866" y="635"/>
                  <a:pt x="865" y="641"/>
                  <a:pt x="869" y="643"/>
                </a:cubicBezTo>
                <a:cubicBezTo>
                  <a:pt x="869" y="638"/>
                  <a:pt x="867" y="635"/>
                  <a:pt x="865" y="631"/>
                </a:cubicBezTo>
                <a:cubicBezTo>
                  <a:pt x="863" y="631"/>
                  <a:pt x="862" y="632"/>
                  <a:pt x="862" y="634"/>
                </a:cubicBezTo>
                <a:close/>
                <a:moveTo>
                  <a:pt x="801" y="641"/>
                </a:moveTo>
                <a:cubicBezTo>
                  <a:pt x="804" y="640"/>
                  <a:pt x="805" y="638"/>
                  <a:pt x="806" y="635"/>
                </a:cubicBezTo>
                <a:cubicBezTo>
                  <a:pt x="805" y="634"/>
                  <a:pt x="803" y="634"/>
                  <a:pt x="801" y="634"/>
                </a:cubicBezTo>
                <a:cubicBezTo>
                  <a:pt x="801" y="637"/>
                  <a:pt x="800" y="638"/>
                  <a:pt x="801" y="641"/>
                </a:cubicBezTo>
                <a:close/>
                <a:moveTo>
                  <a:pt x="865" y="641"/>
                </a:moveTo>
                <a:cubicBezTo>
                  <a:pt x="863" y="640"/>
                  <a:pt x="863" y="636"/>
                  <a:pt x="860" y="636"/>
                </a:cubicBezTo>
                <a:cubicBezTo>
                  <a:pt x="859" y="640"/>
                  <a:pt x="863" y="643"/>
                  <a:pt x="865" y="641"/>
                </a:cubicBezTo>
                <a:close/>
                <a:moveTo>
                  <a:pt x="801" y="650"/>
                </a:moveTo>
                <a:cubicBezTo>
                  <a:pt x="807" y="651"/>
                  <a:pt x="817" y="651"/>
                  <a:pt x="816" y="643"/>
                </a:cubicBezTo>
                <a:cubicBezTo>
                  <a:pt x="809" y="643"/>
                  <a:pt x="801" y="643"/>
                  <a:pt x="801" y="650"/>
                </a:cubicBezTo>
                <a:close/>
                <a:moveTo>
                  <a:pt x="822" y="643"/>
                </a:moveTo>
                <a:cubicBezTo>
                  <a:pt x="822" y="644"/>
                  <a:pt x="822" y="644"/>
                  <a:pt x="822" y="645"/>
                </a:cubicBezTo>
                <a:cubicBezTo>
                  <a:pt x="821" y="647"/>
                  <a:pt x="820" y="644"/>
                  <a:pt x="818" y="645"/>
                </a:cubicBezTo>
                <a:cubicBezTo>
                  <a:pt x="818" y="647"/>
                  <a:pt x="816" y="648"/>
                  <a:pt x="816" y="650"/>
                </a:cubicBezTo>
                <a:cubicBezTo>
                  <a:pt x="818" y="651"/>
                  <a:pt x="820" y="653"/>
                  <a:pt x="822" y="651"/>
                </a:cubicBezTo>
                <a:cubicBezTo>
                  <a:pt x="824" y="648"/>
                  <a:pt x="820" y="648"/>
                  <a:pt x="822" y="646"/>
                </a:cubicBezTo>
                <a:cubicBezTo>
                  <a:pt x="824" y="645"/>
                  <a:pt x="825" y="649"/>
                  <a:pt x="826" y="650"/>
                </a:cubicBezTo>
                <a:cubicBezTo>
                  <a:pt x="835" y="650"/>
                  <a:pt x="850" y="653"/>
                  <a:pt x="853" y="643"/>
                </a:cubicBezTo>
                <a:cubicBezTo>
                  <a:pt x="840" y="643"/>
                  <a:pt x="833" y="644"/>
                  <a:pt x="822" y="643"/>
                </a:cubicBezTo>
                <a:close/>
                <a:moveTo>
                  <a:pt x="861" y="647"/>
                </a:moveTo>
                <a:cubicBezTo>
                  <a:pt x="862" y="647"/>
                  <a:pt x="863" y="647"/>
                  <a:pt x="863" y="647"/>
                </a:cubicBezTo>
                <a:cubicBezTo>
                  <a:pt x="864" y="645"/>
                  <a:pt x="863" y="644"/>
                  <a:pt x="861" y="644"/>
                </a:cubicBezTo>
                <a:cubicBezTo>
                  <a:pt x="861" y="645"/>
                  <a:pt x="861" y="646"/>
                  <a:pt x="861" y="647"/>
                </a:cubicBezTo>
                <a:close/>
                <a:moveTo>
                  <a:pt x="794" y="649"/>
                </a:moveTo>
                <a:cubicBezTo>
                  <a:pt x="795" y="647"/>
                  <a:pt x="795" y="646"/>
                  <a:pt x="794" y="645"/>
                </a:cubicBezTo>
                <a:cubicBezTo>
                  <a:pt x="791" y="646"/>
                  <a:pt x="789" y="644"/>
                  <a:pt x="788" y="646"/>
                </a:cubicBezTo>
                <a:cubicBezTo>
                  <a:pt x="790" y="647"/>
                  <a:pt x="790" y="650"/>
                  <a:pt x="794" y="649"/>
                </a:cubicBezTo>
                <a:close/>
                <a:moveTo>
                  <a:pt x="851" y="650"/>
                </a:moveTo>
                <a:cubicBezTo>
                  <a:pt x="854" y="649"/>
                  <a:pt x="857" y="649"/>
                  <a:pt x="857" y="646"/>
                </a:cubicBezTo>
                <a:cubicBezTo>
                  <a:pt x="854" y="644"/>
                  <a:pt x="852" y="648"/>
                  <a:pt x="851" y="650"/>
                </a:cubicBezTo>
                <a:close/>
                <a:moveTo>
                  <a:pt x="782" y="661"/>
                </a:moveTo>
                <a:cubicBezTo>
                  <a:pt x="785" y="659"/>
                  <a:pt x="786" y="652"/>
                  <a:pt x="785" y="648"/>
                </a:cubicBezTo>
                <a:cubicBezTo>
                  <a:pt x="784" y="648"/>
                  <a:pt x="784" y="648"/>
                  <a:pt x="783" y="648"/>
                </a:cubicBezTo>
                <a:cubicBezTo>
                  <a:pt x="782" y="651"/>
                  <a:pt x="782" y="656"/>
                  <a:pt x="782" y="661"/>
                </a:cubicBezTo>
                <a:close/>
                <a:moveTo>
                  <a:pt x="792" y="664"/>
                </a:moveTo>
                <a:cubicBezTo>
                  <a:pt x="798" y="664"/>
                  <a:pt x="789" y="656"/>
                  <a:pt x="794" y="653"/>
                </a:cubicBezTo>
                <a:cubicBezTo>
                  <a:pt x="793" y="653"/>
                  <a:pt x="793" y="652"/>
                  <a:pt x="792" y="653"/>
                </a:cubicBezTo>
                <a:cubicBezTo>
                  <a:pt x="790" y="656"/>
                  <a:pt x="790" y="661"/>
                  <a:pt x="792" y="664"/>
                </a:cubicBezTo>
                <a:close/>
                <a:moveTo>
                  <a:pt x="829" y="656"/>
                </a:moveTo>
                <a:cubicBezTo>
                  <a:pt x="830" y="656"/>
                  <a:pt x="831" y="656"/>
                  <a:pt x="832" y="656"/>
                </a:cubicBezTo>
                <a:cubicBezTo>
                  <a:pt x="832" y="654"/>
                  <a:pt x="831" y="653"/>
                  <a:pt x="830" y="653"/>
                </a:cubicBezTo>
                <a:cubicBezTo>
                  <a:pt x="829" y="653"/>
                  <a:pt x="829" y="654"/>
                  <a:pt x="829" y="656"/>
                </a:cubicBezTo>
                <a:close/>
                <a:moveTo>
                  <a:pt x="842" y="659"/>
                </a:moveTo>
                <a:cubicBezTo>
                  <a:pt x="843" y="665"/>
                  <a:pt x="851" y="661"/>
                  <a:pt x="857" y="661"/>
                </a:cubicBezTo>
                <a:cubicBezTo>
                  <a:pt x="857" y="657"/>
                  <a:pt x="857" y="656"/>
                  <a:pt x="856" y="653"/>
                </a:cubicBezTo>
                <a:cubicBezTo>
                  <a:pt x="849" y="652"/>
                  <a:pt x="846" y="655"/>
                  <a:pt x="842" y="659"/>
                </a:cubicBezTo>
                <a:close/>
                <a:moveTo>
                  <a:pt x="841" y="656"/>
                </a:moveTo>
                <a:cubicBezTo>
                  <a:pt x="841" y="654"/>
                  <a:pt x="840" y="653"/>
                  <a:pt x="838" y="653"/>
                </a:cubicBezTo>
                <a:cubicBezTo>
                  <a:pt x="838" y="655"/>
                  <a:pt x="839" y="656"/>
                  <a:pt x="841" y="656"/>
                </a:cubicBezTo>
                <a:close/>
                <a:moveTo>
                  <a:pt x="805" y="659"/>
                </a:moveTo>
                <a:cubicBezTo>
                  <a:pt x="807" y="658"/>
                  <a:pt x="809" y="657"/>
                  <a:pt x="809" y="654"/>
                </a:cubicBezTo>
                <a:cubicBezTo>
                  <a:pt x="806" y="654"/>
                  <a:pt x="804" y="654"/>
                  <a:pt x="801" y="654"/>
                </a:cubicBezTo>
                <a:cubicBezTo>
                  <a:pt x="801" y="657"/>
                  <a:pt x="804" y="657"/>
                  <a:pt x="805" y="659"/>
                </a:cubicBezTo>
                <a:close/>
                <a:moveTo>
                  <a:pt x="807" y="663"/>
                </a:moveTo>
                <a:cubicBezTo>
                  <a:pt x="805" y="665"/>
                  <a:pt x="803" y="668"/>
                  <a:pt x="802" y="672"/>
                </a:cubicBezTo>
                <a:cubicBezTo>
                  <a:pt x="805" y="673"/>
                  <a:pt x="811" y="672"/>
                  <a:pt x="815" y="673"/>
                </a:cubicBezTo>
                <a:cubicBezTo>
                  <a:pt x="816" y="673"/>
                  <a:pt x="814" y="671"/>
                  <a:pt x="816" y="671"/>
                </a:cubicBezTo>
                <a:cubicBezTo>
                  <a:pt x="819" y="671"/>
                  <a:pt x="818" y="674"/>
                  <a:pt x="821" y="673"/>
                </a:cubicBezTo>
                <a:cubicBezTo>
                  <a:pt x="823" y="667"/>
                  <a:pt x="828" y="664"/>
                  <a:pt x="829" y="657"/>
                </a:cubicBezTo>
                <a:cubicBezTo>
                  <a:pt x="822" y="652"/>
                  <a:pt x="809" y="653"/>
                  <a:pt x="808" y="662"/>
                </a:cubicBezTo>
                <a:cubicBezTo>
                  <a:pt x="810" y="666"/>
                  <a:pt x="815" y="666"/>
                  <a:pt x="816" y="671"/>
                </a:cubicBezTo>
                <a:cubicBezTo>
                  <a:pt x="812" y="669"/>
                  <a:pt x="809" y="667"/>
                  <a:pt x="807" y="663"/>
                </a:cubicBezTo>
                <a:close/>
                <a:moveTo>
                  <a:pt x="863" y="661"/>
                </a:moveTo>
                <a:cubicBezTo>
                  <a:pt x="863" y="659"/>
                  <a:pt x="865" y="655"/>
                  <a:pt x="862" y="655"/>
                </a:cubicBezTo>
                <a:cubicBezTo>
                  <a:pt x="861" y="656"/>
                  <a:pt x="861" y="660"/>
                  <a:pt x="863" y="661"/>
                </a:cubicBezTo>
                <a:close/>
                <a:moveTo>
                  <a:pt x="833" y="661"/>
                </a:moveTo>
                <a:cubicBezTo>
                  <a:pt x="836" y="661"/>
                  <a:pt x="837" y="660"/>
                  <a:pt x="837" y="658"/>
                </a:cubicBezTo>
                <a:cubicBezTo>
                  <a:pt x="836" y="657"/>
                  <a:pt x="836" y="655"/>
                  <a:pt x="833" y="655"/>
                </a:cubicBezTo>
                <a:cubicBezTo>
                  <a:pt x="832" y="656"/>
                  <a:pt x="832" y="660"/>
                  <a:pt x="833" y="661"/>
                </a:cubicBezTo>
                <a:close/>
                <a:moveTo>
                  <a:pt x="803" y="663"/>
                </a:moveTo>
                <a:cubicBezTo>
                  <a:pt x="805" y="661"/>
                  <a:pt x="802" y="658"/>
                  <a:pt x="799" y="657"/>
                </a:cubicBezTo>
                <a:cubicBezTo>
                  <a:pt x="798" y="660"/>
                  <a:pt x="801" y="663"/>
                  <a:pt x="803" y="663"/>
                </a:cubicBezTo>
                <a:close/>
                <a:moveTo>
                  <a:pt x="802" y="709"/>
                </a:moveTo>
                <a:cubicBezTo>
                  <a:pt x="823" y="709"/>
                  <a:pt x="842" y="708"/>
                  <a:pt x="862" y="708"/>
                </a:cubicBezTo>
                <a:cubicBezTo>
                  <a:pt x="852" y="691"/>
                  <a:pt x="841" y="676"/>
                  <a:pt x="830" y="661"/>
                </a:cubicBezTo>
                <a:cubicBezTo>
                  <a:pt x="821" y="678"/>
                  <a:pt x="810" y="692"/>
                  <a:pt x="802" y="709"/>
                </a:cubicBezTo>
                <a:close/>
                <a:moveTo>
                  <a:pt x="837" y="665"/>
                </a:moveTo>
                <a:cubicBezTo>
                  <a:pt x="840" y="672"/>
                  <a:pt x="845" y="677"/>
                  <a:pt x="849" y="683"/>
                </a:cubicBezTo>
                <a:cubicBezTo>
                  <a:pt x="850" y="682"/>
                  <a:pt x="851" y="680"/>
                  <a:pt x="851" y="677"/>
                </a:cubicBezTo>
                <a:cubicBezTo>
                  <a:pt x="846" y="673"/>
                  <a:pt x="845" y="662"/>
                  <a:pt x="837" y="665"/>
                </a:cubicBezTo>
                <a:close/>
                <a:moveTo>
                  <a:pt x="850" y="672"/>
                </a:moveTo>
                <a:cubicBezTo>
                  <a:pt x="853" y="671"/>
                  <a:pt x="854" y="670"/>
                  <a:pt x="855" y="667"/>
                </a:cubicBezTo>
                <a:cubicBezTo>
                  <a:pt x="852" y="667"/>
                  <a:pt x="851" y="665"/>
                  <a:pt x="847" y="666"/>
                </a:cubicBezTo>
                <a:cubicBezTo>
                  <a:pt x="847" y="669"/>
                  <a:pt x="850" y="669"/>
                  <a:pt x="850" y="672"/>
                </a:cubicBezTo>
                <a:close/>
                <a:moveTo>
                  <a:pt x="798" y="668"/>
                </a:moveTo>
                <a:cubicBezTo>
                  <a:pt x="798" y="669"/>
                  <a:pt x="798" y="671"/>
                  <a:pt x="800" y="670"/>
                </a:cubicBezTo>
                <a:cubicBezTo>
                  <a:pt x="800" y="669"/>
                  <a:pt x="801" y="669"/>
                  <a:pt x="801" y="667"/>
                </a:cubicBezTo>
                <a:cubicBezTo>
                  <a:pt x="799" y="667"/>
                  <a:pt x="798" y="667"/>
                  <a:pt x="798" y="668"/>
                </a:cubicBezTo>
                <a:close/>
                <a:moveTo>
                  <a:pt x="792" y="671"/>
                </a:moveTo>
                <a:cubicBezTo>
                  <a:pt x="794" y="672"/>
                  <a:pt x="794" y="668"/>
                  <a:pt x="792" y="668"/>
                </a:cubicBezTo>
                <a:cubicBezTo>
                  <a:pt x="792" y="669"/>
                  <a:pt x="790" y="670"/>
                  <a:pt x="792" y="671"/>
                </a:cubicBezTo>
                <a:close/>
                <a:moveTo>
                  <a:pt x="780" y="687"/>
                </a:moveTo>
                <a:cubicBezTo>
                  <a:pt x="781" y="688"/>
                  <a:pt x="783" y="688"/>
                  <a:pt x="783" y="689"/>
                </a:cubicBezTo>
                <a:cubicBezTo>
                  <a:pt x="778" y="691"/>
                  <a:pt x="777" y="696"/>
                  <a:pt x="777" y="702"/>
                </a:cubicBezTo>
                <a:cubicBezTo>
                  <a:pt x="782" y="697"/>
                  <a:pt x="784" y="689"/>
                  <a:pt x="788" y="684"/>
                </a:cubicBezTo>
                <a:cubicBezTo>
                  <a:pt x="786" y="679"/>
                  <a:pt x="789" y="673"/>
                  <a:pt x="786" y="669"/>
                </a:cubicBezTo>
                <a:cubicBezTo>
                  <a:pt x="784" y="676"/>
                  <a:pt x="783" y="681"/>
                  <a:pt x="780" y="687"/>
                </a:cubicBezTo>
                <a:close/>
                <a:moveTo>
                  <a:pt x="855" y="676"/>
                </a:moveTo>
                <a:cubicBezTo>
                  <a:pt x="857" y="678"/>
                  <a:pt x="856" y="683"/>
                  <a:pt x="859" y="683"/>
                </a:cubicBezTo>
                <a:cubicBezTo>
                  <a:pt x="859" y="682"/>
                  <a:pt x="860" y="675"/>
                  <a:pt x="858" y="674"/>
                </a:cubicBezTo>
                <a:cubicBezTo>
                  <a:pt x="857" y="675"/>
                  <a:pt x="855" y="675"/>
                  <a:pt x="855" y="676"/>
                </a:cubicBezTo>
                <a:close/>
                <a:moveTo>
                  <a:pt x="870" y="689"/>
                </a:moveTo>
                <a:cubicBezTo>
                  <a:pt x="869" y="684"/>
                  <a:pt x="873" y="677"/>
                  <a:pt x="869" y="674"/>
                </a:cubicBezTo>
                <a:cubicBezTo>
                  <a:pt x="868" y="677"/>
                  <a:pt x="866" y="686"/>
                  <a:pt x="870" y="689"/>
                </a:cubicBezTo>
                <a:close/>
                <a:moveTo>
                  <a:pt x="807" y="695"/>
                </a:moveTo>
                <a:cubicBezTo>
                  <a:pt x="810" y="687"/>
                  <a:pt x="815" y="684"/>
                  <a:pt x="818" y="676"/>
                </a:cubicBezTo>
                <a:cubicBezTo>
                  <a:pt x="810" y="676"/>
                  <a:pt x="804" y="677"/>
                  <a:pt x="799" y="676"/>
                </a:cubicBezTo>
                <a:cubicBezTo>
                  <a:pt x="800" y="682"/>
                  <a:pt x="803" y="690"/>
                  <a:pt x="807" y="695"/>
                </a:cubicBezTo>
                <a:close/>
                <a:moveTo>
                  <a:pt x="852" y="683"/>
                </a:moveTo>
                <a:cubicBezTo>
                  <a:pt x="853" y="684"/>
                  <a:pt x="853" y="686"/>
                  <a:pt x="855" y="685"/>
                </a:cubicBezTo>
                <a:cubicBezTo>
                  <a:pt x="855" y="684"/>
                  <a:pt x="855" y="683"/>
                  <a:pt x="855" y="682"/>
                </a:cubicBezTo>
                <a:cubicBezTo>
                  <a:pt x="854" y="682"/>
                  <a:pt x="852" y="682"/>
                  <a:pt x="852" y="683"/>
                </a:cubicBezTo>
                <a:close/>
                <a:moveTo>
                  <a:pt x="796" y="696"/>
                </a:moveTo>
                <a:cubicBezTo>
                  <a:pt x="799" y="696"/>
                  <a:pt x="802" y="697"/>
                  <a:pt x="803" y="696"/>
                </a:cubicBezTo>
                <a:cubicBezTo>
                  <a:pt x="802" y="691"/>
                  <a:pt x="798" y="691"/>
                  <a:pt x="800" y="685"/>
                </a:cubicBezTo>
                <a:cubicBezTo>
                  <a:pt x="798" y="685"/>
                  <a:pt x="799" y="682"/>
                  <a:pt x="797" y="683"/>
                </a:cubicBezTo>
                <a:cubicBezTo>
                  <a:pt x="799" y="689"/>
                  <a:pt x="796" y="690"/>
                  <a:pt x="796" y="696"/>
                </a:cubicBezTo>
                <a:close/>
                <a:moveTo>
                  <a:pt x="868" y="694"/>
                </a:moveTo>
                <a:cubicBezTo>
                  <a:pt x="871" y="695"/>
                  <a:pt x="872" y="693"/>
                  <a:pt x="874" y="694"/>
                </a:cubicBezTo>
                <a:cubicBezTo>
                  <a:pt x="874" y="690"/>
                  <a:pt x="874" y="685"/>
                  <a:pt x="871" y="684"/>
                </a:cubicBezTo>
                <a:cubicBezTo>
                  <a:pt x="872" y="690"/>
                  <a:pt x="868" y="690"/>
                  <a:pt x="868" y="694"/>
                </a:cubicBezTo>
                <a:close/>
                <a:moveTo>
                  <a:pt x="853" y="687"/>
                </a:moveTo>
                <a:cubicBezTo>
                  <a:pt x="855" y="693"/>
                  <a:pt x="858" y="698"/>
                  <a:pt x="862" y="702"/>
                </a:cubicBezTo>
                <a:cubicBezTo>
                  <a:pt x="862" y="695"/>
                  <a:pt x="861" y="685"/>
                  <a:pt x="853" y="687"/>
                </a:cubicBezTo>
                <a:close/>
                <a:moveTo>
                  <a:pt x="775" y="711"/>
                </a:moveTo>
                <a:cubicBezTo>
                  <a:pt x="779" y="710"/>
                  <a:pt x="785" y="711"/>
                  <a:pt x="789" y="709"/>
                </a:cubicBezTo>
                <a:cubicBezTo>
                  <a:pt x="788" y="703"/>
                  <a:pt x="790" y="694"/>
                  <a:pt x="786" y="691"/>
                </a:cubicBezTo>
                <a:cubicBezTo>
                  <a:pt x="785" y="700"/>
                  <a:pt x="778" y="703"/>
                  <a:pt x="775" y="711"/>
                </a:cubicBezTo>
                <a:close/>
                <a:moveTo>
                  <a:pt x="878" y="711"/>
                </a:moveTo>
                <a:cubicBezTo>
                  <a:pt x="878" y="706"/>
                  <a:pt x="877" y="702"/>
                  <a:pt x="876" y="697"/>
                </a:cubicBezTo>
                <a:cubicBezTo>
                  <a:pt x="874" y="696"/>
                  <a:pt x="871" y="696"/>
                  <a:pt x="868" y="696"/>
                </a:cubicBezTo>
                <a:cubicBezTo>
                  <a:pt x="871" y="702"/>
                  <a:pt x="875" y="706"/>
                  <a:pt x="878" y="711"/>
                </a:cubicBezTo>
                <a:close/>
                <a:moveTo>
                  <a:pt x="795" y="709"/>
                </a:moveTo>
                <a:cubicBezTo>
                  <a:pt x="801" y="709"/>
                  <a:pt x="800" y="703"/>
                  <a:pt x="803" y="700"/>
                </a:cubicBezTo>
                <a:cubicBezTo>
                  <a:pt x="802" y="699"/>
                  <a:pt x="799" y="700"/>
                  <a:pt x="797" y="699"/>
                </a:cubicBezTo>
                <a:cubicBezTo>
                  <a:pt x="795" y="701"/>
                  <a:pt x="795" y="705"/>
                  <a:pt x="795" y="709"/>
                </a:cubicBezTo>
                <a:close/>
                <a:moveTo>
                  <a:pt x="868" y="709"/>
                </a:moveTo>
                <a:cubicBezTo>
                  <a:pt x="871" y="709"/>
                  <a:pt x="875" y="715"/>
                  <a:pt x="878" y="712"/>
                </a:cubicBezTo>
                <a:cubicBezTo>
                  <a:pt x="873" y="710"/>
                  <a:pt x="871" y="706"/>
                  <a:pt x="870" y="702"/>
                </a:cubicBezTo>
                <a:cubicBezTo>
                  <a:pt x="869" y="702"/>
                  <a:pt x="868" y="702"/>
                  <a:pt x="868" y="702"/>
                </a:cubicBezTo>
                <a:cubicBezTo>
                  <a:pt x="868" y="704"/>
                  <a:pt x="868" y="706"/>
                  <a:pt x="868" y="709"/>
                </a:cubicBezTo>
                <a:close/>
                <a:moveTo>
                  <a:pt x="822" y="713"/>
                </a:moveTo>
                <a:cubicBezTo>
                  <a:pt x="822" y="716"/>
                  <a:pt x="825" y="716"/>
                  <a:pt x="826" y="717"/>
                </a:cubicBezTo>
                <a:cubicBezTo>
                  <a:pt x="835" y="715"/>
                  <a:pt x="856" y="722"/>
                  <a:pt x="860" y="713"/>
                </a:cubicBezTo>
                <a:cubicBezTo>
                  <a:pt x="849" y="713"/>
                  <a:pt x="833" y="711"/>
                  <a:pt x="822" y="713"/>
                </a:cubicBezTo>
                <a:close/>
                <a:moveTo>
                  <a:pt x="815" y="717"/>
                </a:moveTo>
                <a:cubicBezTo>
                  <a:pt x="817" y="718"/>
                  <a:pt x="820" y="718"/>
                  <a:pt x="822" y="717"/>
                </a:cubicBezTo>
                <a:cubicBezTo>
                  <a:pt x="822" y="715"/>
                  <a:pt x="820" y="714"/>
                  <a:pt x="818" y="713"/>
                </a:cubicBezTo>
                <a:cubicBezTo>
                  <a:pt x="817" y="715"/>
                  <a:pt x="815" y="715"/>
                  <a:pt x="815" y="717"/>
                </a:cubicBezTo>
                <a:close/>
                <a:moveTo>
                  <a:pt x="797" y="715"/>
                </a:moveTo>
                <a:cubicBezTo>
                  <a:pt x="797" y="715"/>
                  <a:pt x="797" y="716"/>
                  <a:pt x="797" y="717"/>
                </a:cubicBezTo>
                <a:cubicBezTo>
                  <a:pt x="802" y="718"/>
                  <a:pt x="813" y="719"/>
                  <a:pt x="814" y="714"/>
                </a:cubicBezTo>
                <a:cubicBezTo>
                  <a:pt x="808" y="714"/>
                  <a:pt x="801" y="713"/>
                  <a:pt x="797" y="715"/>
                </a:cubicBezTo>
                <a:close/>
                <a:moveTo>
                  <a:pt x="773" y="717"/>
                </a:moveTo>
                <a:cubicBezTo>
                  <a:pt x="773" y="721"/>
                  <a:pt x="771" y="726"/>
                  <a:pt x="773" y="730"/>
                </a:cubicBezTo>
                <a:cubicBezTo>
                  <a:pt x="778" y="729"/>
                  <a:pt x="776" y="721"/>
                  <a:pt x="779" y="717"/>
                </a:cubicBezTo>
                <a:cubicBezTo>
                  <a:pt x="777" y="716"/>
                  <a:pt x="776" y="717"/>
                  <a:pt x="773" y="717"/>
                </a:cubicBezTo>
                <a:close/>
                <a:moveTo>
                  <a:pt x="784" y="730"/>
                </a:moveTo>
                <a:cubicBezTo>
                  <a:pt x="785" y="730"/>
                  <a:pt x="786" y="730"/>
                  <a:pt x="787" y="730"/>
                </a:cubicBezTo>
                <a:cubicBezTo>
                  <a:pt x="789" y="728"/>
                  <a:pt x="789" y="725"/>
                  <a:pt x="790" y="722"/>
                </a:cubicBezTo>
                <a:cubicBezTo>
                  <a:pt x="787" y="722"/>
                  <a:pt x="787" y="720"/>
                  <a:pt x="783" y="720"/>
                </a:cubicBezTo>
                <a:cubicBezTo>
                  <a:pt x="783" y="721"/>
                  <a:pt x="783" y="728"/>
                  <a:pt x="784" y="730"/>
                </a:cubicBezTo>
                <a:close/>
                <a:moveTo>
                  <a:pt x="858" y="729"/>
                </a:moveTo>
                <a:cubicBezTo>
                  <a:pt x="855" y="730"/>
                  <a:pt x="853" y="733"/>
                  <a:pt x="853" y="737"/>
                </a:cubicBezTo>
                <a:cubicBezTo>
                  <a:pt x="855" y="736"/>
                  <a:pt x="857" y="738"/>
                  <a:pt x="859" y="738"/>
                </a:cubicBezTo>
                <a:cubicBezTo>
                  <a:pt x="861" y="737"/>
                  <a:pt x="858" y="734"/>
                  <a:pt x="859" y="734"/>
                </a:cubicBezTo>
                <a:cubicBezTo>
                  <a:pt x="863" y="734"/>
                  <a:pt x="863" y="737"/>
                  <a:pt x="866" y="738"/>
                </a:cubicBezTo>
                <a:cubicBezTo>
                  <a:pt x="865" y="732"/>
                  <a:pt x="865" y="725"/>
                  <a:pt x="863" y="720"/>
                </a:cubicBezTo>
                <a:cubicBezTo>
                  <a:pt x="859" y="721"/>
                  <a:pt x="857" y="724"/>
                  <a:pt x="858" y="729"/>
                </a:cubicBezTo>
                <a:close/>
                <a:moveTo>
                  <a:pt x="873" y="729"/>
                </a:moveTo>
                <a:cubicBezTo>
                  <a:pt x="874" y="727"/>
                  <a:pt x="874" y="721"/>
                  <a:pt x="872" y="720"/>
                </a:cubicBezTo>
                <a:cubicBezTo>
                  <a:pt x="871" y="722"/>
                  <a:pt x="870" y="729"/>
                  <a:pt x="873" y="729"/>
                </a:cubicBezTo>
                <a:close/>
                <a:moveTo>
                  <a:pt x="881" y="724"/>
                </a:moveTo>
                <a:cubicBezTo>
                  <a:pt x="881" y="722"/>
                  <a:pt x="881" y="721"/>
                  <a:pt x="881" y="720"/>
                </a:cubicBezTo>
                <a:cubicBezTo>
                  <a:pt x="880" y="720"/>
                  <a:pt x="879" y="720"/>
                  <a:pt x="878" y="720"/>
                </a:cubicBezTo>
                <a:cubicBezTo>
                  <a:pt x="878" y="722"/>
                  <a:pt x="878" y="724"/>
                  <a:pt x="881" y="724"/>
                </a:cubicBezTo>
                <a:close/>
                <a:moveTo>
                  <a:pt x="840" y="722"/>
                </a:moveTo>
                <a:cubicBezTo>
                  <a:pt x="843" y="728"/>
                  <a:pt x="847" y="726"/>
                  <a:pt x="853" y="728"/>
                </a:cubicBezTo>
                <a:cubicBezTo>
                  <a:pt x="854" y="726"/>
                  <a:pt x="857" y="725"/>
                  <a:pt x="857" y="722"/>
                </a:cubicBezTo>
                <a:cubicBezTo>
                  <a:pt x="852" y="720"/>
                  <a:pt x="846" y="722"/>
                  <a:pt x="840" y="722"/>
                </a:cubicBezTo>
                <a:close/>
                <a:moveTo>
                  <a:pt x="811" y="722"/>
                </a:moveTo>
                <a:cubicBezTo>
                  <a:pt x="808" y="728"/>
                  <a:pt x="803" y="730"/>
                  <a:pt x="801" y="737"/>
                </a:cubicBezTo>
                <a:cubicBezTo>
                  <a:pt x="807" y="737"/>
                  <a:pt x="818" y="741"/>
                  <a:pt x="823" y="738"/>
                </a:cubicBezTo>
                <a:cubicBezTo>
                  <a:pt x="826" y="737"/>
                  <a:pt x="829" y="730"/>
                  <a:pt x="829" y="728"/>
                </a:cubicBezTo>
                <a:cubicBezTo>
                  <a:pt x="829" y="725"/>
                  <a:pt x="827" y="724"/>
                  <a:pt x="825" y="722"/>
                </a:cubicBezTo>
                <a:cubicBezTo>
                  <a:pt x="821" y="722"/>
                  <a:pt x="817" y="722"/>
                  <a:pt x="811" y="722"/>
                </a:cubicBezTo>
                <a:close/>
                <a:moveTo>
                  <a:pt x="829" y="722"/>
                </a:moveTo>
                <a:cubicBezTo>
                  <a:pt x="829" y="725"/>
                  <a:pt x="831" y="724"/>
                  <a:pt x="833" y="724"/>
                </a:cubicBezTo>
                <a:cubicBezTo>
                  <a:pt x="835" y="721"/>
                  <a:pt x="830" y="721"/>
                  <a:pt x="829" y="722"/>
                </a:cubicBezTo>
                <a:close/>
                <a:moveTo>
                  <a:pt x="795" y="723"/>
                </a:moveTo>
                <a:cubicBezTo>
                  <a:pt x="793" y="727"/>
                  <a:pt x="797" y="729"/>
                  <a:pt x="800" y="730"/>
                </a:cubicBezTo>
                <a:cubicBezTo>
                  <a:pt x="803" y="729"/>
                  <a:pt x="807" y="725"/>
                  <a:pt x="807" y="722"/>
                </a:cubicBezTo>
                <a:cubicBezTo>
                  <a:pt x="803" y="722"/>
                  <a:pt x="800" y="723"/>
                  <a:pt x="795" y="723"/>
                </a:cubicBezTo>
                <a:close/>
                <a:moveTo>
                  <a:pt x="833" y="727"/>
                </a:moveTo>
                <a:cubicBezTo>
                  <a:pt x="835" y="729"/>
                  <a:pt x="837" y="728"/>
                  <a:pt x="840" y="727"/>
                </a:cubicBezTo>
                <a:cubicBezTo>
                  <a:pt x="839" y="723"/>
                  <a:pt x="834" y="723"/>
                  <a:pt x="833" y="727"/>
                </a:cubicBezTo>
                <a:close/>
                <a:moveTo>
                  <a:pt x="882" y="732"/>
                </a:moveTo>
                <a:cubicBezTo>
                  <a:pt x="883" y="738"/>
                  <a:pt x="882" y="725"/>
                  <a:pt x="880" y="724"/>
                </a:cubicBezTo>
                <a:cubicBezTo>
                  <a:pt x="879" y="728"/>
                  <a:pt x="881" y="729"/>
                  <a:pt x="882" y="732"/>
                </a:cubicBezTo>
                <a:close/>
                <a:moveTo>
                  <a:pt x="852" y="730"/>
                </a:moveTo>
                <a:cubicBezTo>
                  <a:pt x="851" y="729"/>
                  <a:pt x="849" y="729"/>
                  <a:pt x="848" y="728"/>
                </a:cubicBezTo>
                <a:cubicBezTo>
                  <a:pt x="846" y="732"/>
                  <a:pt x="852" y="734"/>
                  <a:pt x="852" y="730"/>
                </a:cubicBezTo>
                <a:close/>
                <a:moveTo>
                  <a:pt x="836" y="730"/>
                </a:moveTo>
                <a:cubicBezTo>
                  <a:pt x="838" y="736"/>
                  <a:pt x="841" y="740"/>
                  <a:pt x="846" y="743"/>
                </a:cubicBezTo>
                <a:cubicBezTo>
                  <a:pt x="847" y="741"/>
                  <a:pt x="848" y="740"/>
                  <a:pt x="848" y="737"/>
                </a:cubicBezTo>
                <a:cubicBezTo>
                  <a:pt x="845" y="733"/>
                  <a:pt x="843" y="728"/>
                  <a:pt x="836" y="730"/>
                </a:cubicBezTo>
                <a:close/>
                <a:moveTo>
                  <a:pt x="786" y="737"/>
                </a:moveTo>
                <a:cubicBezTo>
                  <a:pt x="788" y="736"/>
                  <a:pt x="786" y="732"/>
                  <a:pt x="786" y="731"/>
                </a:cubicBezTo>
                <a:cubicBezTo>
                  <a:pt x="786" y="731"/>
                  <a:pt x="785" y="731"/>
                  <a:pt x="784" y="731"/>
                </a:cubicBezTo>
                <a:cubicBezTo>
                  <a:pt x="783" y="733"/>
                  <a:pt x="784" y="736"/>
                  <a:pt x="786" y="737"/>
                </a:cubicBezTo>
                <a:close/>
                <a:moveTo>
                  <a:pt x="793" y="739"/>
                </a:moveTo>
                <a:cubicBezTo>
                  <a:pt x="796" y="738"/>
                  <a:pt x="798" y="737"/>
                  <a:pt x="798" y="733"/>
                </a:cubicBezTo>
                <a:cubicBezTo>
                  <a:pt x="797" y="732"/>
                  <a:pt x="796" y="731"/>
                  <a:pt x="794" y="731"/>
                </a:cubicBezTo>
                <a:cubicBezTo>
                  <a:pt x="792" y="733"/>
                  <a:pt x="793" y="737"/>
                  <a:pt x="793" y="739"/>
                </a:cubicBezTo>
                <a:close/>
                <a:moveTo>
                  <a:pt x="870" y="782"/>
                </a:moveTo>
                <a:cubicBezTo>
                  <a:pt x="870" y="781"/>
                  <a:pt x="870" y="780"/>
                  <a:pt x="869" y="780"/>
                </a:cubicBezTo>
                <a:cubicBezTo>
                  <a:pt x="862" y="770"/>
                  <a:pt x="854" y="760"/>
                  <a:pt x="846" y="750"/>
                </a:cubicBezTo>
                <a:cubicBezTo>
                  <a:pt x="841" y="744"/>
                  <a:pt x="838" y="736"/>
                  <a:pt x="831" y="731"/>
                </a:cubicBezTo>
                <a:cubicBezTo>
                  <a:pt x="818" y="749"/>
                  <a:pt x="804" y="769"/>
                  <a:pt x="794" y="787"/>
                </a:cubicBezTo>
                <a:cubicBezTo>
                  <a:pt x="818" y="786"/>
                  <a:pt x="847" y="787"/>
                  <a:pt x="873" y="786"/>
                </a:cubicBezTo>
                <a:cubicBezTo>
                  <a:pt x="871" y="780"/>
                  <a:pt x="873" y="774"/>
                  <a:pt x="870" y="766"/>
                </a:cubicBezTo>
                <a:cubicBezTo>
                  <a:pt x="869" y="766"/>
                  <a:pt x="867" y="768"/>
                  <a:pt x="866" y="766"/>
                </a:cubicBezTo>
                <a:cubicBezTo>
                  <a:pt x="867" y="764"/>
                  <a:pt x="870" y="767"/>
                  <a:pt x="870" y="764"/>
                </a:cubicBezTo>
                <a:cubicBezTo>
                  <a:pt x="863" y="759"/>
                  <a:pt x="862" y="745"/>
                  <a:pt x="848" y="748"/>
                </a:cubicBezTo>
                <a:cubicBezTo>
                  <a:pt x="853" y="754"/>
                  <a:pt x="857" y="762"/>
                  <a:pt x="864" y="766"/>
                </a:cubicBezTo>
                <a:cubicBezTo>
                  <a:pt x="862" y="772"/>
                  <a:pt x="874" y="776"/>
                  <a:pt x="870" y="782"/>
                </a:cubicBezTo>
                <a:close/>
                <a:moveTo>
                  <a:pt x="769" y="741"/>
                </a:moveTo>
                <a:cubicBezTo>
                  <a:pt x="772" y="739"/>
                  <a:pt x="774" y="738"/>
                  <a:pt x="774" y="734"/>
                </a:cubicBezTo>
                <a:cubicBezTo>
                  <a:pt x="774" y="733"/>
                  <a:pt x="773" y="733"/>
                  <a:pt x="773" y="732"/>
                </a:cubicBezTo>
                <a:cubicBezTo>
                  <a:pt x="772" y="736"/>
                  <a:pt x="769" y="737"/>
                  <a:pt x="769" y="741"/>
                </a:cubicBezTo>
                <a:close/>
                <a:moveTo>
                  <a:pt x="773" y="748"/>
                </a:moveTo>
                <a:cubicBezTo>
                  <a:pt x="776" y="747"/>
                  <a:pt x="779" y="748"/>
                  <a:pt x="780" y="747"/>
                </a:cubicBezTo>
                <a:cubicBezTo>
                  <a:pt x="779" y="742"/>
                  <a:pt x="782" y="735"/>
                  <a:pt x="779" y="732"/>
                </a:cubicBezTo>
                <a:cubicBezTo>
                  <a:pt x="777" y="738"/>
                  <a:pt x="775" y="742"/>
                  <a:pt x="773" y="748"/>
                </a:cubicBezTo>
                <a:close/>
                <a:moveTo>
                  <a:pt x="1189" y="741"/>
                </a:moveTo>
                <a:cubicBezTo>
                  <a:pt x="1189" y="740"/>
                  <a:pt x="1190" y="733"/>
                  <a:pt x="1187" y="732"/>
                </a:cubicBezTo>
                <a:cubicBezTo>
                  <a:pt x="1187" y="734"/>
                  <a:pt x="1185" y="741"/>
                  <a:pt x="1189" y="741"/>
                </a:cubicBezTo>
                <a:close/>
                <a:moveTo>
                  <a:pt x="878" y="752"/>
                </a:moveTo>
                <a:cubicBezTo>
                  <a:pt x="880" y="752"/>
                  <a:pt x="881" y="752"/>
                  <a:pt x="883" y="752"/>
                </a:cubicBezTo>
                <a:cubicBezTo>
                  <a:pt x="880" y="745"/>
                  <a:pt x="880" y="738"/>
                  <a:pt x="878" y="733"/>
                </a:cubicBezTo>
                <a:cubicBezTo>
                  <a:pt x="877" y="739"/>
                  <a:pt x="878" y="745"/>
                  <a:pt x="878" y="752"/>
                </a:cubicBezTo>
                <a:close/>
                <a:moveTo>
                  <a:pt x="855" y="741"/>
                </a:moveTo>
                <a:cubicBezTo>
                  <a:pt x="858" y="741"/>
                  <a:pt x="856" y="746"/>
                  <a:pt x="860" y="745"/>
                </a:cubicBezTo>
                <a:cubicBezTo>
                  <a:pt x="860" y="744"/>
                  <a:pt x="860" y="742"/>
                  <a:pt x="861" y="742"/>
                </a:cubicBezTo>
                <a:cubicBezTo>
                  <a:pt x="861" y="744"/>
                  <a:pt x="865" y="745"/>
                  <a:pt x="867" y="744"/>
                </a:cubicBezTo>
                <a:cubicBezTo>
                  <a:pt x="867" y="742"/>
                  <a:pt x="866" y="743"/>
                  <a:pt x="866" y="741"/>
                </a:cubicBezTo>
                <a:cubicBezTo>
                  <a:pt x="861" y="739"/>
                  <a:pt x="858" y="739"/>
                  <a:pt x="855" y="741"/>
                </a:cubicBezTo>
                <a:close/>
                <a:moveTo>
                  <a:pt x="800" y="741"/>
                </a:moveTo>
                <a:cubicBezTo>
                  <a:pt x="800" y="744"/>
                  <a:pt x="799" y="745"/>
                  <a:pt x="797" y="745"/>
                </a:cubicBezTo>
                <a:cubicBezTo>
                  <a:pt x="798" y="744"/>
                  <a:pt x="799" y="743"/>
                  <a:pt x="799" y="741"/>
                </a:cubicBezTo>
                <a:cubicBezTo>
                  <a:pt x="794" y="743"/>
                  <a:pt x="789" y="749"/>
                  <a:pt x="792" y="756"/>
                </a:cubicBezTo>
                <a:cubicBezTo>
                  <a:pt x="798" y="755"/>
                  <a:pt x="807" y="755"/>
                  <a:pt x="813" y="754"/>
                </a:cubicBezTo>
                <a:cubicBezTo>
                  <a:pt x="814" y="748"/>
                  <a:pt x="820" y="747"/>
                  <a:pt x="820" y="740"/>
                </a:cubicBezTo>
                <a:cubicBezTo>
                  <a:pt x="815" y="739"/>
                  <a:pt x="809" y="742"/>
                  <a:pt x="805" y="739"/>
                </a:cubicBezTo>
                <a:cubicBezTo>
                  <a:pt x="802" y="745"/>
                  <a:pt x="812" y="750"/>
                  <a:pt x="809" y="754"/>
                </a:cubicBezTo>
                <a:cubicBezTo>
                  <a:pt x="805" y="750"/>
                  <a:pt x="805" y="743"/>
                  <a:pt x="800" y="741"/>
                </a:cubicBezTo>
                <a:close/>
                <a:moveTo>
                  <a:pt x="848" y="743"/>
                </a:moveTo>
                <a:cubicBezTo>
                  <a:pt x="848" y="744"/>
                  <a:pt x="849" y="744"/>
                  <a:pt x="848" y="745"/>
                </a:cubicBezTo>
                <a:cubicBezTo>
                  <a:pt x="850" y="744"/>
                  <a:pt x="851" y="745"/>
                  <a:pt x="854" y="745"/>
                </a:cubicBezTo>
                <a:cubicBezTo>
                  <a:pt x="853" y="742"/>
                  <a:pt x="852" y="741"/>
                  <a:pt x="850" y="739"/>
                </a:cubicBezTo>
                <a:cubicBezTo>
                  <a:pt x="850" y="742"/>
                  <a:pt x="848" y="741"/>
                  <a:pt x="848" y="743"/>
                </a:cubicBezTo>
                <a:close/>
                <a:moveTo>
                  <a:pt x="873" y="745"/>
                </a:moveTo>
                <a:cubicBezTo>
                  <a:pt x="875" y="744"/>
                  <a:pt x="874" y="742"/>
                  <a:pt x="872" y="741"/>
                </a:cubicBezTo>
                <a:cubicBezTo>
                  <a:pt x="871" y="742"/>
                  <a:pt x="871" y="745"/>
                  <a:pt x="873" y="745"/>
                </a:cubicBezTo>
                <a:close/>
                <a:moveTo>
                  <a:pt x="1178" y="747"/>
                </a:moveTo>
                <a:cubicBezTo>
                  <a:pt x="1180" y="748"/>
                  <a:pt x="1183" y="748"/>
                  <a:pt x="1183" y="745"/>
                </a:cubicBezTo>
                <a:cubicBezTo>
                  <a:pt x="1180" y="744"/>
                  <a:pt x="1179" y="746"/>
                  <a:pt x="1178" y="747"/>
                </a:cubicBezTo>
                <a:close/>
                <a:moveTo>
                  <a:pt x="1186" y="745"/>
                </a:moveTo>
                <a:cubicBezTo>
                  <a:pt x="1186" y="747"/>
                  <a:pt x="1187" y="748"/>
                  <a:pt x="1188" y="748"/>
                </a:cubicBezTo>
                <a:cubicBezTo>
                  <a:pt x="1189" y="747"/>
                  <a:pt x="1191" y="747"/>
                  <a:pt x="1191" y="745"/>
                </a:cubicBezTo>
                <a:cubicBezTo>
                  <a:pt x="1189" y="745"/>
                  <a:pt x="1187" y="744"/>
                  <a:pt x="1186" y="745"/>
                </a:cubicBezTo>
                <a:close/>
                <a:moveTo>
                  <a:pt x="861" y="749"/>
                </a:moveTo>
                <a:cubicBezTo>
                  <a:pt x="862" y="750"/>
                  <a:pt x="864" y="751"/>
                  <a:pt x="864" y="753"/>
                </a:cubicBezTo>
                <a:cubicBezTo>
                  <a:pt x="867" y="752"/>
                  <a:pt x="868" y="754"/>
                  <a:pt x="869" y="753"/>
                </a:cubicBezTo>
                <a:cubicBezTo>
                  <a:pt x="869" y="750"/>
                  <a:pt x="866" y="751"/>
                  <a:pt x="867" y="748"/>
                </a:cubicBezTo>
                <a:cubicBezTo>
                  <a:pt x="864" y="749"/>
                  <a:pt x="862" y="746"/>
                  <a:pt x="861" y="749"/>
                </a:cubicBezTo>
                <a:close/>
                <a:moveTo>
                  <a:pt x="771" y="759"/>
                </a:moveTo>
                <a:cubicBezTo>
                  <a:pt x="768" y="765"/>
                  <a:pt x="763" y="776"/>
                  <a:pt x="764" y="782"/>
                </a:cubicBezTo>
                <a:cubicBezTo>
                  <a:pt x="766" y="779"/>
                  <a:pt x="767" y="774"/>
                  <a:pt x="771" y="773"/>
                </a:cubicBezTo>
                <a:cubicBezTo>
                  <a:pt x="772" y="764"/>
                  <a:pt x="784" y="762"/>
                  <a:pt x="779" y="750"/>
                </a:cubicBezTo>
                <a:cubicBezTo>
                  <a:pt x="774" y="750"/>
                  <a:pt x="770" y="751"/>
                  <a:pt x="771" y="759"/>
                </a:cubicBezTo>
                <a:close/>
                <a:moveTo>
                  <a:pt x="1186" y="759"/>
                </a:moveTo>
                <a:cubicBezTo>
                  <a:pt x="1188" y="759"/>
                  <a:pt x="1190" y="759"/>
                  <a:pt x="1191" y="760"/>
                </a:cubicBezTo>
                <a:cubicBezTo>
                  <a:pt x="1190" y="757"/>
                  <a:pt x="1192" y="753"/>
                  <a:pt x="1190" y="752"/>
                </a:cubicBezTo>
                <a:cubicBezTo>
                  <a:pt x="1192" y="758"/>
                  <a:pt x="1184" y="754"/>
                  <a:pt x="1186" y="759"/>
                </a:cubicBezTo>
                <a:close/>
                <a:moveTo>
                  <a:pt x="878" y="755"/>
                </a:moveTo>
                <a:cubicBezTo>
                  <a:pt x="878" y="761"/>
                  <a:pt x="876" y="771"/>
                  <a:pt x="881" y="773"/>
                </a:cubicBezTo>
                <a:cubicBezTo>
                  <a:pt x="883" y="772"/>
                  <a:pt x="883" y="768"/>
                  <a:pt x="885" y="767"/>
                </a:cubicBezTo>
                <a:cubicBezTo>
                  <a:pt x="885" y="771"/>
                  <a:pt x="883" y="772"/>
                  <a:pt x="883" y="774"/>
                </a:cubicBezTo>
                <a:cubicBezTo>
                  <a:pt x="885" y="779"/>
                  <a:pt x="889" y="784"/>
                  <a:pt x="892" y="789"/>
                </a:cubicBezTo>
                <a:cubicBezTo>
                  <a:pt x="891" y="776"/>
                  <a:pt x="886" y="765"/>
                  <a:pt x="883" y="754"/>
                </a:cubicBezTo>
                <a:cubicBezTo>
                  <a:pt x="881" y="754"/>
                  <a:pt x="880" y="758"/>
                  <a:pt x="878" y="755"/>
                </a:cubicBezTo>
                <a:close/>
                <a:moveTo>
                  <a:pt x="786" y="764"/>
                </a:moveTo>
                <a:cubicBezTo>
                  <a:pt x="785" y="762"/>
                  <a:pt x="787" y="757"/>
                  <a:pt x="784" y="758"/>
                </a:cubicBezTo>
                <a:cubicBezTo>
                  <a:pt x="783" y="760"/>
                  <a:pt x="783" y="763"/>
                  <a:pt x="786" y="764"/>
                </a:cubicBezTo>
                <a:close/>
                <a:moveTo>
                  <a:pt x="789" y="778"/>
                </a:moveTo>
                <a:cubicBezTo>
                  <a:pt x="793" y="777"/>
                  <a:pt x="796" y="777"/>
                  <a:pt x="798" y="776"/>
                </a:cubicBezTo>
                <a:cubicBezTo>
                  <a:pt x="802" y="772"/>
                  <a:pt x="807" y="763"/>
                  <a:pt x="808" y="758"/>
                </a:cubicBezTo>
                <a:cubicBezTo>
                  <a:pt x="802" y="758"/>
                  <a:pt x="796" y="759"/>
                  <a:pt x="791" y="758"/>
                </a:cubicBezTo>
                <a:cubicBezTo>
                  <a:pt x="791" y="764"/>
                  <a:pt x="788" y="771"/>
                  <a:pt x="789" y="778"/>
                </a:cubicBezTo>
                <a:close/>
                <a:moveTo>
                  <a:pt x="1189" y="767"/>
                </a:moveTo>
                <a:cubicBezTo>
                  <a:pt x="1190" y="766"/>
                  <a:pt x="1191" y="765"/>
                  <a:pt x="1191" y="763"/>
                </a:cubicBezTo>
                <a:cubicBezTo>
                  <a:pt x="1189" y="763"/>
                  <a:pt x="1188" y="764"/>
                  <a:pt x="1187" y="763"/>
                </a:cubicBezTo>
                <a:cubicBezTo>
                  <a:pt x="1186" y="765"/>
                  <a:pt x="1187" y="766"/>
                  <a:pt x="1189" y="767"/>
                </a:cubicBezTo>
                <a:close/>
                <a:moveTo>
                  <a:pt x="762" y="789"/>
                </a:moveTo>
                <a:cubicBezTo>
                  <a:pt x="768" y="788"/>
                  <a:pt x="776" y="789"/>
                  <a:pt x="781" y="788"/>
                </a:cubicBezTo>
                <a:cubicBezTo>
                  <a:pt x="780" y="780"/>
                  <a:pt x="782" y="769"/>
                  <a:pt x="779" y="764"/>
                </a:cubicBezTo>
                <a:cubicBezTo>
                  <a:pt x="775" y="773"/>
                  <a:pt x="765" y="781"/>
                  <a:pt x="762" y="789"/>
                </a:cubicBezTo>
                <a:close/>
                <a:moveTo>
                  <a:pt x="1191" y="775"/>
                </a:moveTo>
                <a:cubicBezTo>
                  <a:pt x="1191" y="773"/>
                  <a:pt x="1191" y="772"/>
                  <a:pt x="1191" y="771"/>
                </a:cubicBezTo>
                <a:cubicBezTo>
                  <a:pt x="1189" y="771"/>
                  <a:pt x="1188" y="771"/>
                  <a:pt x="1187" y="771"/>
                </a:cubicBezTo>
                <a:cubicBezTo>
                  <a:pt x="1185" y="773"/>
                  <a:pt x="1187" y="776"/>
                  <a:pt x="1191" y="775"/>
                </a:cubicBezTo>
                <a:close/>
                <a:moveTo>
                  <a:pt x="878" y="786"/>
                </a:moveTo>
                <a:cubicBezTo>
                  <a:pt x="883" y="787"/>
                  <a:pt x="886" y="790"/>
                  <a:pt x="891" y="791"/>
                </a:cubicBezTo>
                <a:cubicBezTo>
                  <a:pt x="887" y="785"/>
                  <a:pt x="883" y="780"/>
                  <a:pt x="878" y="775"/>
                </a:cubicBezTo>
                <a:cubicBezTo>
                  <a:pt x="877" y="778"/>
                  <a:pt x="879" y="782"/>
                  <a:pt x="878" y="786"/>
                </a:cubicBezTo>
                <a:close/>
                <a:moveTo>
                  <a:pt x="1187" y="782"/>
                </a:moveTo>
                <a:cubicBezTo>
                  <a:pt x="1191" y="781"/>
                  <a:pt x="1191" y="784"/>
                  <a:pt x="1193" y="785"/>
                </a:cubicBezTo>
                <a:cubicBezTo>
                  <a:pt x="1194" y="778"/>
                  <a:pt x="1187" y="779"/>
                  <a:pt x="1185" y="776"/>
                </a:cubicBezTo>
                <a:cubicBezTo>
                  <a:pt x="1184" y="779"/>
                  <a:pt x="1187" y="780"/>
                  <a:pt x="1187" y="782"/>
                </a:cubicBezTo>
                <a:close/>
                <a:moveTo>
                  <a:pt x="787" y="788"/>
                </a:moveTo>
                <a:cubicBezTo>
                  <a:pt x="792" y="787"/>
                  <a:pt x="794" y="782"/>
                  <a:pt x="794" y="779"/>
                </a:cubicBezTo>
                <a:cubicBezTo>
                  <a:pt x="788" y="777"/>
                  <a:pt x="787" y="782"/>
                  <a:pt x="787" y="788"/>
                </a:cubicBezTo>
                <a:close/>
                <a:moveTo>
                  <a:pt x="1186" y="796"/>
                </a:moveTo>
                <a:cubicBezTo>
                  <a:pt x="1187" y="795"/>
                  <a:pt x="1187" y="793"/>
                  <a:pt x="1187" y="791"/>
                </a:cubicBezTo>
                <a:cubicBezTo>
                  <a:pt x="1188" y="791"/>
                  <a:pt x="1189" y="790"/>
                  <a:pt x="1191" y="791"/>
                </a:cubicBezTo>
                <a:cubicBezTo>
                  <a:pt x="1191" y="788"/>
                  <a:pt x="1190" y="786"/>
                  <a:pt x="1188" y="786"/>
                </a:cubicBezTo>
                <a:cubicBezTo>
                  <a:pt x="1188" y="788"/>
                  <a:pt x="1180" y="793"/>
                  <a:pt x="1186" y="796"/>
                </a:cubicBezTo>
                <a:close/>
                <a:moveTo>
                  <a:pt x="822" y="790"/>
                </a:moveTo>
                <a:cubicBezTo>
                  <a:pt x="821" y="794"/>
                  <a:pt x="825" y="795"/>
                  <a:pt x="827" y="797"/>
                </a:cubicBezTo>
                <a:cubicBezTo>
                  <a:pt x="834" y="797"/>
                  <a:pt x="845" y="796"/>
                  <a:pt x="851" y="796"/>
                </a:cubicBezTo>
                <a:cubicBezTo>
                  <a:pt x="860" y="795"/>
                  <a:pt x="870" y="797"/>
                  <a:pt x="873" y="790"/>
                </a:cubicBezTo>
                <a:cubicBezTo>
                  <a:pt x="861" y="789"/>
                  <a:pt x="838" y="789"/>
                  <a:pt x="822" y="790"/>
                </a:cubicBezTo>
                <a:close/>
                <a:moveTo>
                  <a:pt x="1209" y="791"/>
                </a:moveTo>
                <a:cubicBezTo>
                  <a:pt x="1204" y="795"/>
                  <a:pt x="1201" y="789"/>
                  <a:pt x="1197" y="790"/>
                </a:cubicBezTo>
                <a:cubicBezTo>
                  <a:pt x="1197" y="793"/>
                  <a:pt x="1198" y="793"/>
                  <a:pt x="1198" y="796"/>
                </a:cubicBezTo>
                <a:cubicBezTo>
                  <a:pt x="1206" y="796"/>
                  <a:pt x="1216" y="798"/>
                  <a:pt x="1224" y="795"/>
                </a:cubicBezTo>
                <a:cubicBezTo>
                  <a:pt x="1219" y="794"/>
                  <a:pt x="1211" y="795"/>
                  <a:pt x="1209" y="791"/>
                </a:cubicBezTo>
                <a:close/>
                <a:moveTo>
                  <a:pt x="788" y="797"/>
                </a:moveTo>
                <a:cubicBezTo>
                  <a:pt x="795" y="794"/>
                  <a:pt x="811" y="801"/>
                  <a:pt x="812" y="791"/>
                </a:cubicBezTo>
                <a:cubicBezTo>
                  <a:pt x="803" y="792"/>
                  <a:pt x="788" y="788"/>
                  <a:pt x="788" y="797"/>
                </a:cubicBezTo>
                <a:close/>
                <a:moveTo>
                  <a:pt x="879" y="791"/>
                </a:moveTo>
                <a:cubicBezTo>
                  <a:pt x="879" y="794"/>
                  <a:pt x="882" y="794"/>
                  <a:pt x="885" y="794"/>
                </a:cubicBezTo>
                <a:cubicBezTo>
                  <a:pt x="885" y="793"/>
                  <a:pt x="885" y="793"/>
                  <a:pt x="885" y="792"/>
                </a:cubicBezTo>
                <a:cubicBezTo>
                  <a:pt x="883" y="791"/>
                  <a:pt x="880" y="790"/>
                  <a:pt x="879" y="791"/>
                </a:cubicBezTo>
                <a:close/>
                <a:moveTo>
                  <a:pt x="1167" y="795"/>
                </a:moveTo>
                <a:cubicBezTo>
                  <a:pt x="1170" y="797"/>
                  <a:pt x="1175" y="798"/>
                  <a:pt x="1180" y="797"/>
                </a:cubicBezTo>
                <a:cubicBezTo>
                  <a:pt x="1181" y="795"/>
                  <a:pt x="1180" y="793"/>
                  <a:pt x="1181" y="791"/>
                </a:cubicBezTo>
                <a:cubicBezTo>
                  <a:pt x="1176" y="789"/>
                  <a:pt x="1171" y="794"/>
                  <a:pt x="1167" y="795"/>
                </a:cubicBezTo>
                <a:close/>
                <a:moveTo>
                  <a:pt x="1188" y="797"/>
                </a:moveTo>
                <a:cubicBezTo>
                  <a:pt x="1191" y="797"/>
                  <a:pt x="1192" y="796"/>
                  <a:pt x="1194" y="795"/>
                </a:cubicBezTo>
                <a:cubicBezTo>
                  <a:pt x="1194" y="793"/>
                  <a:pt x="1194" y="791"/>
                  <a:pt x="1191" y="791"/>
                </a:cubicBezTo>
                <a:cubicBezTo>
                  <a:pt x="1193" y="795"/>
                  <a:pt x="1189" y="795"/>
                  <a:pt x="1188" y="797"/>
                </a:cubicBezTo>
                <a:close/>
                <a:moveTo>
                  <a:pt x="770" y="792"/>
                </a:moveTo>
                <a:cubicBezTo>
                  <a:pt x="771" y="796"/>
                  <a:pt x="778" y="794"/>
                  <a:pt x="781" y="796"/>
                </a:cubicBezTo>
                <a:cubicBezTo>
                  <a:pt x="781" y="794"/>
                  <a:pt x="781" y="793"/>
                  <a:pt x="781" y="791"/>
                </a:cubicBezTo>
                <a:cubicBezTo>
                  <a:pt x="777" y="791"/>
                  <a:pt x="774" y="792"/>
                  <a:pt x="770" y="792"/>
                </a:cubicBezTo>
                <a:close/>
                <a:moveTo>
                  <a:pt x="812" y="796"/>
                </a:moveTo>
                <a:cubicBezTo>
                  <a:pt x="814" y="798"/>
                  <a:pt x="818" y="798"/>
                  <a:pt x="822" y="797"/>
                </a:cubicBezTo>
                <a:cubicBezTo>
                  <a:pt x="821" y="794"/>
                  <a:pt x="819" y="792"/>
                  <a:pt x="816" y="791"/>
                </a:cubicBezTo>
                <a:cubicBezTo>
                  <a:pt x="815" y="793"/>
                  <a:pt x="813" y="794"/>
                  <a:pt x="812" y="796"/>
                </a:cubicBezTo>
                <a:close/>
                <a:moveTo>
                  <a:pt x="758" y="808"/>
                </a:moveTo>
                <a:cubicBezTo>
                  <a:pt x="760" y="810"/>
                  <a:pt x="762" y="809"/>
                  <a:pt x="764" y="808"/>
                </a:cubicBezTo>
                <a:cubicBezTo>
                  <a:pt x="763" y="801"/>
                  <a:pt x="769" y="801"/>
                  <a:pt x="768" y="795"/>
                </a:cubicBezTo>
                <a:cubicBezTo>
                  <a:pt x="758" y="789"/>
                  <a:pt x="759" y="801"/>
                  <a:pt x="758" y="808"/>
                </a:cubicBezTo>
                <a:close/>
                <a:moveTo>
                  <a:pt x="1155" y="798"/>
                </a:moveTo>
                <a:cubicBezTo>
                  <a:pt x="1159" y="799"/>
                  <a:pt x="1160" y="797"/>
                  <a:pt x="1163" y="797"/>
                </a:cubicBezTo>
                <a:cubicBezTo>
                  <a:pt x="1163" y="795"/>
                  <a:pt x="1160" y="796"/>
                  <a:pt x="1158" y="795"/>
                </a:cubicBezTo>
                <a:cubicBezTo>
                  <a:pt x="1158" y="797"/>
                  <a:pt x="1156" y="797"/>
                  <a:pt x="1155" y="798"/>
                </a:cubicBezTo>
                <a:close/>
                <a:moveTo>
                  <a:pt x="773" y="809"/>
                </a:moveTo>
                <a:cubicBezTo>
                  <a:pt x="775" y="809"/>
                  <a:pt x="776" y="809"/>
                  <a:pt x="778" y="809"/>
                </a:cubicBezTo>
                <a:cubicBezTo>
                  <a:pt x="780" y="806"/>
                  <a:pt x="780" y="803"/>
                  <a:pt x="781" y="799"/>
                </a:cubicBezTo>
                <a:cubicBezTo>
                  <a:pt x="778" y="800"/>
                  <a:pt x="776" y="797"/>
                  <a:pt x="773" y="797"/>
                </a:cubicBezTo>
                <a:cubicBezTo>
                  <a:pt x="773" y="801"/>
                  <a:pt x="772" y="806"/>
                  <a:pt x="773" y="809"/>
                </a:cubicBezTo>
                <a:close/>
                <a:moveTo>
                  <a:pt x="891" y="801"/>
                </a:moveTo>
                <a:cubicBezTo>
                  <a:pt x="892" y="801"/>
                  <a:pt x="893" y="802"/>
                  <a:pt x="893" y="802"/>
                </a:cubicBezTo>
                <a:cubicBezTo>
                  <a:pt x="895" y="801"/>
                  <a:pt x="896" y="799"/>
                  <a:pt x="894" y="797"/>
                </a:cubicBezTo>
                <a:cubicBezTo>
                  <a:pt x="893" y="797"/>
                  <a:pt x="893" y="797"/>
                  <a:pt x="892" y="797"/>
                </a:cubicBezTo>
                <a:cubicBezTo>
                  <a:pt x="891" y="798"/>
                  <a:pt x="891" y="800"/>
                  <a:pt x="891" y="801"/>
                </a:cubicBezTo>
                <a:close/>
                <a:moveTo>
                  <a:pt x="866" y="810"/>
                </a:moveTo>
                <a:cubicBezTo>
                  <a:pt x="862" y="810"/>
                  <a:pt x="862" y="814"/>
                  <a:pt x="860" y="815"/>
                </a:cubicBezTo>
                <a:cubicBezTo>
                  <a:pt x="863" y="819"/>
                  <a:pt x="866" y="823"/>
                  <a:pt x="869" y="826"/>
                </a:cubicBezTo>
                <a:cubicBezTo>
                  <a:pt x="872" y="826"/>
                  <a:pt x="875" y="826"/>
                  <a:pt x="878" y="826"/>
                </a:cubicBezTo>
                <a:cubicBezTo>
                  <a:pt x="879" y="823"/>
                  <a:pt x="874" y="823"/>
                  <a:pt x="876" y="821"/>
                </a:cubicBezTo>
                <a:cubicBezTo>
                  <a:pt x="877" y="821"/>
                  <a:pt x="878" y="823"/>
                  <a:pt x="878" y="821"/>
                </a:cubicBezTo>
                <a:cubicBezTo>
                  <a:pt x="876" y="817"/>
                  <a:pt x="878" y="813"/>
                  <a:pt x="876" y="808"/>
                </a:cubicBezTo>
                <a:cubicBezTo>
                  <a:pt x="874" y="808"/>
                  <a:pt x="869" y="809"/>
                  <a:pt x="869" y="807"/>
                </a:cubicBezTo>
                <a:cubicBezTo>
                  <a:pt x="871" y="807"/>
                  <a:pt x="875" y="808"/>
                  <a:pt x="876" y="806"/>
                </a:cubicBezTo>
                <a:cubicBezTo>
                  <a:pt x="876" y="803"/>
                  <a:pt x="876" y="800"/>
                  <a:pt x="874" y="798"/>
                </a:cubicBezTo>
                <a:cubicBezTo>
                  <a:pt x="867" y="799"/>
                  <a:pt x="866" y="805"/>
                  <a:pt x="866" y="810"/>
                </a:cubicBezTo>
                <a:close/>
                <a:moveTo>
                  <a:pt x="880" y="806"/>
                </a:moveTo>
                <a:cubicBezTo>
                  <a:pt x="883" y="805"/>
                  <a:pt x="882" y="806"/>
                  <a:pt x="885" y="808"/>
                </a:cubicBezTo>
                <a:cubicBezTo>
                  <a:pt x="886" y="806"/>
                  <a:pt x="885" y="800"/>
                  <a:pt x="885" y="798"/>
                </a:cubicBezTo>
                <a:cubicBezTo>
                  <a:pt x="884" y="798"/>
                  <a:pt x="883" y="798"/>
                  <a:pt x="882" y="798"/>
                </a:cubicBezTo>
                <a:cubicBezTo>
                  <a:pt x="882" y="801"/>
                  <a:pt x="879" y="802"/>
                  <a:pt x="880" y="806"/>
                </a:cubicBezTo>
                <a:close/>
                <a:moveTo>
                  <a:pt x="796" y="821"/>
                </a:moveTo>
                <a:cubicBezTo>
                  <a:pt x="794" y="821"/>
                  <a:pt x="793" y="822"/>
                  <a:pt x="792" y="819"/>
                </a:cubicBezTo>
                <a:cubicBezTo>
                  <a:pt x="788" y="823"/>
                  <a:pt x="780" y="828"/>
                  <a:pt x="784" y="836"/>
                </a:cubicBezTo>
                <a:cubicBezTo>
                  <a:pt x="791" y="835"/>
                  <a:pt x="798" y="836"/>
                  <a:pt x="803" y="836"/>
                </a:cubicBezTo>
                <a:cubicBezTo>
                  <a:pt x="805" y="830"/>
                  <a:pt x="798" y="826"/>
                  <a:pt x="796" y="821"/>
                </a:cubicBezTo>
                <a:close/>
                <a:moveTo>
                  <a:pt x="807" y="835"/>
                </a:moveTo>
                <a:cubicBezTo>
                  <a:pt x="812" y="829"/>
                  <a:pt x="818" y="825"/>
                  <a:pt x="820" y="817"/>
                </a:cubicBezTo>
                <a:cubicBezTo>
                  <a:pt x="826" y="815"/>
                  <a:pt x="828" y="811"/>
                  <a:pt x="831" y="806"/>
                </a:cubicBezTo>
                <a:cubicBezTo>
                  <a:pt x="828" y="803"/>
                  <a:pt x="827" y="801"/>
                  <a:pt x="824" y="799"/>
                </a:cubicBezTo>
                <a:cubicBezTo>
                  <a:pt x="818" y="798"/>
                  <a:pt x="813" y="799"/>
                  <a:pt x="808" y="799"/>
                </a:cubicBezTo>
                <a:cubicBezTo>
                  <a:pt x="805" y="805"/>
                  <a:pt x="799" y="809"/>
                  <a:pt x="795" y="814"/>
                </a:cubicBezTo>
                <a:cubicBezTo>
                  <a:pt x="799" y="821"/>
                  <a:pt x="802" y="830"/>
                  <a:pt x="807" y="835"/>
                </a:cubicBezTo>
                <a:close/>
                <a:moveTo>
                  <a:pt x="829" y="800"/>
                </a:moveTo>
                <a:cubicBezTo>
                  <a:pt x="830" y="801"/>
                  <a:pt x="831" y="803"/>
                  <a:pt x="833" y="804"/>
                </a:cubicBezTo>
                <a:cubicBezTo>
                  <a:pt x="834" y="802"/>
                  <a:pt x="836" y="802"/>
                  <a:pt x="836" y="799"/>
                </a:cubicBezTo>
                <a:cubicBezTo>
                  <a:pt x="835" y="799"/>
                  <a:pt x="829" y="798"/>
                  <a:pt x="829" y="800"/>
                </a:cubicBezTo>
                <a:close/>
                <a:moveTo>
                  <a:pt x="859" y="814"/>
                </a:moveTo>
                <a:cubicBezTo>
                  <a:pt x="861" y="808"/>
                  <a:pt x="865" y="805"/>
                  <a:pt x="868" y="799"/>
                </a:cubicBezTo>
                <a:cubicBezTo>
                  <a:pt x="861" y="798"/>
                  <a:pt x="852" y="799"/>
                  <a:pt x="844" y="799"/>
                </a:cubicBezTo>
                <a:cubicBezTo>
                  <a:pt x="849" y="805"/>
                  <a:pt x="853" y="810"/>
                  <a:pt x="859" y="814"/>
                </a:cubicBezTo>
                <a:close/>
                <a:moveTo>
                  <a:pt x="787" y="800"/>
                </a:moveTo>
                <a:cubicBezTo>
                  <a:pt x="786" y="804"/>
                  <a:pt x="790" y="809"/>
                  <a:pt x="795" y="810"/>
                </a:cubicBezTo>
                <a:cubicBezTo>
                  <a:pt x="798" y="806"/>
                  <a:pt x="803" y="804"/>
                  <a:pt x="804" y="799"/>
                </a:cubicBezTo>
                <a:cubicBezTo>
                  <a:pt x="798" y="799"/>
                  <a:pt x="790" y="800"/>
                  <a:pt x="787" y="800"/>
                </a:cubicBezTo>
                <a:close/>
                <a:moveTo>
                  <a:pt x="840" y="799"/>
                </a:moveTo>
                <a:cubicBezTo>
                  <a:pt x="838" y="801"/>
                  <a:pt x="835" y="803"/>
                  <a:pt x="835" y="806"/>
                </a:cubicBezTo>
                <a:cubicBezTo>
                  <a:pt x="840" y="813"/>
                  <a:pt x="845" y="821"/>
                  <a:pt x="853" y="825"/>
                </a:cubicBezTo>
                <a:cubicBezTo>
                  <a:pt x="853" y="823"/>
                  <a:pt x="857" y="821"/>
                  <a:pt x="857" y="817"/>
                </a:cubicBezTo>
                <a:cubicBezTo>
                  <a:pt x="850" y="811"/>
                  <a:pt x="846" y="804"/>
                  <a:pt x="840" y="799"/>
                </a:cubicBezTo>
                <a:close/>
                <a:moveTo>
                  <a:pt x="1186" y="806"/>
                </a:moveTo>
                <a:cubicBezTo>
                  <a:pt x="1186" y="804"/>
                  <a:pt x="1187" y="804"/>
                  <a:pt x="1187" y="802"/>
                </a:cubicBezTo>
                <a:cubicBezTo>
                  <a:pt x="1186" y="802"/>
                  <a:pt x="1185" y="801"/>
                  <a:pt x="1184" y="801"/>
                </a:cubicBezTo>
                <a:cubicBezTo>
                  <a:pt x="1184" y="804"/>
                  <a:pt x="1183" y="806"/>
                  <a:pt x="1186" y="806"/>
                </a:cubicBezTo>
                <a:close/>
                <a:moveTo>
                  <a:pt x="1194" y="805"/>
                </a:moveTo>
                <a:cubicBezTo>
                  <a:pt x="1196" y="804"/>
                  <a:pt x="1195" y="803"/>
                  <a:pt x="1195" y="801"/>
                </a:cubicBezTo>
                <a:cubicBezTo>
                  <a:pt x="1194" y="802"/>
                  <a:pt x="1191" y="801"/>
                  <a:pt x="1191" y="802"/>
                </a:cubicBezTo>
                <a:cubicBezTo>
                  <a:pt x="1193" y="802"/>
                  <a:pt x="1192" y="805"/>
                  <a:pt x="1194" y="805"/>
                </a:cubicBezTo>
                <a:close/>
                <a:moveTo>
                  <a:pt x="898" y="815"/>
                </a:moveTo>
                <a:cubicBezTo>
                  <a:pt x="899" y="810"/>
                  <a:pt x="896" y="808"/>
                  <a:pt x="896" y="802"/>
                </a:cubicBezTo>
                <a:cubicBezTo>
                  <a:pt x="896" y="802"/>
                  <a:pt x="895" y="802"/>
                  <a:pt x="894" y="802"/>
                </a:cubicBezTo>
                <a:cubicBezTo>
                  <a:pt x="893" y="807"/>
                  <a:pt x="895" y="813"/>
                  <a:pt x="898" y="815"/>
                </a:cubicBezTo>
                <a:close/>
                <a:moveTo>
                  <a:pt x="788" y="808"/>
                </a:moveTo>
                <a:cubicBezTo>
                  <a:pt x="788" y="806"/>
                  <a:pt x="787" y="806"/>
                  <a:pt x="786" y="805"/>
                </a:cubicBezTo>
                <a:cubicBezTo>
                  <a:pt x="783" y="807"/>
                  <a:pt x="786" y="811"/>
                  <a:pt x="788" y="808"/>
                </a:cubicBezTo>
                <a:close/>
                <a:moveTo>
                  <a:pt x="1185" y="808"/>
                </a:moveTo>
                <a:cubicBezTo>
                  <a:pt x="1187" y="810"/>
                  <a:pt x="1191" y="810"/>
                  <a:pt x="1193" y="808"/>
                </a:cubicBezTo>
                <a:cubicBezTo>
                  <a:pt x="1193" y="804"/>
                  <a:pt x="1186" y="804"/>
                  <a:pt x="1185" y="808"/>
                </a:cubicBezTo>
                <a:close/>
                <a:moveTo>
                  <a:pt x="832" y="808"/>
                </a:moveTo>
                <a:cubicBezTo>
                  <a:pt x="825" y="819"/>
                  <a:pt x="815" y="828"/>
                  <a:pt x="808" y="840"/>
                </a:cubicBezTo>
                <a:cubicBezTo>
                  <a:pt x="803" y="843"/>
                  <a:pt x="800" y="849"/>
                  <a:pt x="796" y="854"/>
                </a:cubicBezTo>
                <a:cubicBezTo>
                  <a:pt x="792" y="858"/>
                  <a:pt x="786" y="864"/>
                  <a:pt x="786" y="868"/>
                </a:cubicBezTo>
                <a:cubicBezTo>
                  <a:pt x="817" y="867"/>
                  <a:pt x="855" y="869"/>
                  <a:pt x="884" y="867"/>
                </a:cubicBezTo>
                <a:cubicBezTo>
                  <a:pt x="867" y="847"/>
                  <a:pt x="850" y="827"/>
                  <a:pt x="832" y="808"/>
                </a:cubicBezTo>
                <a:close/>
                <a:moveTo>
                  <a:pt x="1193" y="812"/>
                </a:moveTo>
                <a:cubicBezTo>
                  <a:pt x="1194" y="813"/>
                  <a:pt x="1195" y="812"/>
                  <a:pt x="1196" y="811"/>
                </a:cubicBezTo>
                <a:cubicBezTo>
                  <a:pt x="1195" y="811"/>
                  <a:pt x="1194" y="810"/>
                  <a:pt x="1193" y="810"/>
                </a:cubicBezTo>
                <a:cubicBezTo>
                  <a:pt x="1193" y="811"/>
                  <a:pt x="1192" y="811"/>
                  <a:pt x="1193" y="812"/>
                </a:cubicBezTo>
                <a:close/>
                <a:moveTo>
                  <a:pt x="775" y="817"/>
                </a:moveTo>
                <a:cubicBezTo>
                  <a:pt x="777" y="816"/>
                  <a:pt x="778" y="814"/>
                  <a:pt x="779" y="817"/>
                </a:cubicBezTo>
                <a:cubicBezTo>
                  <a:pt x="780" y="814"/>
                  <a:pt x="779" y="815"/>
                  <a:pt x="779" y="812"/>
                </a:cubicBezTo>
                <a:cubicBezTo>
                  <a:pt x="777" y="812"/>
                  <a:pt x="777" y="810"/>
                  <a:pt x="774" y="810"/>
                </a:cubicBezTo>
                <a:cubicBezTo>
                  <a:pt x="772" y="812"/>
                  <a:pt x="773" y="815"/>
                  <a:pt x="775" y="817"/>
                </a:cubicBezTo>
                <a:close/>
                <a:moveTo>
                  <a:pt x="784" y="823"/>
                </a:moveTo>
                <a:cubicBezTo>
                  <a:pt x="786" y="819"/>
                  <a:pt x="790" y="818"/>
                  <a:pt x="792" y="814"/>
                </a:cubicBezTo>
                <a:cubicBezTo>
                  <a:pt x="792" y="811"/>
                  <a:pt x="789" y="813"/>
                  <a:pt x="790" y="810"/>
                </a:cubicBezTo>
                <a:cubicBezTo>
                  <a:pt x="788" y="810"/>
                  <a:pt x="786" y="810"/>
                  <a:pt x="785" y="810"/>
                </a:cubicBezTo>
                <a:cubicBezTo>
                  <a:pt x="785" y="816"/>
                  <a:pt x="783" y="819"/>
                  <a:pt x="784" y="823"/>
                </a:cubicBezTo>
                <a:close/>
                <a:moveTo>
                  <a:pt x="890" y="833"/>
                </a:moveTo>
                <a:cubicBezTo>
                  <a:pt x="894" y="833"/>
                  <a:pt x="894" y="832"/>
                  <a:pt x="898" y="832"/>
                </a:cubicBezTo>
                <a:cubicBezTo>
                  <a:pt x="897" y="828"/>
                  <a:pt x="894" y="827"/>
                  <a:pt x="893" y="824"/>
                </a:cubicBezTo>
                <a:cubicBezTo>
                  <a:pt x="894" y="823"/>
                  <a:pt x="895" y="822"/>
                  <a:pt x="895" y="820"/>
                </a:cubicBezTo>
                <a:cubicBezTo>
                  <a:pt x="892" y="818"/>
                  <a:pt x="892" y="813"/>
                  <a:pt x="890" y="810"/>
                </a:cubicBezTo>
                <a:cubicBezTo>
                  <a:pt x="891" y="816"/>
                  <a:pt x="888" y="825"/>
                  <a:pt x="890" y="833"/>
                </a:cubicBezTo>
                <a:close/>
                <a:moveTo>
                  <a:pt x="1184" y="813"/>
                </a:moveTo>
                <a:cubicBezTo>
                  <a:pt x="1187" y="814"/>
                  <a:pt x="1187" y="810"/>
                  <a:pt x="1184" y="810"/>
                </a:cubicBezTo>
                <a:cubicBezTo>
                  <a:pt x="1184" y="811"/>
                  <a:pt x="1184" y="812"/>
                  <a:pt x="1184" y="813"/>
                </a:cubicBezTo>
                <a:close/>
                <a:moveTo>
                  <a:pt x="760" y="819"/>
                </a:moveTo>
                <a:cubicBezTo>
                  <a:pt x="761" y="817"/>
                  <a:pt x="761" y="814"/>
                  <a:pt x="762" y="811"/>
                </a:cubicBezTo>
                <a:cubicBezTo>
                  <a:pt x="758" y="811"/>
                  <a:pt x="757" y="818"/>
                  <a:pt x="760" y="819"/>
                </a:cubicBezTo>
                <a:close/>
                <a:moveTo>
                  <a:pt x="761" y="829"/>
                </a:moveTo>
                <a:cubicBezTo>
                  <a:pt x="764" y="829"/>
                  <a:pt x="767" y="829"/>
                  <a:pt x="770" y="830"/>
                </a:cubicBezTo>
                <a:cubicBezTo>
                  <a:pt x="771" y="825"/>
                  <a:pt x="771" y="817"/>
                  <a:pt x="768" y="813"/>
                </a:cubicBezTo>
                <a:cubicBezTo>
                  <a:pt x="765" y="814"/>
                  <a:pt x="762" y="822"/>
                  <a:pt x="761" y="829"/>
                </a:cubicBezTo>
                <a:close/>
                <a:moveTo>
                  <a:pt x="1185" y="814"/>
                </a:moveTo>
                <a:cubicBezTo>
                  <a:pt x="1184" y="817"/>
                  <a:pt x="1187" y="816"/>
                  <a:pt x="1187" y="819"/>
                </a:cubicBezTo>
                <a:cubicBezTo>
                  <a:pt x="1189" y="818"/>
                  <a:pt x="1193" y="819"/>
                  <a:pt x="1192" y="815"/>
                </a:cubicBezTo>
                <a:cubicBezTo>
                  <a:pt x="1191" y="815"/>
                  <a:pt x="1190" y="815"/>
                  <a:pt x="1191" y="814"/>
                </a:cubicBezTo>
                <a:cubicBezTo>
                  <a:pt x="1188" y="813"/>
                  <a:pt x="1187" y="815"/>
                  <a:pt x="1185" y="814"/>
                </a:cubicBezTo>
                <a:close/>
                <a:moveTo>
                  <a:pt x="898" y="821"/>
                </a:moveTo>
                <a:cubicBezTo>
                  <a:pt x="898" y="819"/>
                  <a:pt x="900" y="817"/>
                  <a:pt x="898" y="816"/>
                </a:cubicBezTo>
                <a:cubicBezTo>
                  <a:pt x="897" y="817"/>
                  <a:pt x="896" y="821"/>
                  <a:pt x="898" y="821"/>
                </a:cubicBezTo>
                <a:close/>
                <a:moveTo>
                  <a:pt x="756" y="823"/>
                </a:moveTo>
                <a:cubicBezTo>
                  <a:pt x="756" y="822"/>
                  <a:pt x="758" y="818"/>
                  <a:pt x="756" y="817"/>
                </a:cubicBezTo>
                <a:cubicBezTo>
                  <a:pt x="755" y="819"/>
                  <a:pt x="754" y="822"/>
                  <a:pt x="756" y="823"/>
                </a:cubicBezTo>
                <a:close/>
                <a:moveTo>
                  <a:pt x="1183" y="820"/>
                </a:moveTo>
                <a:cubicBezTo>
                  <a:pt x="1184" y="824"/>
                  <a:pt x="1186" y="827"/>
                  <a:pt x="1183" y="830"/>
                </a:cubicBezTo>
                <a:cubicBezTo>
                  <a:pt x="1183" y="831"/>
                  <a:pt x="1185" y="830"/>
                  <a:pt x="1186" y="831"/>
                </a:cubicBezTo>
                <a:cubicBezTo>
                  <a:pt x="1186" y="828"/>
                  <a:pt x="1190" y="830"/>
                  <a:pt x="1192" y="830"/>
                </a:cubicBezTo>
                <a:cubicBezTo>
                  <a:pt x="1191" y="827"/>
                  <a:pt x="1194" y="828"/>
                  <a:pt x="1195" y="827"/>
                </a:cubicBezTo>
                <a:cubicBezTo>
                  <a:pt x="1195" y="826"/>
                  <a:pt x="1195" y="824"/>
                  <a:pt x="1195" y="823"/>
                </a:cubicBezTo>
                <a:cubicBezTo>
                  <a:pt x="1193" y="823"/>
                  <a:pt x="1189" y="821"/>
                  <a:pt x="1186" y="823"/>
                </a:cubicBezTo>
                <a:cubicBezTo>
                  <a:pt x="1186" y="821"/>
                  <a:pt x="1186" y="820"/>
                  <a:pt x="1186" y="819"/>
                </a:cubicBezTo>
                <a:cubicBezTo>
                  <a:pt x="1184" y="818"/>
                  <a:pt x="1184" y="820"/>
                  <a:pt x="1183" y="820"/>
                </a:cubicBezTo>
                <a:close/>
                <a:moveTo>
                  <a:pt x="1195" y="822"/>
                </a:moveTo>
                <a:cubicBezTo>
                  <a:pt x="1195" y="821"/>
                  <a:pt x="1195" y="820"/>
                  <a:pt x="1195" y="819"/>
                </a:cubicBezTo>
                <a:cubicBezTo>
                  <a:pt x="1194" y="819"/>
                  <a:pt x="1193" y="819"/>
                  <a:pt x="1193" y="819"/>
                </a:cubicBezTo>
                <a:cubicBezTo>
                  <a:pt x="1193" y="820"/>
                  <a:pt x="1193" y="822"/>
                  <a:pt x="1195" y="822"/>
                </a:cubicBezTo>
                <a:close/>
                <a:moveTo>
                  <a:pt x="855" y="826"/>
                </a:moveTo>
                <a:cubicBezTo>
                  <a:pt x="859" y="826"/>
                  <a:pt x="861" y="827"/>
                  <a:pt x="865" y="827"/>
                </a:cubicBezTo>
                <a:cubicBezTo>
                  <a:pt x="863" y="823"/>
                  <a:pt x="861" y="821"/>
                  <a:pt x="857" y="819"/>
                </a:cubicBezTo>
                <a:cubicBezTo>
                  <a:pt x="859" y="824"/>
                  <a:pt x="854" y="824"/>
                  <a:pt x="855" y="826"/>
                </a:cubicBezTo>
                <a:close/>
                <a:moveTo>
                  <a:pt x="773" y="827"/>
                </a:moveTo>
                <a:cubicBezTo>
                  <a:pt x="776" y="827"/>
                  <a:pt x="775" y="820"/>
                  <a:pt x="773" y="821"/>
                </a:cubicBezTo>
                <a:cubicBezTo>
                  <a:pt x="772" y="823"/>
                  <a:pt x="775" y="825"/>
                  <a:pt x="773" y="827"/>
                </a:cubicBezTo>
                <a:close/>
                <a:moveTo>
                  <a:pt x="886" y="827"/>
                </a:moveTo>
                <a:cubicBezTo>
                  <a:pt x="886" y="825"/>
                  <a:pt x="886" y="823"/>
                  <a:pt x="884" y="823"/>
                </a:cubicBezTo>
                <a:cubicBezTo>
                  <a:pt x="883" y="825"/>
                  <a:pt x="883" y="827"/>
                  <a:pt x="886" y="827"/>
                </a:cubicBezTo>
                <a:close/>
                <a:moveTo>
                  <a:pt x="1186" y="838"/>
                </a:moveTo>
                <a:cubicBezTo>
                  <a:pt x="1189" y="839"/>
                  <a:pt x="1194" y="838"/>
                  <a:pt x="1197" y="838"/>
                </a:cubicBezTo>
                <a:cubicBezTo>
                  <a:pt x="1196" y="833"/>
                  <a:pt x="1198" y="830"/>
                  <a:pt x="1196" y="828"/>
                </a:cubicBezTo>
                <a:cubicBezTo>
                  <a:pt x="1196" y="832"/>
                  <a:pt x="1194" y="833"/>
                  <a:pt x="1192" y="834"/>
                </a:cubicBezTo>
                <a:cubicBezTo>
                  <a:pt x="1193" y="834"/>
                  <a:pt x="1194" y="834"/>
                  <a:pt x="1194" y="836"/>
                </a:cubicBezTo>
                <a:cubicBezTo>
                  <a:pt x="1191" y="834"/>
                  <a:pt x="1186" y="834"/>
                  <a:pt x="1186" y="838"/>
                </a:cubicBezTo>
                <a:close/>
                <a:moveTo>
                  <a:pt x="856" y="830"/>
                </a:moveTo>
                <a:cubicBezTo>
                  <a:pt x="860" y="836"/>
                  <a:pt x="864" y="843"/>
                  <a:pt x="872" y="847"/>
                </a:cubicBezTo>
                <a:cubicBezTo>
                  <a:pt x="874" y="853"/>
                  <a:pt x="879" y="858"/>
                  <a:pt x="884" y="862"/>
                </a:cubicBezTo>
                <a:cubicBezTo>
                  <a:pt x="883" y="854"/>
                  <a:pt x="880" y="848"/>
                  <a:pt x="881" y="843"/>
                </a:cubicBezTo>
                <a:cubicBezTo>
                  <a:pt x="874" y="838"/>
                  <a:pt x="871" y="825"/>
                  <a:pt x="856" y="830"/>
                </a:cubicBezTo>
                <a:close/>
                <a:moveTo>
                  <a:pt x="874" y="831"/>
                </a:moveTo>
                <a:cubicBezTo>
                  <a:pt x="874" y="835"/>
                  <a:pt x="878" y="832"/>
                  <a:pt x="881" y="834"/>
                </a:cubicBezTo>
                <a:cubicBezTo>
                  <a:pt x="880" y="832"/>
                  <a:pt x="876" y="829"/>
                  <a:pt x="874" y="831"/>
                </a:cubicBezTo>
                <a:close/>
                <a:moveTo>
                  <a:pt x="886" y="834"/>
                </a:moveTo>
                <a:cubicBezTo>
                  <a:pt x="888" y="832"/>
                  <a:pt x="886" y="830"/>
                  <a:pt x="884" y="830"/>
                </a:cubicBezTo>
                <a:cubicBezTo>
                  <a:pt x="883" y="833"/>
                  <a:pt x="885" y="833"/>
                  <a:pt x="886" y="834"/>
                </a:cubicBezTo>
                <a:close/>
                <a:moveTo>
                  <a:pt x="762" y="848"/>
                </a:moveTo>
                <a:cubicBezTo>
                  <a:pt x="766" y="844"/>
                  <a:pt x="774" y="838"/>
                  <a:pt x="769" y="831"/>
                </a:cubicBezTo>
                <a:cubicBezTo>
                  <a:pt x="768" y="833"/>
                  <a:pt x="763" y="832"/>
                  <a:pt x="760" y="832"/>
                </a:cubicBezTo>
                <a:cubicBezTo>
                  <a:pt x="759" y="835"/>
                  <a:pt x="755" y="838"/>
                  <a:pt x="758" y="842"/>
                </a:cubicBezTo>
                <a:cubicBezTo>
                  <a:pt x="753" y="842"/>
                  <a:pt x="755" y="848"/>
                  <a:pt x="753" y="851"/>
                </a:cubicBezTo>
                <a:cubicBezTo>
                  <a:pt x="752" y="857"/>
                  <a:pt x="747" y="860"/>
                  <a:pt x="749" y="864"/>
                </a:cubicBezTo>
                <a:cubicBezTo>
                  <a:pt x="753" y="858"/>
                  <a:pt x="761" y="852"/>
                  <a:pt x="760" y="845"/>
                </a:cubicBezTo>
                <a:cubicBezTo>
                  <a:pt x="761" y="845"/>
                  <a:pt x="759" y="849"/>
                  <a:pt x="762" y="848"/>
                </a:cubicBezTo>
                <a:close/>
                <a:moveTo>
                  <a:pt x="775" y="834"/>
                </a:moveTo>
                <a:cubicBezTo>
                  <a:pt x="776" y="834"/>
                  <a:pt x="777" y="833"/>
                  <a:pt x="777" y="831"/>
                </a:cubicBezTo>
                <a:cubicBezTo>
                  <a:pt x="775" y="831"/>
                  <a:pt x="774" y="832"/>
                  <a:pt x="775" y="834"/>
                </a:cubicBezTo>
                <a:close/>
                <a:moveTo>
                  <a:pt x="1185" y="838"/>
                </a:moveTo>
                <a:cubicBezTo>
                  <a:pt x="1184" y="837"/>
                  <a:pt x="1185" y="833"/>
                  <a:pt x="1183" y="834"/>
                </a:cubicBezTo>
                <a:cubicBezTo>
                  <a:pt x="1182" y="836"/>
                  <a:pt x="1181" y="838"/>
                  <a:pt x="1185" y="838"/>
                </a:cubicBezTo>
                <a:close/>
                <a:moveTo>
                  <a:pt x="1201" y="837"/>
                </a:moveTo>
                <a:cubicBezTo>
                  <a:pt x="1204" y="838"/>
                  <a:pt x="1211" y="839"/>
                  <a:pt x="1214" y="837"/>
                </a:cubicBezTo>
                <a:cubicBezTo>
                  <a:pt x="1209" y="837"/>
                  <a:pt x="1205" y="835"/>
                  <a:pt x="1202" y="834"/>
                </a:cubicBezTo>
                <a:cubicBezTo>
                  <a:pt x="1201" y="834"/>
                  <a:pt x="1201" y="835"/>
                  <a:pt x="1201" y="837"/>
                </a:cubicBezTo>
                <a:close/>
                <a:moveTo>
                  <a:pt x="1168" y="838"/>
                </a:moveTo>
                <a:cubicBezTo>
                  <a:pt x="1171" y="839"/>
                  <a:pt x="1180" y="840"/>
                  <a:pt x="1178" y="834"/>
                </a:cubicBezTo>
                <a:cubicBezTo>
                  <a:pt x="1175" y="836"/>
                  <a:pt x="1171" y="836"/>
                  <a:pt x="1168" y="838"/>
                </a:cubicBezTo>
                <a:close/>
                <a:moveTo>
                  <a:pt x="752" y="841"/>
                </a:moveTo>
                <a:cubicBezTo>
                  <a:pt x="751" y="839"/>
                  <a:pt x="755" y="837"/>
                  <a:pt x="753" y="836"/>
                </a:cubicBezTo>
                <a:cubicBezTo>
                  <a:pt x="753" y="838"/>
                  <a:pt x="750" y="839"/>
                  <a:pt x="752" y="841"/>
                </a:cubicBezTo>
                <a:close/>
                <a:moveTo>
                  <a:pt x="889" y="838"/>
                </a:moveTo>
                <a:cubicBezTo>
                  <a:pt x="887" y="850"/>
                  <a:pt x="894" y="854"/>
                  <a:pt x="902" y="856"/>
                </a:cubicBezTo>
                <a:cubicBezTo>
                  <a:pt x="900" y="857"/>
                  <a:pt x="898" y="854"/>
                  <a:pt x="898" y="857"/>
                </a:cubicBezTo>
                <a:cubicBezTo>
                  <a:pt x="901" y="861"/>
                  <a:pt x="905" y="864"/>
                  <a:pt x="908" y="869"/>
                </a:cubicBezTo>
                <a:cubicBezTo>
                  <a:pt x="908" y="861"/>
                  <a:pt x="903" y="855"/>
                  <a:pt x="902" y="846"/>
                </a:cubicBezTo>
                <a:cubicBezTo>
                  <a:pt x="901" y="844"/>
                  <a:pt x="900" y="847"/>
                  <a:pt x="900" y="845"/>
                </a:cubicBezTo>
                <a:cubicBezTo>
                  <a:pt x="901" y="843"/>
                  <a:pt x="900" y="839"/>
                  <a:pt x="899" y="837"/>
                </a:cubicBezTo>
                <a:cubicBezTo>
                  <a:pt x="896" y="837"/>
                  <a:pt x="891" y="836"/>
                  <a:pt x="889" y="838"/>
                </a:cubicBezTo>
                <a:close/>
                <a:moveTo>
                  <a:pt x="776" y="851"/>
                </a:moveTo>
                <a:cubicBezTo>
                  <a:pt x="775" y="846"/>
                  <a:pt x="778" y="844"/>
                  <a:pt x="777" y="838"/>
                </a:cubicBezTo>
                <a:cubicBezTo>
                  <a:pt x="776" y="838"/>
                  <a:pt x="776" y="838"/>
                  <a:pt x="775" y="838"/>
                </a:cubicBezTo>
                <a:cubicBezTo>
                  <a:pt x="775" y="842"/>
                  <a:pt x="773" y="849"/>
                  <a:pt x="776" y="851"/>
                </a:cubicBezTo>
                <a:close/>
                <a:moveTo>
                  <a:pt x="782" y="839"/>
                </a:moveTo>
                <a:cubicBezTo>
                  <a:pt x="780" y="850"/>
                  <a:pt x="780" y="858"/>
                  <a:pt x="779" y="868"/>
                </a:cubicBezTo>
                <a:cubicBezTo>
                  <a:pt x="783" y="868"/>
                  <a:pt x="787" y="861"/>
                  <a:pt x="790" y="856"/>
                </a:cubicBezTo>
                <a:cubicBezTo>
                  <a:pt x="796" y="852"/>
                  <a:pt x="800" y="845"/>
                  <a:pt x="804" y="839"/>
                </a:cubicBezTo>
                <a:cubicBezTo>
                  <a:pt x="797" y="837"/>
                  <a:pt x="790" y="840"/>
                  <a:pt x="782" y="839"/>
                </a:cubicBezTo>
                <a:close/>
                <a:moveTo>
                  <a:pt x="1183" y="848"/>
                </a:moveTo>
                <a:cubicBezTo>
                  <a:pt x="1184" y="847"/>
                  <a:pt x="1183" y="845"/>
                  <a:pt x="1185" y="846"/>
                </a:cubicBezTo>
                <a:cubicBezTo>
                  <a:pt x="1185" y="847"/>
                  <a:pt x="1186" y="847"/>
                  <a:pt x="1186" y="847"/>
                </a:cubicBezTo>
                <a:cubicBezTo>
                  <a:pt x="1185" y="850"/>
                  <a:pt x="1184" y="848"/>
                  <a:pt x="1183" y="849"/>
                </a:cubicBezTo>
                <a:cubicBezTo>
                  <a:pt x="1182" y="852"/>
                  <a:pt x="1182" y="853"/>
                  <a:pt x="1183" y="856"/>
                </a:cubicBezTo>
                <a:cubicBezTo>
                  <a:pt x="1189" y="856"/>
                  <a:pt x="1194" y="853"/>
                  <a:pt x="1198" y="856"/>
                </a:cubicBezTo>
                <a:cubicBezTo>
                  <a:pt x="1199" y="849"/>
                  <a:pt x="1192" y="849"/>
                  <a:pt x="1191" y="843"/>
                </a:cubicBezTo>
                <a:cubicBezTo>
                  <a:pt x="1187" y="844"/>
                  <a:pt x="1186" y="841"/>
                  <a:pt x="1183" y="841"/>
                </a:cubicBezTo>
                <a:cubicBezTo>
                  <a:pt x="1182" y="842"/>
                  <a:pt x="1182" y="847"/>
                  <a:pt x="1183" y="848"/>
                </a:cubicBezTo>
                <a:close/>
                <a:moveTo>
                  <a:pt x="1198" y="847"/>
                </a:moveTo>
                <a:cubicBezTo>
                  <a:pt x="1198" y="844"/>
                  <a:pt x="1198" y="843"/>
                  <a:pt x="1197" y="841"/>
                </a:cubicBezTo>
                <a:cubicBezTo>
                  <a:pt x="1196" y="841"/>
                  <a:pt x="1194" y="841"/>
                  <a:pt x="1193" y="841"/>
                </a:cubicBezTo>
                <a:cubicBezTo>
                  <a:pt x="1192" y="845"/>
                  <a:pt x="1196" y="845"/>
                  <a:pt x="1198" y="847"/>
                </a:cubicBezTo>
                <a:close/>
                <a:moveTo>
                  <a:pt x="769" y="843"/>
                </a:moveTo>
                <a:cubicBezTo>
                  <a:pt x="764" y="853"/>
                  <a:pt x="752" y="861"/>
                  <a:pt x="748" y="870"/>
                </a:cubicBezTo>
                <a:cubicBezTo>
                  <a:pt x="753" y="869"/>
                  <a:pt x="762" y="869"/>
                  <a:pt x="772" y="869"/>
                </a:cubicBezTo>
                <a:cubicBezTo>
                  <a:pt x="772" y="860"/>
                  <a:pt x="771" y="852"/>
                  <a:pt x="771" y="843"/>
                </a:cubicBezTo>
                <a:cubicBezTo>
                  <a:pt x="771" y="843"/>
                  <a:pt x="770" y="843"/>
                  <a:pt x="769" y="843"/>
                </a:cubicBezTo>
                <a:close/>
                <a:moveTo>
                  <a:pt x="889" y="867"/>
                </a:moveTo>
                <a:cubicBezTo>
                  <a:pt x="896" y="868"/>
                  <a:pt x="900" y="871"/>
                  <a:pt x="906" y="872"/>
                </a:cubicBezTo>
                <a:cubicBezTo>
                  <a:pt x="901" y="865"/>
                  <a:pt x="896" y="859"/>
                  <a:pt x="889" y="853"/>
                </a:cubicBezTo>
                <a:cubicBezTo>
                  <a:pt x="889" y="858"/>
                  <a:pt x="889" y="863"/>
                  <a:pt x="889" y="867"/>
                </a:cubicBezTo>
                <a:close/>
                <a:moveTo>
                  <a:pt x="1180" y="869"/>
                </a:moveTo>
                <a:cubicBezTo>
                  <a:pt x="1183" y="869"/>
                  <a:pt x="1183" y="870"/>
                  <a:pt x="1183" y="873"/>
                </a:cubicBezTo>
                <a:cubicBezTo>
                  <a:pt x="1182" y="872"/>
                  <a:pt x="1181" y="873"/>
                  <a:pt x="1180" y="873"/>
                </a:cubicBezTo>
                <a:cubicBezTo>
                  <a:pt x="1180" y="874"/>
                  <a:pt x="1180" y="875"/>
                  <a:pt x="1180" y="876"/>
                </a:cubicBezTo>
                <a:cubicBezTo>
                  <a:pt x="1185" y="878"/>
                  <a:pt x="1195" y="876"/>
                  <a:pt x="1201" y="875"/>
                </a:cubicBezTo>
                <a:cubicBezTo>
                  <a:pt x="1198" y="869"/>
                  <a:pt x="1194" y="865"/>
                  <a:pt x="1191" y="859"/>
                </a:cubicBezTo>
                <a:cubicBezTo>
                  <a:pt x="1183" y="854"/>
                  <a:pt x="1179" y="860"/>
                  <a:pt x="1180" y="869"/>
                </a:cubicBezTo>
                <a:close/>
                <a:moveTo>
                  <a:pt x="1200" y="861"/>
                </a:moveTo>
                <a:cubicBezTo>
                  <a:pt x="1199" y="856"/>
                  <a:pt x="1196" y="858"/>
                  <a:pt x="1193" y="857"/>
                </a:cubicBezTo>
                <a:cubicBezTo>
                  <a:pt x="1192" y="861"/>
                  <a:pt x="1197" y="863"/>
                  <a:pt x="1200" y="861"/>
                </a:cubicBezTo>
                <a:close/>
                <a:moveTo>
                  <a:pt x="1201" y="869"/>
                </a:moveTo>
                <a:cubicBezTo>
                  <a:pt x="1201" y="867"/>
                  <a:pt x="1201" y="864"/>
                  <a:pt x="1198" y="864"/>
                </a:cubicBezTo>
                <a:cubicBezTo>
                  <a:pt x="1198" y="867"/>
                  <a:pt x="1199" y="869"/>
                  <a:pt x="1201" y="869"/>
                </a:cubicBezTo>
                <a:close/>
                <a:moveTo>
                  <a:pt x="820" y="872"/>
                </a:moveTo>
                <a:cubicBezTo>
                  <a:pt x="823" y="878"/>
                  <a:pt x="832" y="875"/>
                  <a:pt x="837" y="875"/>
                </a:cubicBezTo>
                <a:cubicBezTo>
                  <a:pt x="844" y="875"/>
                  <a:pt x="850" y="875"/>
                  <a:pt x="856" y="875"/>
                </a:cubicBezTo>
                <a:cubicBezTo>
                  <a:pt x="867" y="874"/>
                  <a:pt x="879" y="876"/>
                  <a:pt x="885" y="871"/>
                </a:cubicBezTo>
                <a:cubicBezTo>
                  <a:pt x="865" y="870"/>
                  <a:pt x="841" y="871"/>
                  <a:pt x="820" y="872"/>
                </a:cubicBezTo>
                <a:close/>
                <a:moveTo>
                  <a:pt x="895" y="873"/>
                </a:moveTo>
                <a:cubicBezTo>
                  <a:pt x="893" y="872"/>
                  <a:pt x="892" y="872"/>
                  <a:pt x="891" y="871"/>
                </a:cubicBezTo>
                <a:cubicBezTo>
                  <a:pt x="889" y="874"/>
                  <a:pt x="894" y="874"/>
                  <a:pt x="895" y="873"/>
                </a:cubicBezTo>
                <a:close/>
                <a:moveTo>
                  <a:pt x="779" y="875"/>
                </a:moveTo>
                <a:cubicBezTo>
                  <a:pt x="788" y="875"/>
                  <a:pt x="804" y="878"/>
                  <a:pt x="810" y="873"/>
                </a:cubicBezTo>
                <a:cubicBezTo>
                  <a:pt x="800" y="872"/>
                  <a:pt x="784" y="870"/>
                  <a:pt x="779" y="875"/>
                </a:cubicBezTo>
                <a:close/>
                <a:moveTo>
                  <a:pt x="773" y="873"/>
                </a:moveTo>
                <a:cubicBezTo>
                  <a:pt x="769" y="873"/>
                  <a:pt x="766" y="873"/>
                  <a:pt x="762" y="873"/>
                </a:cubicBezTo>
                <a:cubicBezTo>
                  <a:pt x="763" y="875"/>
                  <a:pt x="772" y="876"/>
                  <a:pt x="773" y="873"/>
                </a:cubicBezTo>
                <a:close/>
                <a:moveTo>
                  <a:pt x="812" y="875"/>
                </a:moveTo>
                <a:cubicBezTo>
                  <a:pt x="814" y="875"/>
                  <a:pt x="818" y="876"/>
                  <a:pt x="818" y="874"/>
                </a:cubicBezTo>
                <a:cubicBezTo>
                  <a:pt x="817" y="872"/>
                  <a:pt x="812" y="872"/>
                  <a:pt x="812" y="875"/>
                </a:cubicBezTo>
                <a:close/>
                <a:moveTo>
                  <a:pt x="753" y="884"/>
                </a:moveTo>
                <a:cubicBezTo>
                  <a:pt x="756" y="883"/>
                  <a:pt x="757" y="880"/>
                  <a:pt x="758" y="876"/>
                </a:cubicBezTo>
                <a:cubicBezTo>
                  <a:pt x="755" y="874"/>
                  <a:pt x="749" y="873"/>
                  <a:pt x="746" y="874"/>
                </a:cubicBezTo>
                <a:cubicBezTo>
                  <a:pt x="744" y="878"/>
                  <a:pt x="745" y="884"/>
                  <a:pt x="744" y="890"/>
                </a:cubicBezTo>
                <a:cubicBezTo>
                  <a:pt x="747" y="891"/>
                  <a:pt x="754" y="891"/>
                  <a:pt x="753" y="886"/>
                </a:cubicBezTo>
                <a:cubicBezTo>
                  <a:pt x="752" y="883"/>
                  <a:pt x="748" y="882"/>
                  <a:pt x="748" y="877"/>
                </a:cubicBezTo>
                <a:cubicBezTo>
                  <a:pt x="750" y="879"/>
                  <a:pt x="751" y="882"/>
                  <a:pt x="753" y="884"/>
                </a:cubicBezTo>
                <a:close/>
                <a:moveTo>
                  <a:pt x="763" y="876"/>
                </a:moveTo>
                <a:cubicBezTo>
                  <a:pt x="762" y="882"/>
                  <a:pt x="762" y="897"/>
                  <a:pt x="766" y="901"/>
                </a:cubicBezTo>
                <a:cubicBezTo>
                  <a:pt x="767" y="892"/>
                  <a:pt x="773" y="888"/>
                  <a:pt x="772" y="879"/>
                </a:cubicBezTo>
                <a:cubicBezTo>
                  <a:pt x="768" y="878"/>
                  <a:pt x="766" y="877"/>
                  <a:pt x="763" y="876"/>
                </a:cubicBezTo>
                <a:close/>
                <a:moveTo>
                  <a:pt x="908" y="883"/>
                </a:moveTo>
                <a:cubicBezTo>
                  <a:pt x="906" y="887"/>
                  <a:pt x="908" y="892"/>
                  <a:pt x="911" y="894"/>
                </a:cubicBezTo>
                <a:cubicBezTo>
                  <a:pt x="915" y="889"/>
                  <a:pt x="910" y="882"/>
                  <a:pt x="910" y="877"/>
                </a:cubicBezTo>
                <a:cubicBezTo>
                  <a:pt x="907" y="877"/>
                  <a:pt x="906" y="876"/>
                  <a:pt x="904" y="876"/>
                </a:cubicBezTo>
                <a:cubicBezTo>
                  <a:pt x="904" y="880"/>
                  <a:pt x="906" y="883"/>
                  <a:pt x="908" y="883"/>
                </a:cubicBezTo>
                <a:close/>
                <a:moveTo>
                  <a:pt x="874" y="892"/>
                </a:moveTo>
                <a:cubicBezTo>
                  <a:pt x="873" y="892"/>
                  <a:pt x="873" y="891"/>
                  <a:pt x="872" y="891"/>
                </a:cubicBezTo>
                <a:cubicBezTo>
                  <a:pt x="871" y="893"/>
                  <a:pt x="869" y="895"/>
                  <a:pt x="868" y="897"/>
                </a:cubicBezTo>
                <a:cubicBezTo>
                  <a:pt x="874" y="901"/>
                  <a:pt x="877" y="912"/>
                  <a:pt x="889" y="908"/>
                </a:cubicBezTo>
                <a:cubicBezTo>
                  <a:pt x="890" y="896"/>
                  <a:pt x="887" y="888"/>
                  <a:pt x="886" y="877"/>
                </a:cubicBezTo>
                <a:cubicBezTo>
                  <a:pt x="878" y="879"/>
                  <a:pt x="876" y="886"/>
                  <a:pt x="874" y="892"/>
                </a:cubicBezTo>
                <a:close/>
                <a:moveTo>
                  <a:pt x="898" y="896"/>
                </a:moveTo>
                <a:cubicBezTo>
                  <a:pt x="898" y="889"/>
                  <a:pt x="899" y="881"/>
                  <a:pt x="898" y="877"/>
                </a:cubicBezTo>
                <a:cubicBezTo>
                  <a:pt x="896" y="877"/>
                  <a:pt x="894" y="877"/>
                  <a:pt x="892" y="877"/>
                </a:cubicBezTo>
                <a:cubicBezTo>
                  <a:pt x="894" y="884"/>
                  <a:pt x="895" y="891"/>
                  <a:pt x="898" y="896"/>
                </a:cubicBezTo>
                <a:close/>
                <a:moveTo>
                  <a:pt x="848" y="878"/>
                </a:moveTo>
                <a:cubicBezTo>
                  <a:pt x="854" y="884"/>
                  <a:pt x="859" y="891"/>
                  <a:pt x="867" y="895"/>
                </a:cubicBezTo>
                <a:cubicBezTo>
                  <a:pt x="870" y="889"/>
                  <a:pt x="878" y="884"/>
                  <a:pt x="878" y="877"/>
                </a:cubicBezTo>
                <a:cubicBezTo>
                  <a:pt x="868" y="877"/>
                  <a:pt x="859" y="879"/>
                  <a:pt x="848" y="878"/>
                </a:cubicBezTo>
                <a:close/>
                <a:moveTo>
                  <a:pt x="790" y="899"/>
                </a:moveTo>
                <a:cubicBezTo>
                  <a:pt x="784" y="902"/>
                  <a:pt x="780" y="907"/>
                  <a:pt x="775" y="913"/>
                </a:cubicBezTo>
                <a:cubicBezTo>
                  <a:pt x="784" y="917"/>
                  <a:pt x="801" y="912"/>
                  <a:pt x="807" y="914"/>
                </a:cubicBezTo>
                <a:cubicBezTo>
                  <a:pt x="814" y="904"/>
                  <a:pt x="823" y="897"/>
                  <a:pt x="831" y="888"/>
                </a:cubicBezTo>
                <a:cubicBezTo>
                  <a:pt x="829" y="882"/>
                  <a:pt x="820" y="875"/>
                  <a:pt x="808" y="879"/>
                </a:cubicBezTo>
                <a:cubicBezTo>
                  <a:pt x="802" y="884"/>
                  <a:pt x="796" y="890"/>
                  <a:pt x="791" y="896"/>
                </a:cubicBezTo>
                <a:cubicBezTo>
                  <a:pt x="791" y="900"/>
                  <a:pt x="797" y="902"/>
                  <a:pt x="796" y="905"/>
                </a:cubicBezTo>
                <a:cubicBezTo>
                  <a:pt x="792" y="904"/>
                  <a:pt x="793" y="900"/>
                  <a:pt x="790" y="899"/>
                </a:cubicBezTo>
                <a:close/>
                <a:moveTo>
                  <a:pt x="833" y="885"/>
                </a:moveTo>
                <a:cubicBezTo>
                  <a:pt x="836" y="884"/>
                  <a:pt x="836" y="880"/>
                  <a:pt x="840" y="880"/>
                </a:cubicBezTo>
                <a:cubicBezTo>
                  <a:pt x="840" y="884"/>
                  <a:pt x="835" y="884"/>
                  <a:pt x="835" y="888"/>
                </a:cubicBezTo>
                <a:cubicBezTo>
                  <a:pt x="842" y="895"/>
                  <a:pt x="849" y="901"/>
                  <a:pt x="857" y="907"/>
                </a:cubicBezTo>
                <a:cubicBezTo>
                  <a:pt x="860" y="905"/>
                  <a:pt x="862" y="901"/>
                  <a:pt x="864" y="899"/>
                </a:cubicBezTo>
                <a:cubicBezTo>
                  <a:pt x="854" y="889"/>
                  <a:pt x="848" y="875"/>
                  <a:pt x="827" y="878"/>
                </a:cubicBezTo>
                <a:cubicBezTo>
                  <a:pt x="827" y="882"/>
                  <a:pt x="830" y="883"/>
                  <a:pt x="833" y="885"/>
                </a:cubicBezTo>
                <a:close/>
                <a:moveTo>
                  <a:pt x="789" y="893"/>
                </a:moveTo>
                <a:cubicBezTo>
                  <a:pt x="794" y="888"/>
                  <a:pt x="799" y="884"/>
                  <a:pt x="803" y="879"/>
                </a:cubicBezTo>
                <a:cubicBezTo>
                  <a:pt x="795" y="878"/>
                  <a:pt x="787" y="879"/>
                  <a:pt x="779" y="879"/>
                </a:cubicBezTo>
                <a:cubicBezTo>
                  <a:pt x="775" y="885"/>
                  <a:pt x="777" y="899"/>
                  <a:pt x="775" y="907"/>
                </a:cubicBezTo>
                <a:cubicBezTo>
                  <a:pt x="779" y="903"/>
                  <a:pt x="784" y="899"/>
                  <a:pt x="787" y="894"/>
                </a:cubicBezTo>
                <a:cubicBezTo>
                  <a:pt x="784" y="890"/>
                  <a:pt x="780" y="887"/>
                  <a:pt x="779" y="883"/>
                </a:cubicBezTo>
                <a:cubicBezTo>
                  <a:pt x="784" y="884"/>
                  <a:pt x="784" y="892"/>
                  <a:pt x="789" y="893"/>
                </a:cubicBezTo>
                <a:close/>
                <a:moveTo>
                  <a:pt x="1193" y="881"/>
                </a:moveTo>
                <a:cubicBezTo>
                  <a:pt x="1188" y="881"/>
                  <a:pt x="1186" y="879"/>
                  <a:pt x="1180" y="879"/>
                </a:cubicBezTo>
                <a:cubicBezTo>
                  <a:pt x="1179" y="881"/>
                  <a:pt x="1177" y="884"/>
                  <a:pt x="1180" y="886"/>
                </a:cubicBezTo>
                <a:cubicBezTo>
                  <a:pt x="1182" y="885"/>
                  <a:pt x="1182" y="883"/>
                  <a:pt x="1185" y="883"/>
                </a:cubicBezTo>
                <a:cubicBezTo>
                  <a:pt x="1186" y="885"/>
                  <a:pt x="1187" y="887"/>
                  <a:pt x="1185" y="888"/>
                </a:cubicBezTo>
                <a:cubicBezTo>
                  <a:pt x="1184" y="888"/>
                  <a:pt x="1180" y="887"/>
                  <a:pt x="1178" y="888"/>
                </a:cubicBezTo>
                <a:cubicBezTo>
                  <a:pt x="1178" y="892"/>
                  <a:pt x="1183" y="891"/>
                  <a:pt x="1182" y="896"/>
                </a:cubicBezTo>
                <a:cubicBezTo>
                  <a:pt x="1181" y="897"/>
                  <a:pt x="1180" y="896"/>
                  <a:pt x="1178" y="896"/>
                </a:cubicBezTo>
                <a:cubicBezTo>
                  <a:pt x="1178" y="897"/>
                  <a:pt x="1177" y="900"/>
                  <a:pt x="1178" y="901"/>
                </a:cubicBezTo>
                <a:cubicBezTo>
                  <a:pt x="1189" y="900"/>
                  <a:pt x="1195" y="902"/>
                  <a:pt x="1204" y="901"/>
                </a:cubicBezTo>
                <a:cubicBezTo>
                  <a:pt x="1205" y="895"/>
                  <a:pt x="1199" y="896"/>
                  <a:pt x="1200" y="890"/>
                </a:cubicBezTo>
                <a:cubicBezTo>
                  <a:pt x="1202" y="890"/>
                  <a:pt x="1202" y="892"/>
                  <a:pt x="1204" y="892"/>
                </a:cubicBezTo>
                <a:cubicBezTo>
                  <a:pt x="1205" y="889"/>
                  <a:pt x="1203" y="888"/>
                  <a:pt x="1202" y="886"/>
                </a:cubicBezTo>
                <a:cubicBezTo>
                  <a:pt x="1203" y="885"/>
                  <a:pt x="1203" y="883"/>
                  <a:pt x="1203" y="881"/>
                </a:cubicBezTo>
                <a:cubicBezTo>
                  <a:pt x="1200" y="880"/>
                  <a:pt x="1194" y="876"/>
                  <a:pt x="1193" y="881"/>
                </a:cubicBezTo>
                <a:close/>
                <a:moveTo>
                  <a:pt x="757" y="890"/>
                </a:moveTo>
                <a:cubicBezTo>
                  <a:pt x="760" y="891"/>
                  <a:pt x="759" y="886"/>
                  <a:pt x="758" y="886"/>
                </a:cubicBezTo>
                <a:cubicBezTo>
                  <a:pt x="758" y="888"/>
                  <a:pt x="756" y="888"/>
                  <a:pt x="757" y="890"/>
                </a:cubicBezTo>
                <a:close/>
                <a:moveTo>
                  <a:pt x="833" y="890"/>
                </a:moveTo>
                <a:cubicBezTo>
                  <a:pt x="812" y="909"/>
                  <a:pt x="794" y="930"/>
                  <a:pt x="774" y="950"/>
                </a:cubicBezTo>
                <a:cubicBezTo>
                  <a:pt x="811" y="948"/>
                  <a:pt x="851" y="950"/>
                  <a:pt x="895" y="948"/>
                </a:cubicBezTo>
                <a:cubicBezTo>
                  <a:pt x="873" y="930"/>
                  <a:pt x="854" y="908"/>
                  <a:pt x="833" y="890"/>
                </a:cubicBezTo>
                <a:close/>
                <a:moveTo>
                  <a:pt x="904" y="894"/>
                </a:moveTo>
                <a:cubicBezTo>
                  <a:pt x="906" y="893"/>
                  <a:pt x="905" y="889"/>
                  <a:pt x="903" y="890"/>
                </a:cubicBezTo>
                <a:cubicBezTo>
                  <a:pt x="903" y="891"/>
                  <a:pt x="901" y="895"/>
                  <a:pt x="904" y="894"/>
                </a:cubicBezTo>
                <a:close/>
                <a:moveTo>
                  <a:pt x="745" y="901"/>
                </a:moveTo>
                <a:cubicBezTo>
                  <a:pt x="748" y="900"/>
                  <a:pt x="751" y="897"/>
                  <a:pt x="751" y="892"/>
                </a:cubicBezTo>
                <a:cubicBezTo>
                  <a:pt x="743" y="889"/>
                  <a:pt x="744" y="898"/>
                  <a:pt x="745" y="901"/>
                </a:cubicBezTo>
                <a:close/>
                <a:moveTo>
                  <a:pt x="772" y="896"/>
                </a:moveTo>
                <a:cubicBezTo>
                  <a:pt x="771" y="895"/>
                  <a:pt x="773" y="892"/>
                  <a:pt x="771" y="892"/>
                </a:cubicBezTo>
                <a:cubicBezTo>
                  <a:pt x="771" y="894"/>
                  <a:pt x="769" y="897"/>
                  <a:pt x="772" y="896"/>
                </a:cubicBezTo>
                <a:close/>
                <a:moveTo>
                  <a:pt x="749" y="910"/>
                </a:moveTo>
                <a:cubicBezTo>
                  <a:pt x="752" y="912"/>
                  <a:pt x="755" y="910"/>
                  <a:pt x="760" y="911"/>
                </a:cubicBezTo>
                <a:cubicBezTo>
                  <a:pt x="761" y="906"/>
                  <a:pt x="760" y="897"/>
                  <a:pt x="758" y="893"/>
                </a:cubicBezTo>
                <a:cubicBezTo>
                  <a:pt x="752" y="896"/>
                  <a:pt x="752" y="904"/>
                  <a:pt x="749" y="910"/>
                </a:cubicBezTo>
                <a:close/>
                <a:moveTo>
                  <a:pt x="1267" y="894"/>
                </a:moveTo>
                <a:cubicBezTo>
                  <a:pt x="1269" y="897"/>
                  <a:pt x="1266" y="900"/>
                  <a:pt x="1270" y="901"/>
                </a:cubicBezTo>
                <a:cubicBezTo>
                  <a:pt x="1271" y="898"/>
                  <a:pt x="1269" y="896"/>
                  <a:pt x="1269" y="893"/>
                </a:cubicBezTo>
                <a:cubicBezTo>
                  <a:pt x="1268" y="894"/>
                  <a:pt x="1268" y="894"/>
                  <a:pt x="1267" y="894"/>
                </a:cubicBezTo>
                <a:close/>
                <a:moveTo>
                  <a:pt x="893" y="899"/>
                </a:moveTo>
                <a:cubicBezTo>
                  <a:pt x="896" y="900"/>
                  <a:pt x="896" y="894"/>
                  <a:pt x="893" y="895"/>
                </a:cubicBezTo>
                <a:cubicBezTo>
                  <a:pt x="893" y="896"/>
                  <a:pt x="893" y="897"/>
                  <a:pt x="893" y="899"/>
                </a:cubicBezTo>
                <a:close/>
                <a:moveTo>
                  <a:pt x="904" y="901"/>
                </a:moveTo>
                <a:cubicBezTo>
                  <a:pt x="900" y="901"/>
                  <a:pt x="902" y="908"/>
                  <a:pt x="902" y="912"/>
                </a:cubicBezTo>
                <a:cubicBezTo>
                  <a:pt x="904" y="913"/>
                  <a:pt x="911" y="914"/>
                  <a:pt x="911" y="911"/>
                </a:cubicBezTo>
                <a:cubicBezTo>
                  <a:pt x="910" y="907"/>
                  <a:pt x="907" y="904"/>
                  <a:pt x="905" y="901"/>
                </a:cubicBezTo>
                <a:cubicBezTo>
                  <a:pt x="906" y="900"/>
                  <a:pt x="907" y="903"/>
                  <a:pt x="908" y="901"/>
                </a:cubicBezTo>
                <a:cubicBezTo>
                  <a:pt x="906" y="900"/>
                  <a:pt x="907" y="896"/>
                  <a:pt x="905" y="895"/>
                </a:cubicBezTo>
                <a:cubicBezTo>
                  <a:pt x="904" y="895"/>
                  <a:pt x="904" y="895"/>
                  <a:pt x="903" y="895"/>
                </a:cubicBezTo>
                <a:cubicBezTo>
                  <a:pt x="903" y="898"/>
                  <a:pt x="904" y="899"/>
                  <a:pt x="904" y="901"/>
                </a:cubicBezTo>
                <a:close/>
                <a:moveTo>
                  <a:pt x="913" y="901"/>
                </a:moveTo>
                <a:cubicBezTo>
                  <a:pt x="912" y="899"/>
                  <a:pt x="914" y="895"/>
                  <a:pt x="911" y="896"/>
                </a:cubicBezTo>
                <a:cubicBezTo>
                  <a:pt x="911" y="898"/>
                  <a:pt x="910" y="901"/>
                  <a:pt x="913" y="901"/>
                </a:cubicBezTo>
                <a:close/>
                <a:moveTo>
                  <a:pt x="770" y="905"/>
                </a:moveTo>
                <a:cubicBezTo>
                  <a:pt x="770" y="905"/>
                  <a:pt x="772" y="899"/>
                  <a:pt x="769" y="900"/>
                </a:cubicBezTo>
                <a:cubicBezTo>
                  <a:pt x="770" y="902"/>
                  <a:pt x="768" y="905"/>
                  <a:pt x="770" y="905"/>
                </a:cubicBezTo>
                <a:close/>
                <a:moveTo>
                  <a:pt x="860" y="908"/>
                </a:moveTo>
                <a:cubicBezTo>
                  <a:pt x="865" y="909"/>
                  <a:pt x="870" y="909"/>
                  <a:pt x="875" y="909"/>
                </a:cubicBezTo>
                <a:cubicBezTo>
                  <a:pt x="873" y="905"/>
                  <a:pt x="869" y="903"/>
                  <a:pt x="865" y="900"/>
                </a:cubicBezTo>
                <a:cubicBezTo>
                  <a:pt x="864" y="903"/>
                  <a:pt x="861" y="904"/>
                  <a:pt x="860" y="908"/>
                </a:cubicBezTo>
                <a:close/>
                <a:moveTo>
                  <a:pt x="741" y="905"/>
                </a:moveTo>
                <a:cubicBezTo>
                  <a:pt x="743" y="906"/>
                  <a:pt x="744" y="900"/>
                  <a:pt x="742" y="901"/>
                </a:cubicBezTo>
                <a:cubicBezTo>
                  <a:pt x="742" y="902"/>
                  <a:pt x="741" y="903"/>
                  <a:pt x="741" y="905"/>
                </a:cubicBezTo>
                <a:close/>
                <a:moveTo>
                  <a:pt x="898" y="909"/>
                </a:moveTo>
                <a:cubicBezTo>
                  <a:pt x="899" y="907"/>
                  <a:pt x="897" y="903"/>
                  <a:pt x="896" y="901"/>
                </a:cubicBezTo>
                <a:cubicBezTo>
                  <a:pt x="894" y="903"/>
                  <a:pt x="893" y="910"/>
                  <a:pt x="898" y="909"/>
                </a:cubicBezTo>
                <a:close/>
                <a:moveTo>
                  <a:pt x="1203" y="921"/>
                </a:moveTo>
                <a:cubicBezTo>
                  <a:pt x="1200" y="915"/>
                  <a:pt x="1196" y="909"/>
                  <a:pt x="1191" y="905"/>
                </a:cubicBezTo>
                <a:cubicBezTo>
                  <a:pt x="1187" y="907"/>
                  <a:pt x="1182" y="903"/>
                  <a:pt x="1177" y="905"/>
                </a:cubicBezTo>
                <a:cubicBezTo>
                  <a:pt x="1177" y="906"/>
                  <a:pt x="1177" y="907"/>
                  <a:pt x="1177" y="908"/>
                </a:cubicBezTo>
                <a:cubicBezTo>
                  <a:pt x="1180" y="909"/>
                  <a:pt x="1186" y="907"/>
                  <a:pt x="1187" y="911"/>
                </a:cubicBezTo>
                <a:cubicBezTo>
                  <a:pt x="1183" y="912"/>
                  <a:pt x="1177" y="908"/>
                  <a:pt x="1176" y="913"/>
                </a:cubicBezTo>
                <a:cubicBezTo>
                  <a:pt x="1178" y="914"/>
                  <a:pt x="1181" y="912"/>
                  <a:pt x="1183" y="915"/>
                </a:cubicBezTo>
                <a:cubicBezTo>
                  <a:pt x="1183" y="917"/>
                  <a:pt x="1182" y="919"/>
                  <a:pt x="1181" y="920"/>
                </a:cubicBezTo>
                <a:cubicBezTo>
                  <a:pt x="1181" y="918"/>
                  <a:pt x="1177" y="917"/>
                  <a:pt x="1175" y="918"/>
                </a:cubicBezTo>
                <a:cubicBezTo>
                  <a:pt x="1175" y="921"/>
                  <a:pt x="1177" y="921"/>
                  <a:pt x="1177" y="923"/>
                </a:cubicBezTo>
                <a:cubicBezTo>
                  <a:pt x="1175" y="924"/>
                  <a:pt x="1174" y="925"/>
                  <a:pt x="1174" y="929"/>
                </a:cubicBezTo>
                <a:cubicBezTo>
                  <a:pt x="1186" y="930"/>
                  <a:pt x="1198" y="929"/>
                  <a:pt x="1208" y="929"/>
                </a:cubicBezTo>
                <a:cubicBezTo>
                  <a:pt x="1209" y="924"/>
                  <a:pt x="1204" y="924"/>
                  <a:pt x="1203" y="921"/>
                </a:cubicBezTo>
                <a:close/>
                <a:moveTo>
                  <a:pt x="1196" y="905"/>
                </a:moveTo>
                <a:cubicBezTo>
                  <a:pt x="1198" y="908"/>
                  <a:pt x="1202" y="916"/>
                  <a:pt x="1207" y="912"/>
                </a:cubicBezTo>
                <a:cubicBezTo>
                  <a:pt x="1206" y="912"/>
                  <a:pt x="1206" y="911"/>
                  <a:pt x="1206" y="910"/>
                </a:cubicBezTo>
                <a:cubicBezTo>
                  <a:pt x="1203" y="911"/>
                  <a:pt x="1202" y="910"/>
                  <a:pt x="1201" y="908"/>
                </a:cubicBezTo>
                <a:cubicBezTo>
                  <a:pt x="1203" y="908"/>
                  <a:pt x="1204" y="907"/>
                  <a:pt x="1206" y="907"/>
                </a:cubicBezTo>
                <a:cubicBezTo>
                  <a:pt x="1207" y="902"/>
                  <a:pt x="1198" y="904"/>
                  <a:pt x="1196" y="905"/>
                </a:cubicBezTo>
                <a:close/>
                <a:moveTo>
                  <a:pt x="767" y="910"/>
                </a:moveTo>
                <a:cubicBezTo>
                  <a:pt x="767" y="909"/>
                  <a:pt x="769" y="909"/>
                  <a:pt x="769" y="909"/>
                </a:cubicBezTo>
                <a:cubicBezTo>
                  <a:pt x="769" y="904"/>
                  <a:pt x="763" y="908"/>
                  <a:pt x="767" y="910"/>
                </a:cubicBezTo>
                <a:close/>
                <a:moveTo>
                  <a:pt x="740" y="911"/>
                </a:moveTo>
                <a:cubicBezTo>
                  <a:pt x="743" y="911"/>
                  <a:pt x="743" y="910"/>
                  <a:pt x="743" y="907"/>
                </a:cubicBezTo>
                <a:cubicBezTo>
                  <a:pt x="742" y="907"/>
                  <a:pt x="742" y="907"/>
                  <a:pt x="741" y="907"/>
                </a:cubicBezTo>
                <a:cubicBezTo>
                  <a:pt x="741" y="909"/>
                  <a:pt x="740" y="909"/>
                  <a:pt x="740" y="911"/>
                </a:cubicBezTo>
                <a:close/>
                <a:moveTo>
                  <a:pt x="885" y="918"/>
                </a:moveTo>
                <a:cubicBezTo>
                  <a:pt x="884" y="910"/>
                  <a:pt x="870" y="911"/>
                  <a:pt x="861" y="912"/>
                </a:cubicBezTo>
                <a:cubicBezTo>
                  <a:pt x="867" y="917"/>
                  <a:pt x="871" y="924"/>
                  <a:pt x="878" y="928"/>
                </a:cubicBezTo>
                <a:cubicBezTo>
                  <a:pt x="880" y="924"/>
                  <a:pt x="885" y="922"/>
                  <a:pt x="885" y="918"/>
                </a:cubicBezTo>
                <a:close/>
                <a:moveTo>
                  <a:pt x="741" y="933"/>
                </a:moveTo>
                <a:cubicBezTo>
                  <a:pt x="737" y="935"/>
                  <a:pt x="736" y="941"/>
                  <a:pt x="734" y="946"/>
                </a:cubicBezTo>
                <a:cubicBezTo>
                  <a:pt x="744" y="938"/>
                  <a:pt x="751" y="928"/>
                  <a:pt x="761" y="920"/>
                </a:cubicBezTo>
                <a:cubicBezTo>
                  <a:pt x="761" y="918"/>
                  <a:pt x="761" y="915"/>
                  <a:pt x="760" y="914"/>
                </a:cubicBezTo>
                <a:cubicBezTo>
                  <a:pt x="758" y="914"/>
                  <a:pt x="753" y="914"/>
                  <a:pt x="748" y="914"/>
                </a:cubicBezTo>
                <a:cubicBezTo>
                  <a:pt x="745" y="919"/>
                  <a:pt x="742" y="924"/>
                  <a:pt x="741" y="933"/>
                </a:cubicBezTo>
                <a:close/>
                <a:moveTo>
                  <a:pt x="737" y="927"/>
                </a:moveTo>
                <a:cubicBezTo>
                  <a:pt x="740" y="924"/>
                  <a:pt x="740" y="918"/>
                  <a:pt x="742" y="914"/>
                </a:cubicBezTo>
                <a:cubicBezTo>
                  <a:pt x="742" y="914"/>
                  <a:pt x="741" y="914"/>
                  <a:pt x="740" y="914"/>
                </a:cubicBezTo>
                <a:cubicBezTo>
                  <a:pt x="738" y="916"/>
                  <a:pt x="736" y="921"/>
                  <a:pt x="737" y="927"/>
                </a:cubicBezTo>
                <a:close/>
                <a:moveTo>
                  <a:pt x="902" y="916"/>
                </a:moveTo>
                <a:cubicBezTo>
                  <a:pt x="901" y="922"/>
                  <a:pt x="900" y="934"/>
                  <a:pt x="909" y="932"/>
                </a:cubicBezTo>
                <a:cubicBezTo>
                  <a:pt x="912" y="939"/>
                  <a:pt x="918" y="945"/>
                  <a:pt x="924" y="947"/>
                </a:cubicBezTo>
                <a:cubicBezTo>
                  <a:pt x="919" y="937"/>
                  <a:pt x="916" y="926"/>
                  <a:pt x="912" y="916"/>
                </a:cubicBezTo>
                <a:cubicBezTo>
                  <a:pt x="908" y="917"/>
                  <a:pt x="906" y="915"/>
                  <a:pt x="902" y="916"/>
                </a:cubicBezTo>
                <a:close/>
                <a:moveTo>
                  <a:pt x="1267" y="922"/>
                </a:moveTo>
                <a:cubicBezTo>
                  <a:pt x="1268" y="922"/>
                  <a:pt x="1271" y="921"/>
                  <a:pt x="1271" y="922"/>
                </a:cubicBezTo>
                <a:cubicBezTo>
                  <a:pt x="1270" y="924"/>
                  <a:pt x="1269" y="924"/>
                  <a:pt x="1268" y="923"/>
                </a:cubicBezTo>
                <a:cubicBezTo>
                  <a:pt x="1268" y="924"/>
                  <a:pt x="1267" y="927"/>
                  <a:pt x="1269" y="927"/>
                </a:cubicBezTo>
                <a:cubicBezTo>
                  <a:pt x="1269" y="926"/>
                  <a:pt x="1272" y="927"/>
                  <a:pt x="1272" y="926"/>
                </a:cubicBezTo>
                <a:cubicBezTo>
                  <a:pt x="1271" y="922"/>
                  <a:pt x="1273" y="919"/>
                  <a:pt x="1271" y="917"/>
                </a:cubicBezTo>
                <a:cubicBezTo>
                  <a:pt x="1271" y="918"/>
                  <a:pt x="1270" y="919"/>
                  <a:pt x="1269" y="918"/>
                </a:cubicBezTo>
                <a:cubicBezTo>
                  <a:pt x="1269" y="917"/>
                  <a:pt x="1270" y="916"/>
                  <a:pt x="1268" y="916"/>
                </a:cubicBezTo>
                <a:cubicBezTo>
                  <a:pt x="1267" y="918"/>
                  <a:pt x="1268" y="919"/>
                  <a:pt x="1267" y="922"/>
                </a:cubicBezTo>
                <a:close/>
                <a:moveTo>
                  <a:pt x="1205" y="918"/>
                </a:moveTo>
                <a:cubicBezTo>
                  <a:pt x="1206" y="920"/>
                  <a:pt x="1207" y="921"/>
                  <a:pt x="1208" y="922"/>
                </a:cubicBezTo>
                <a:cubicBezTo>
                  <a:pt x="1210" y="919"/>
                  <a:pt x="1208" y="915"/>
                  <a:pt x="1205" y="918"/>
                </a:cubicBezTo>
                <a:close/>
                <a:moveTo>
                  <a:pt x="775" y="918"/>
                </a:moveTo>
                <a:cubicBezTo>
                  <a:pt x="776" y="924"/>
                  <a:pt x="783" y="927"/>
                  <a:pt x="783" y="932"/>
                </a:cubicBezTo>
                <a:cubicBezTo>
                  <a:pt x="778" y="930"/>
                  <a:pt x="778" y="923"/>
                  <a:pt x="773" y="920"/>
                </a:cubicBezTo>
                <a:cubicBezTo>
                  <a:pt x="773" y="925"/>
                  <a:pt x="771" y="934"/>
                  <a:pt x="773" y="937"/>
                </a:cubicBezTo>
                <a:cubicBezTo>
                  <a:pt x="770" y="938"/>
                  <a:pt x="770" y="948"/>
                  <a:pt x="771" y="950"/>
                </a:cubicBezTo>
                <a:cubicBezTo>
                  <a:pt x="775" y="945"/>
                  <a:pt x="783" y="940"/>
                  <a:pt x="783" y="933"/>
                </a:cubicBezTo>
                <a:cubicBezTo>
                  <a:pt x="784" y="933"/>
                  <a:pt x="786" y="933"/>
                  <a:pt x="788" y="933"/>
                </a:cubicBezTo>
                <a:cubicBezTo>
                  <a:pt x="791" y="928"/>
                  <a:pt x="797" y="924"/>
                  <a:pt x="801" y="918"/>
                </a:cubicBezTo>
                <a:cubicBezTo>
                  <a:pt x="792" y="917"/>
                  <a:pt x="787" y="919"/>
                  <a:pt x="775" y="918"/>
                </a:cubicBezTo>
                <a:close/>
                <a:moveTo>
                  <a:pt x="767" y="927"/>
                </a:moveTo>
                <a:cubicBezTo>
                  <a:pt x="768" y="924"/>
                  <a:pt x="768" y="921"/>
                  <a:pt x="768" y="918"/>
                </a:cubicBezTo>
                <a:cubicBezTo>
                  <a:pt x="768" y="918"/>
                  <a:pt x="767" y="918"/>
                  <a:pt x="766" y="918"/>
                </a:cubicBezTo>
                <a:cubicBezTo>
                  <a:pt x="765" y="921"/>
                  <a:pt x="765" y="925"/>
                  <a:pt x="767" y="927"/>
                </a:cubicBezTo>
                <a:close/>
                <a:moveTo>
                  <a:pt x="881" y="930"/>
                </a:moveTo>
                <a:cubicBezTo>
                  <a:pt x="884" y="929"/>
                  <a:pt x="888" y="929"/>
                  <a:pt x="893" y="929"/>
                </a:cubicBezTo>
                <a:cubicBezTo>
                  <a:pt x="894" y="923"/>
                  <a:pt x="890" y="920"/>
                  <a:pt x="885" y="920"/>
                </a:cubicBezTo>
                <a:cubicBezTo>
                  <a:pt x="885" y="925"/>
                  <a:pt x="880" y="926"/>
                  <a:pt x="881" y="930"/>
                </a:cubicBezTo>
                <a:close/>
                <a:moveTo>
                  <a:pt x="1306" y="927"/>
                </a:moveTo>
                <a:cubicBezTo>
                  <a:pt x="1307" y="924"/>
                  <a:pt x="1304" y="923"/>
                  <a:pt x="1303" y="924"/>
                </a:cubicBezTo>
                <a:cubicBezTo>
                  <a:pt x="1304" y="925"/>
                  <a:pt x="1304" y="927"/>
                  <a:pt x="1306" y="927"/>
                </a:cubicBezTo>
                <a:close/>
                <a:moveTo>
                  <a:pt x="734" y="951"/>
                </a:moveTo>
                <a:cubicBezTo>
                  <a:pt x="740" y="951"/>
                  <a:pt x="755" y="953"/>
                  <a:pt x="764" y="951"/>
                </a:cubicBezTo>
                <a:cubicBezTo>
                  <a:pt x="763" y="942"/>
                  <a:pt x="763" y="932"/>
                  <a:pt x="761" y="924"/>
                </a:cubicBezTo>
                <a:cubicBezTo>
                  <a:pt x="752" y="933"/>
                  <a:pt x="742" y="942"/>
                  <a:pt x="734" y="951"/>
                </a:cubicBezTo>
                <a:close/>
                <a:moveTo>
                  <a:pt x="1267" y="933"/>
                </a:moveTo>
                <a:cubicBezTo>
                  <a:pt x="1270" y="934"/>
                  <a:pt x="1273" y="934"/>
                  <a:pt x="1273" y="930"/>
                </a:cubicBezTo>
                <a:cubicBezTo>
                  <a:pt x="1270" y="928"/>
                  <a:pt x="1265" y="929"/>
                  <a:pt x="1267" y="933"/>
                </a:cubicBezTo>
                <a:close/>
                <a:moveTo>
                  <a:pt x="1303" y="935"/>
                </a:moveTo>
                <a:cubicBezTo>
                  <a:pt x="1304" y="935"/>
                  <a:pt x="1305" y="935"/>
                  <a:pt x="1306" y="935"/>
                </a:cubicBezTo>
                <a:cubicBezTo>
                  <a:pt x="1306" y="934"/>
                  <a:pt x="1307" y="934"/>
                  <a:pt x="1307" y="931"/>
                </a:cubicBezTo>
                <a:cubicBezTo>
                  <a:pt x="1306" y="931"/>
                  <a:pt x="1305" y="930"/>
                  <a:pt x="1303" y="931"/>
                </a:cubicBezTo>
                <a:cubicBezTo>
                  <a:pt x="1303" y="931"/>
                  <a:pt x="1303" y="933"/>
                  <a:pt x="1303" y="935"/>
                </a:cubicBezTo>
                <a:close/>
                <a:moveTo>
                  <a:pt x="895" y="945"/>
                </a:moveTo>
                <a:cubicBezTo>
                  <a:pt x="895" y="940"/>
                  <a:pt x="895" y="935"/>
                  <a:pt x="893" y="931"/>
                </a:cubicBezTo>
                <a:cubicBezTo>
                  <a:pt x="890" y="931"/>
                  <a:pt x="886" y="931"/>
                  <a:pt x="882" y="931"/>
                </a:cubicBezTo>
                <a:cubicBezTo>
                  <a:pt x="885" y="937"/>
                  <a:pt x="890" y="941"/>
                  <a:pt x="895" y="945"/>
                </a:cubicBezTo>
                <a:close/>
                <a:moveTo>
                  <a:pt x="1194" y="934"/>
                </a:moveTo>
                <a:cubicBezTo>
                  <a:pt x="1187" y="932"/>
                  <a:pt x="1178" y="929"/>
                  <a:pt x="1173" y="935"/>
                </a:cubicBezTo>
                <a:cubicBezTo>
                  <a:pt x="1173" y="937"/>
                  <a:pt x="1178" y="935"/>
                  <a:pt x="1178" y="938"/>
                </a:cubicBezTo>
                <a:cubicBezTo>
                  <a:pt x="1178" y="941"/>
                  <a:pt x="1174" y="937"/>
                  <a:pt x="1172" y="940"/>
                </a:cubicBezTo>
                <a:cubicBezTo>
                  <a:pt x="1172" y="941"/>
                  <a:pt x="1172" y="942"/>
                  <a:pt x="1172" y="943"/>
                </a:cubicBezTo>
                <a:cubicBezTo>
                  <a:pt x="1176" y="943"/>
                  <a:pt x="1179" y="941"/>
                  <a:pt x="1181" y="944"/>
                </a:cubicBezTo>
                <a:cubicBezTo>
                  <a:pt x="1181" y="947"/>
                  <a:pt x="1176" y="948"/>
                  <a:pt x="1173" y="946"/>
                </a:cubicBezTo>
                <a:cubicBezTo>
                  <a:pt x="1172" y="950"/>
                  <a:pt x="1172" y="954"/>
                  <a:pt x="1170" y="956"/>
                </a:cubicBezTo>
                <a:cubicBezTo>
                  <a:pt x="1183" y="958"/>
                  <a:pt x="1201" y="958"/>
                  <a:pt x="1214" y="955"/>
                </a:cubicBezTo>
                <a:cubicBezTo>
                  <a:pt x="1206" y="949"/>
                  <a:pt x="1199" y="943"/>
                  <a:pt x="1194" y="934"/>
                </a:cubicBezTo>
                <a:close/>
                <a:moveTo>
                  <a:pt x="1202" y="937"/>
                </a:moveTo>
                <a:cubicBezTo>
                  <a:pt x="1204" y="940"/>
                  <a:pt x="1207" y="945"/>
                  <a:pt x="1212" y="942"/>
                </a:cubicBezTo>
                <a:cubicBezTo>
                  <a:pt x="1213" y="937"/>
                  <a:pt x="1206" y="940"/>
                  <a:pt x="1205" y="937"/>
                </a:cubicBezTo>
                <a:cubicBezTo>
                  <a:pt x="1205" y="935"/>
                  <a:pt x="1209" y="936"/>
                  <a:pt x="1211" y="937"/>
                </a:cubicBezTo>
                <a:cubicBezTo>
                  <a:pt x="1211" y="935"/>
                  <a:pt x="1211" y="934"/>
                  <a:pt x="1211" y="932"/>
                </a:cubicBezTo>
                <a:cubicBezTo>
                  <a:pt x="1207" y="931"/>
                  <a:pt x="1201" y="932"/>
                  <a:pt x="1196" y="931"/>
                </a:cubicBezTo>
                <a:cubicBezTo>
                  <a:pt x="1195" y="935"/>
                  <a:pt x="1199" y="935"/>
                  <a:pt x="1202" y="937"/>
                </a:cubicBezTo>
                <a:close/>
                <a:moveTo>
                  <a:pt x="902" y="949"/>
                </a:moveTo>
                <a:cubicBezTo>
                  <a:pt x="909" y="950"/>
                  <a:pt x="915" y="952"/>
                  <a:pt x="923" y="952"/>
                </a:cubicBezTo>
                <a:cubicBezTo>
                  <a:pt x="916" y="946"/>
                  <a:pt x="910" y="939"/>
                  <a:pt x="902" y="933"/>
                </a:cubicBezTo>
                <a:cubicBezTo>
                  <a:pt x="901" y="937"/>
                  <a:pt x="902" y="946"/>
                  <a:pt x="902" y="949"/>
                </a:cubicBezTo>
                <a:close/>
                <a:moveTo>
                  <a:pt x="1267" y="939"/>
                </a:moveTo>
                <a:cubicBezTo>
                  <a:pt x="1270" y="939"/>
                  <a:pt x="1273" y="939"/>
                  <a:pt x="1273" y="937"/>
                </a:cubicBezTo>
                <a:cubicBezTo>
                  <a:pt x="1272" y="935"/>
                  <a:pt x="1267" y="936"/>
                  <a:pt x="1267" y="939"/>
                </a:cubicBezTo>
                <a:close/>
                <a:moveTo>
                  <a:pt x="1277" y="942"/>
                </a:moveTo>
                <a:cubicBezTo>
                  <a:pt x="1280" y="959"/>
                  <a:pt x="1282" y="980"/>
                  <a:pt x="1287" y="996"/>
                </a:cubicBezTo>
                <a:cubicBezTo>
                  <a:pt x="1289" y="996"/>
                  <a:pt x="1291" y="996"/>
                  <a:pt x="1293" y="996"/>
                </a:cubicBezTo>
                <a:cubicBezTo>
                  <a:pt x="1296" y="976"/>
                  <a:pt x="1297" y="958"/>
                  <a:pt x="1299" y="941"/>
                </a:cubicBezTo>
                <a:cubicBezTo>
                  <a:pt x="1293" y="942"/>
                  <a:pt x="1285" y="941"/>
                  <a:pt x="1277" y="942"/>
                </a:cubicBezTo>
                <a:close/>
                <a:moveTo>
                  <a:pt x="1266" y="942"/>
                </a:moveTo>
                <a:cubicBezTo>
                  <a:pt x="1270" y="945"/>
                  <a:pt x="1261" y="951"/>
                  <a:pt x="1268" y="953"/>
                </a:cubicBezTo>
                <a:cubicBezTo>
                  <a:pt x="1268" y="952"/>
                  <a:pt x="1267" y="949"/>
                  <a:pt x="1269" y="949"/>
                </a:cubicBezTo>
                <a:cubicBezTo>
                  <a:pt x="1275" y="948"/>
                  <a:pt x="1272" y="953"/>
                  <a:pt x="1275" y="954"/>
                </a:cubicBezTo>
                <a:cubicBezTo>
                  <a:pt x="1276" y="948"/>
                  <a:pt x="1271" y="946"/>
                  <a:pt x="1274" y="942"/>
                </a:cubicBezTo>
                <a:cubicBezTo>
                  <a:pt x="1272" y="942"/>
                  <a:pt x="1268" y="942"/>
                  <a:pt x="1266" y="942"/>
                </a:cubicBezTo>
                <a:close/>
                <a:moveTo>
                  <a:pt x="1310" y="943"/>
                </a:moveTo>
                <a:cubicBezTo>
                  <a:pt x="1313" y="953"/>
                  <a:pt x="1312" y="959"/>
                  <a:pt x="1314" y="970"/>
                </a:cubicBezTo>
                <a:cubicBezTo>
                  <a:pt x="1317" y="967"/>
                  <a:pt x="1318" y="957"/>
                  <a:pt x="1314" y="955"/>
                </a:cubicBezTo>
                <a:cubicBezTo>
                  <a:pt x="1319" y="953"/>
                  <a:pt x="1320" y="944"/>
                  <a:pt x="1317" y="941"/>
                </a:cubicBezTo>
                <a:cubicBezTo>
                  <a:pt x="1314" y="940"/>
                  <a:pt x="1312" y="942"/>
                  <a:pt x="1310" y="943"/>
                </a:cubicBezTo>
                <a:close/>
                <a:moveTo>
                  <a:pt x="1301" y="969"/>
                </a:moveTo>
                <a:cubicBezTo>
                  <a:pt x="1305" y="968"/>
                  <a:pt x="1306" y="965"/>
                  <a:pt x="1310" y="965"/>
                </a:cubicBezTo>
                <a:cubicBezTo>
                  <a:pt x="1310" y="961"/>
                  <a:pt x="1305" y="960"/>
                  <a:pt x="1306" y="955"/>
                </a:cubicBezTo>
                <a:cubicBezTo>
                  <a:pt x="1307" y="955"/>
                  <a:pt x="1308" y="957"/>
                  <a:pt x="1310" y="957"/>
                </a:cubicBezTo>
                <a:cubicBezTo>
                  <a:pt x="1310" y="953"/>
                  <a:pt x="1307" y="950"/>
                  <a:pt x="1304" y="948"/>
                </a:cubicBezTo>
                <a:cubicBezTo>
                  <a:pt x="1305" y="948"/>
                  <a:pt x="1305" y="947"/>
                  <a:pt x="1305" y="946"/>
                </a:cubicBezTo>
                <a:cubicBezTo>
                  <a:pt x="1307" y="946"/>
                  <a:pt x="1306" y="947"/>
                  <a:pt x="1308" y="946"/>
                </a:cubicBezTo>
                <a:cubicBezTo>
                  <a:pt x="1308" y="945"/>
                  <a:pt x="1308" y="944"/>
                  <a:pt x="1308" y="943"/>
                </a:cubicBezTo>
                <a:cubicBezTo>
                  <a:pt x="1305" y="943"/>
                  <a:pt x="1304" y="942"/>
                  <a:pt x="1303" y="942"/>
                </a:cubicBezTo>
                <a:cubicBezTo>
                  <a:pt x="1304" y="949"/>
                  <a:pt x="1299" y="960"/>
                  <a:pt x="1301" y="969"/>
                </a:cubicBezTo>
                <a:close/>
                <a:moveTo>
                  <a:pt x="1213" y="950"/>
                </a:moveTo>
                <a:cubicBezTo>
                  <a:pt x="1213" y="947"/>
                  <a:pt x="1212" y="945"/>
                  <a:pt x="1209" y="946"/>
                </a:cubicBezTo>
                <a:cubicBezTo>
                  <a:pt x="1209" y="949"/>
                  <a:pt x="1211" y="949"/>
                  <a:pt x="1213" y="950"/>
                </a:cubicBezTo>
                <a:close/>
                <a:moveTo>
                  <a:pt x="1321" y="962"/>
                </a:moveTo>
                <a:cubicBezTo>
                  <a:pt x="1326" y="961"/>
                  <a:pt x="1322" y="952"/>
                  <a:pt x="1321" y="950"/>
                </a:cubicBezTo>
                <a:cubicBezTo>
                  <a:pt x="1321" y="955"/>
                  <a:pt x="1320" y="959"/>
                  <a:pt x="1321" y="962"/>
                </a:cubicBezTo>
                <a:close/>
                <a:moveTo>
                  <a:pt x="1275" y="956"/>
                </a:moveTo>
                <a:cubicBezTo>
                  <a:pt x="1273" y="956"/>
                  <a:pt x="1269" y="952"/>
                  <a:pt x="1265" y="956"/>
                </a:cubicBezTo>
                <a:cubicBezTo>
                  <a:pt x="1266" y="961"/>
                  <a:pt x="1261" y="965"/>
                  <a:pt x="1265" y="968"/>
                </a:cubicBezTo>
                <a:cubicBezTo>
                  <a:pt x="1264" y="966"/>
                  <a:pt x="1268" y="966"/>
                  <a:pt x="1267" y="968"/>
                </a:cubicBezTo>
                <a:cubicBezTo>
                  <a:pt x="1266" y="970"/>
                  <a:pt x="1264" y="967"/>
                  <a:pt x="1263" y="969"/>
                </a:cubicBezTo>
                <a:cubicBezTo>
                  <a:pt x="1264" y="976"/>
                  <a:pt x="1264" y="981"/>
                  <a:pt x="1262" y="985"/>
                </a:cubicBezTo>
                <a:cubicBezTo>
                  <a:pt x="1264" y="985"/>
                  <a:pt x="1266" y="982"/>
                  <a:pt x="1267" y="985"/>
                </a:cubicBezTo>
                <a:cubicBezTo>
                  <a:pt x="1266" y="987"/>
                  <a:pt x="1264" y="988"/>
                  <a:pt x="1262" y="987"/>
                </a:cubicBezTo>
                <a:cubicBezTo>
                  <a:pt x="1262" y="991"/>
                  <a:pt x="1261" y="992"/>
                  <a:pt x="1261" y="995"/>
                </a:cubicBezTo>
                <a:cubicBezTo>
                  <a:pt x="1269" y="994"/>
                  <a:pt x="1275" y="995"/>
                  <a:pt x="1282" y="994"/>
                </a:cubicBezTo>
                <a:cubicBezTo>
                  <a:pt x="1279" y="992"/>
                  <a:pt x="1280" y="990"/>
                  <a:pt x="1279" y="987"/>
                </a:cubicBezTo>
                <a:cubicBezTo>
                  <a:pt x="1277" y="989"/>
                  <a:pt x="1273" y="984"/>
                  <a:pt x="1273" y="981"/>
                </a:cubicBezTo>
                <a:cubicBezTo>
                  <a:pt x="1270" y="981"/>
                  <a:pt x="1268" y="980"/>
                  <a:pt x="1268" y="977"/>
                </a:cubicBezTo>
                <a:cubicBezTo>
                  <a:pt x="1270" y="977"/>
                  <a:pt x="1274" y="977"/>
                  <a:pt x="1276" y="978"/>
                </a:cubicBezTo>
                <a:cubicBezTo>
                  <a:pt x="1275" y="979"/>
                  <a:pt x="1273" y="978"/>
                  <a:pt x="1273" y="981"/>
                </a:cubicBezTo>
                <a:cubicBezTo>
                  <a:pt x="1275" y="981"/>
                  <a:pt x="1277" y="984"/>
                  <a:pt x="1280" y="985"/>
                </a:cubicBezTo>
                <a:cubicBezTo>
                  <a:pt x="1281" y="982"/>
                  <a:pt x="1277" y="984"/>
                  <a:pt x="1277" y="983"/>
                </a:cubicBezTo>
                <a:cubicBezTo>
                  <a:pt x="1281" y="977"/>
                  <a:pt x="1275" y="972"/>
                  <a:pt x="1273" y="968"/>
                </a:cubicBezTo>
                <a:cubicBezTo>
                  <a:pt x="1274" y="967"/>
                  <a:pt x="1274" y="967"/>
                  <a:pt x="1275" y="966"/>
                </a:cubicBezTo>
                <a:cubicBezTo>
                  <a:pt x="1276" y="966"/>
                  <a:pt x="1276" y="967"/>
                  <a:pt x="1277" y="967"/>
                </a:cubicBezTo>
                <a:cubicBezTo>
                  <a:pt x="1276" y="964"/>
                  <a:pt x="1276" y="957"/>
                  <a:pt x="1275" y="956"/>
                </a:cubicBezTo>
                <a:close/>
                <a:moveTo>
                  <a:pt x="731" y="957"/>
                </a:moveTo>
                <a:cubicBezTo>
                  <a:pt x="730" y="964"/>
                  <a:pt x="732" y="968"/>
                  <a:pt x="734" y="972"/>
                </a:cubicBezTo>
                <a:cubicBezTo>
                  <a:pt x="737" y="973"/>
                  <a:pt x="736" y="973"/>
                  <a:pt x="740" y="972"/>
                </a:cubicBezTo>
                <a:cubicBezTo>
                  <a:pt x="741" y="970"/>
                  <a:pt x="742" y="969"/>
                  <a:pt x="742" y="965"/>
                </a:cubicBezTo>
                <a:cubicBezTo>
                  <a:pt x="740" y="963"/>
                  <a:pt x="733" y="961"/>
                  <a:pt x="734" y="957"/>
                </a:cubicBezTo>
                <a:cubicBezTo>
                  <a:pt x="739" y="957"/>
                  <a:pt x="738" y="963"/>
                  <a:pt x="743" y="963"/>
                </a:cubicBezTo>
                <a:cubicBezTo>
                  <a:pt x="744" y="961"/>
                  <a:pt x="745" y="959"/>
                  <a:pt x="745" y="956"/>
                </a:cubicBezTo>
                <a:cubicBezTo>
                  <a:pt x="741" y="955"/>
                  <a:pt x="733" y="954"/>
                  <a:pt x="731" y="957"/>
                </a:cubicBezTo>
                <a:close/>
                <a:moveTo>
                  <a:pt x="903" y="957"/>
                </a:moveTo>
                <a:cubicBezTo>
                  <a:pt x="903" y="962"/>
                  <a:pt x="908" y="963"/>
                  <a:pt x="907" y="970"/>
                </a:cubicBezTo>
                <a:cubicBezTo>
                  <a:pt x="914" y="969"/>
                  <a:pt x="913" y="960"/>
                  <a:pt x="911" y="956"/>
                </a:cubicBezTo>
                <a:cubicBezTo>
                  <a:pt x="907" y="956"/>
                  <a:pt x="905" y="956"/>
                  <a:pt x="903" y="957"/>
                </a:cubicBezTo>
                <a:close/>
                <a:moveTo>
                  <a:pt x="920" y="961"/>
                </a:moveTo>
                <a:cubicBezTo>
                  <a:pt x="921" y="959"/>
                  <a:pt x="924" y="959"/>
                  <a:pt x="924" y="956"/>
                </a:cubicBezTo>
                <a:cubicBezTo>
                  <a:pt x="922" y="956"/>
                  <a:pt x="919" y="956"/>
                  <a:pt x="917" y="956"/>
                </a:cubicBezTo>
                <a:cubicBezTo>
                  <a:pt x="917" y="959"/>
                  <a:pt x="918" y="961"/>
                  <a:pt x="920" y="961"/>
                </a:cubicBezTo>
                <a:close/>
                <a:moveTo>
                  <a:pt x="757" y="974"/>
                </a:moveTo>
                <a:cubicBezTo>
                  <a:pt x="760" y="969"/>
                  <a:pt x="761" y="962"/>
                  <a:pt x="764" y="958"/>
                </a:cubicBezTo>
                <a:cubicBezTo>
                  <a:pt x="761" y="957"/>
                  <a:pt x="755" y="958"/>
                  <a:pt x="751" y="957"/>
                </a:cubicBezTo>
                <a:cubicBezTo>
                  <a:pt x="751" y="962"/>
                  <a:pt x="750" y="974"/>
                  <a:pt x="757" y="974"/>
                </a:cubicBezTo>
                <a:close/>
                <a:moveTo>
                  <a:pt x="832" y="971"/>
                </a:moveTo>
                <a:cubicBezTo>
                  <a:pt x="835" y="967"/>
                  <a:pt x="841" y="961"/>
                  <a:pt x="842" y="957"/>
                </a:cubicBezTo>
                <a:cubicBezTo>
                  <a:pt x="835" y="957"/>
                  <a:pt x="826" y="958"/>
                  <a:pt x="820" y="957"/>
                </a:cubicBezTo>
                <a:cubicBezTo>
                  <a:pt x="823" y="963"/>
                  <a:pt x="827" y="967"/>
                  <a:pt x="832" y="971"/>
                </a:cubicBezTo>
                <a:close/>
                <a:moveTo>
                  <a:pt x="851" y="957"/>
                </a:moveTo>
                <a:cubicBezTo>
                  <a:pt x="856" y="964"/>
                  <a:pt x="861" y="970"/>
                  <a:pt x="867" y="975"/>
                </a:cubicBezTo>
                <a:cubicBezTo>
                  <a:pt x="875" y="970"/>
                  <a:pt x="882" y="964"/>
                  <a:pt x="889" y="957"/>
                </a:cubicBezTo>
                <a:cubicBezTo>
                  <a:pt x="878" y="957"/>
                  <a:pt x="863" y="958"/>
                  <a:pt x="851" y="957"/>
                </a:cubicBezTo>
                <a:close/>
                <a:moveTo>
                  <a:pt x="878" y="971"/>
                </a:moveTo>
                <a:cubicBezTo>
                  <a:pt x="885" y="971"/>
                  <a:pt x="892" y="971"/>
                  <a:pt x="899" y="971"/>
                </a:cubicBezTo>
                <a:cubicBezTo>
                  <a:pt x="898" y="966"/>
                  <a:pt x="899" y="960"/>
                  <a:pt x="897" y="957"/>
                </a:cubicBezTo>
                <a:cubicBezTo>
                  <a:pt x="889" y="960"/>
                  <a:pt x="884" y="965"/>
                  <a:pt x="878" y="971"/>
                </a:cubicBezTo>
                <a:close/>
                <a:moveTo>
                  <a:pt x="771" y="959"/>
                </a:moveTo>
                <a:cubicBezTo>
                  <a:pt x="780" y="962"/>
                  <a:pt x="783" y="971"/>
                  <a:pt x="793" y="974"/>
                </a:cubicBezTo>
                <a:cubicBezTo>
                  <a:pt x="798" y="968"/>
                  <a:pt x="802" y="963"/>
                  <a:pt x="807" y="957"/>
                </a:cubicBezTo>
                <a:cubicBezTo>
                  <a:pt x="795" y="958"/>
                  <a:pt x="780" y="956"/>
                  <a:pt x="771" y="959"/>
                </a:cubicBezTo>
                <a:close/>
                <a:moveTo>
                  <a:pt x="811" y="957"/>
                </a:moveTo>
                <a:cubicBezTo>
                  <a:pt x="805" y="963"/>
                  <a:pt x="799" y="972"/>
                  <a:pt x="795" y="977"/>
                </a:cubicBezTo>
                <a:cubicBezTo>
                  <a:pt x="802" y="982"/>
                  <a:pt x="808" y="988"/>
                  <a:pt x="816" y="992"/>
                </a:cubicBezTo>
                <a:cubicBezTo>
                  <a:pt x="820" y="986"/>
                  <a:pt x="826" y="981"/>
                  <a:pt x="829" y="974"/>
                </a:cubicBezTo>
                <a:cubicBezTo>
                  <a:pt x="825" y="968"/>
                  <a:pt x="820" y="963"/>
                  <a:pt x="816" y="957"/>
                </a:cubicBezTo>
                <a:cubicBezTo>
                  <a:pt x="815" y="958"/>
                  <a:pt x="811" y="957"/>
                  <a:pt x="811" y="957"/>
                </a:cubicBezTo>
                <a:close/>
                <a:moveTo>
                  <a:pt x="846" y="958"/>
                </a:moveTo>
                <a:cubicBezTo>
                  <a:pt x="843" y="963"/>
                  <a:pt x="834" y="968"/>
                  <a:pt x="834" y="974"/>
                </a:cubicBezTo>
                <a:cubicBezTo>
                  <a:pt x="834" y="981"/>
                  <a:pt x="844" y="985"/>
                  <a:pt x="848" y="991"/>
                </a:cubicBezTo>
                <a:cubicBezTo>
                  <a:pt x="853" y="987"/>
                  <a:pt x="859" y="982"/>
                  <a:pt x="864" y="978"/>
                </a:cubicBezTo>
                <a:cubicBezTo>
                  <a:pt x="858" y="971"/>
                  <a:pt x="853" y="963"/>
                  <a:pt x="846" y="958"/>
                </a:cubicBezTo>
                <a:close/>
                <a:moveTo>
                  <a:pt x="920" y="962"/>
                </a:moveTo>
                <a:cubicBezTo>
                  <a:pt x="921" y="966"/>
                  <a:pt x="921" y="970"/>
                  <a:pt x="922" y="973"/>
                </a:cubicBezTo>
                <a:cubicBezTo>
                  <a:pt x="924" y="973"/>
                  <a:pt x="925" y="973"/>
                  <a:pt x="927" y="972"/>
                </a:cubicBezTo>
                <a:cubicBezTo>
                  <a:pt x="925" y="969"/>
                  <a:pt x="929" y="959"/>
                  <a:pt x="924" y="958"/>
                </a:cubicBezTo>
                <a:cubicBezTo>
                  <a:pt x="925" y="961"/>
                  <a:pt x="921" y="960"/>
                  <a:pt x="920" y="962"/>
                </a:cubicBezTo>
                <a:close/>
                <a:moveTo>
                  <a:pt x="768" y="974"/>
                </a:moveTo>
                <a:cubicBezTo>
                  <a:pt x="772" y="974"/>
                  <a:pt x="784" y="975"/>
                  <a:pt x="786" y="974"/>
                </a:cubicBezTo>
                <a:cubicBezTo>
                  <a:pt x="781" y="968"/>
                  <a:pt x="775" y="964"/>
                  <a:pt x="769" y="960"/>
                </a:cubicBezTo>
                <a:cubicBezTo>
                  <a:pt x="768" y="964"/>
                  <a:pt x="768" y="969"/>
                  <a:pt x="768" y="974"/>
                </a:cubicBezTo>
                <a:close/>
                <a:moveTo>
                  <a:pt x="1195" y="962"/>
                </a:moveTo>
                <a:cubicBezTo>
                  <a:pt x="1188" y="961"/>
                  <a:pt x="1177" y="959"/>
                  <a:pt x="1170" y="962"/>
                </a:cubicBezTo>
                <a:cubicBezTo>
                  <a:pt x="1169" y="965"/>
                  <a:pt x="1171" y="965"/>
                  <a:pt x="1171" y="968"/>
                </a:cubicBezTo>
                <a:cubicBezTo>
                  <a:pt x="1168" y="967"/>
                  <a:pt x="1168" y="970"/>
                  <a:pt x="1169" y="971"/>
                </a:cubicBezTo>
                <a:cubicBezTo>
                  <a:pt x="1172" y="973"/>
                  <a:pt x="1180" y="968"/>
                  <a:pt x="1180" y="974"/>
                </a:cubicBezTo>
                <a:cubicBezTo>
                  <a:pt x="1177" y="975"/>
                  <a:pt x="1173" y="976"/>
                  <a:pt x="1169" y="975"/>
                </a:cubicBezTo>
                <a:cubicBezTo>
                  <a:pt x="1169" y="978"/>
                  <a:pt x="1168" y="983"/>
                  <a:pt x="1168" y="985"/>
                </a:cubicBezTo>
                <a:cubicBezTo>
                  <a:pt x="1177" y="986"/>
                  <a:pt x="1188" y="985"/>
                  <a:pt x="1199" y="985"/>
                </a:cubicBezTo>
                <a:cubicBezTo>
                  <a:pt x="1206" y="985"/>
                  <a:pt x="1214" y="987"/>
                  <a:pt x="1219" y="983"/>
                </a:cubicBezTo>
                <a:cubicBezTo>
                  <a:pt x="1216" y="981"/>
                  <a:pt x="1211" y="981"/>
                  <a:pt x="1211" y="976"/>
                </a:cubicBezTo>
                <a:cubicBezTo>
                  <a:pt x="1204" y="974"/>
                  <a:pt x="1200" y="966"/>
                  <a:pt x="1197" y="963"/>
                </a:cubicBezTo>
                <a:cubicBezTo>
                  <a:pt x="1202" y="965"/>
                  <a:pt x="1210" y="975"/>
                  <a:pt x="1217" y="969"/>
                </a:cubicBezTo>
                <a:cubicBezTo>
                  <a:pt x="1215" y="966"/>
                  <a:pt x="1211" y="970"/>
                  <a:pt x="1211" y="965"/>
                </a:cubicBezTo>
                <a:cubicBezTo>
                  <a:pt x="1212" y="962"/>
                  <a:pt x="1216" y="967"/>
                  <a:pt x="1216" y="963"/>
                </a:cubicBezTo>
                <a:cubicBezTo>
                  <a:pt x="1212" y="959"/>
                  <a:pt x="1199" y="959"/>
                  <a:pt x="1195" y="962"/>
                </a:cubicBezTo>
                <a:close/>
                <a:moveTo>
                  <a:pt x="1320" y="968"/>
                </a:moveTo>
                <a:cubicBezTo>
                  <a:pt x="1322" y="969"/>
                  <a:pt x="1324" y="970"/>
                  <a:pt x="1325" y="972"/>
                </a:cubicBezTo>
                <a:cubicBezTo>
                  <a:pt x="1326" y="967"/>
                  <a:pt x="1325" y="964"/>
                  <a:pt x="1321" y="964"/>
                </a:cubicBezTo>
                <a:cubicBezTo>
                  <a:pt x="1321" y="966"/>
                  <a:pt x="1319" y="966"/>
                  <a:pt x="1320" y="968"/>
                </a:cubicBezTo>
                <a:close/>
                <a:moveTo>
                  <a:pt x="762" y="975"/>
                </a:moveTo>
                <a:cubicBezTo>
                  <a:pt x="764" y="973"/>
                  <a:pt x="766" y="967"/>
                  <a:pt x="763" y="965"/>
                </a:cubicBezTo>
                <a:cubicBezTo>
                  <a:pt x="763" y="968"/>
                  <a:pt x="759" y="973"/>
                  <a:pt x="762" y="975"/>
                </a:cubicBezTo>
                <a:close/>
                <a:moveTo>
                  <a:pt x="904" y="972"/>
                </a:moveTo>
                <a:cubicBezTo>
                  <a:pt x="906" y="970"/>
                  <a:pt x="906" y="966"/>
                  <a:pt x="903" y="966"/>
                </a:cubicBezTo>
                <a:cubicBezTo>
                  <a:pt x="903" y="968"/>
                  <a:pt x="903" y="971"/>
                  <a:pt x="904" y="972"/>
                </a:cubicBezTo>
                <a:close/>
                <a:moveTo>
                  <a:pt x="1313" y="978"/>
                </a:moveTo>
                <a:cubicBezTo>
                  <a:pt x="1309" y="978"/>
                  <a:pt x="1309" y="972"/>
                  <a:pt x="1310" y="969"/>
                </a:cubicBezTo>
                <a:cubicBezTo>
                  <a:pt x="1308" y="970"/>
                  <a:pt x="1307" y="969"/>
                  <a:pt x="1304" y="969"/>
                </a:cubicBezTo>
                <a:cubicBezTo>
                  <a:pt x="1305" y="972"/>
                  <a:pt x="1303" y="973"/>
                  <a:pt x="1299" y="973"/>
                </a:cubicBezTo>
                <a:cubicBezTo>
                  <a:pt x="1299" y="982"/>
                  <a:pt x="1296" y="989"/>
                  <a:pt x="1298" y="996"/>
                </a:cubicBezTo>
                <a:cubicBezTo>
                  <a:pt x="1304" y="997"/>
                  <a:pt x="1307" y="995"/>
                  <a:pt x="1312" y="996"/>
                </a:cubicBezTo>
                <a:cubicBezTo>
                  <a:pt x="1314" y="991"/>
                  <a:pt x="1312" y="985"/>
                  <a:pt x="1313" y="978"/>
                </a:cubicBezTo>
                <a:close/>
                <a:moveTo>
                  <a:pt x="909" y="971"/>
                </a:moveTo>
                <a:cubicBezTo>
                  <a:pt x="910" y="973"/>
                  <a:pt x="909" y="977"/>
                  <a:pt x="913" y="977"/>
                </a:cubicBezTo>
                <a:cubicBezTo>
                  <a:pt x="911" y="974"/>
                  <a:pt x="914" y="971"/>
                  <a:pt x="911" y="970"/>
                </a:cubicBezTo>
                <a:cubicBezTo>
                  <a:pt x="911" y="970"/>
                  <a:pt x="910" y="971"/>
                  <a:pt x="909" y="971"/>
                </a:cubicBezTo>
                <a:close/>
                <a:moveTo>
                  <a:pt x="1421" y="972"/>
                </a:moveTo>
                <a:cubicBezTo>
                  <a:pt x="1421" y="974"/>
                  <a:pt x="1423" y="973"/>
                  <a:pt x="1423" y="976"/>
                </a:cubicBezTo>
                <a:cubicBezTo>
                  <a:pt x="1419" y="978"/>
                  <a:pt x="1419" y="986"/>
                  <a:pt x="1420" y="991"/>
                </a:cubicBezTo>
                <a:cubicBezTo>
                  <a:pt x="1422" y="991"/>
                  <a:pt x="1422" y="992"/>
                  <a:pt x="1424" y="992"/>
                </a:cubicBezTo>
                <a:cubicBezTo>
                  <a:pt x="1425" y="990"/>
                  <a:pt x="1425" y="987"/>
                  <a:pt x="1429" y="988"/>
                </a:cubicBezTo>
                <a:cubicBezTo>
                  <a:pt x="1425" y="983"/>
                  <a:pt x="1428" y="977"/>
                  <a:pt x="1428" y="970"/>
                </a:cubicBezTo>
                <a:cubicBezTo>
                  <a:pt x="1424" y="969"/>
                  <a:pt x="1422" y="970"/>
                  <a:pt x="1421" y="972"/>
                </a:cubicBezTo>
                <a:close/>
                <a:moveTo>
                  <a:pt x="1320" y="989"/>
                </a:moveTo>
                <a:cubicBezTo>
                  <a:pt x="1323" y="986"/>
                  <a:pt x="1324" y="983"/>
                  <a:pt x="1321" y="978"/>
                </a:cubicBezTo>
                <a:cubicBezTo>
                  <a:pt x="1323" y="978"/>
                  <a:pt x="1324" y="977"/>
                  <a:pt x="1325" y="979"/>
                </a:cubicBezTo>
                <a:cubicBezTo>
                  <a:pt x="1326" y="974"/>
                  <a:pt x="1323" y="973"/>
                  <a:pt x="1319" y="972"/>
                </a:cubicBezTo>
                <a:cubicBezTo>
                  <a:pt x="1319" y="979"/>
                  <a:pt x="1317" y="984"/>
                  <a:pt x="1320" y="989"/>
                </a:cubicBezTo>
                <a:close/>
                <a:moveTo>
                  <a:pt x="879" y="973"/>
                </a:moveTo>
                <a:cubicBezTo>
                  <a:pt x="882" y="978"/>
                  <a:pt x="888" y="980"/>
                  <a:pt x="893" y="983"/>
                </a:cubicBezTo>
                <a:cubicBezTo>
                  <a:pt x="895" y="982"/>
                  <a:pt x="896" y="977"/>
                  <a:pt x="900" y="979"/>
                </a:cubicBezTo>
                <a:cubicBezTo>
                  <a:pt x="902" y="968"/>
                  <a:pt x="887" y="975"/>
                  <a:pt x="879" y="973"/>
                </a:cubicBezTo>
                <a:close/>
                <a:moveTo>
                  <a:pt x="727" y="988"/>
                </a:moveTo>
                <a:cubicBezTo>
                  <a:pt x="730" y="989"/>
                  <a:pt x="729" y="984"/>
                  <a:pt x="732" y="986"/>
                </a:cubicBezTo>
                <a:cubicBezTo>
                  <a:pt x="732" y="984"/>
                  <a:pt x="733" y="983"/>
                  <a:pt x="734" y="982"/>
                </a:cubicBezTo>
                <a:cubicBezTo>
                  <a:pt x="735" y="982"/>
                  <a:pt x="734" y="984"/>
                  <a:pt x="736" y="984"/>
                </a:cubicBezTo>
                <a:cubicBezTo>
                  <a:pt x="737" y="981"/>
                  <a:pt x="739" y="979"/>
                  <a:pt x="739" y="975"/>
                </a:cubicBezTo>
                <a:cubicBezTo>
                  <a:pt x="737" y="975"/>
                  <a:pt x="737" y="974"/>
                  <a:pt x="734" y="974"/>
                </a:cubicBezTo>
                <a:cubicBezTo>
                  <a:pt x="734" y="982"/>
                  <a:pt x="728" y="983"/>
                  <a:pt x="727" y="988"/>
                </a:cubicBezTo>
                <a:close/>
                <a:moveTo>
                  <a:pt x="745" y="978"/>
                </a:moveTo>
                <a:cubicBezTo>
                  <a:pt x="745" y="977"/>
                  <a:pt x="747" y="977"/>
                  <a:pt x="747" y="975"/>
                </a:cubicBezTo>
                <a:cubicBezTo>
                  <a:pt x="745" y="973"/>
                  <a:pt x="741" y="978"/>
                  <a:pt x="745" y="978"/>
                </a:cubicBezTo>
                <a:close/>
                <a:moveTo>
                  <a:pt x="920" y="982"/>
                </a:moveTo>
                <a:cubicBezTo>
                  <a:pt x="919" y="979"/>
                  <a:pt x="919" y="976"/>
                  <a:pt x="917" y="974"/>
                </a:cubicBezTo>
                <a:cubicBezTo>
                  <a:pt x="916" y="977"/>
                  <a:pt x="917" y="982"/>
                  <a:pt x="920" y="982"/>
                </a:cubicBezTo>
                <a:close/>
                <a:moveTo>
                  <a:pt x="927" y="985"/>
                </a:moveTo>
                <a:cubicBezTo>
                  <a:pt x="926" y="982"/>
                  <a:pt x="927" y="978"/>
                  <a:pt x="926" y="975"/>
                </a:cubicBezTo>
                <a:cubicBezTo>
                  <a:pt x="925" y="975"/>
                  <a:pt x="924" y="975"/>
                  <a:pt x="924" y="974"/>
                </a:cubicBezTo>
                <a:cubicBezTo>
                  <a:pt x="924" y="978"/>
                  <a:pt x="924" y="983"/>
                  <a:pt x="927" y="985"/>
                </a:cubicBezTo>
                <a:close/>
                <a:moveTo>
                  <a:pt x="729" y="980"/>
                </a:moveTo>
                <a:cubicBezTo>
                  <a:pt x="728" y="977"/>
                  <a:pt x="730" y="977"/>
                  <a:pt x="730" y="975"/>
                </a:cubicBezTo>
                <a:cubicBezTo>
                  <a:pt x="729" y="975"/>
                  <a:pt x="728" y="975"/>
                  <a:pt x="727" y="975"/>
                </a:cubicBezTo>
                <a:cubicBezTo>
                  <a:pt x="728" y="978"/>
                  <a:pt x="726" y="979"/>
                  <a:pt x="729" y="980"/>
                </a:cubicBezTo>
                <a:close/>
                <a:moveTo>
                  <a:pt x="877" y="975"/>
                </a:moveTo>
                <a:cubicBezTo>
                  <a:pt x="873" y="975"/>
                  <a:pt x="872" y="975"/>
                  <a:pt x="869" y="977"/>
                </a:cubicBezTo>
                <a:cubicBezTo>
                  <a:pt x="872" y="983"/>
                  <a:pt x="877" y="987"/>
                  <a:pt x="882" y="991"/>
                </a:cubicBezTo>
                <a:cubicBezTo>
                  <a:pt x="885" y="990"/>
                  <a:pt x="887" y="988"/>
                  <a:pt x="889" y="985"/>
                </a:cubicBezTo>
                <a:cubicBezTo>
                  <a:pt x="888" y="980"/>
                  <a:pt x="880" y="980"/>
                  <a:pt x="877" y="975"/>
                </a:cubicBezTo>
                <a:close/>
                <a:moveTo>
                  <a:pt x="1211" y="976"/>
                </a:moveTo>
                <a:cubicBezTo>
                  <a:pt x="1213" y="977"/>
                  <a:pt x="1216" y="978"/>
                  <a:pt x="1218" y="978"/>
                </a:cubicBezTo>
                <a:cubicBezTo>
                  <a:pt x="1220" y="974"/>
                  <a:pt x="1212" y="974"/>
                  <a:pt x="1211" y="976"/>
                </a:cubicBezTo>
                <a:close/>
                <a:moveTo>
                  <a:pt x="753" y="993"/>
                </a:moveTo>
                <a:cubicBezTo>
                  <a:pt x="757" y="993"/>
                  <a:pt x="756" y="987"/>
                  <a:pt x="758" y="985"/>
                </a:cubicBezTo>
                <a:cubicBezTo>
                  <a:pt x="758" y="987"/>
                  <a:pt x="755" y="993"/>
                  <a:pt x="760" y="992"/>
                </a:cubicBezTo>
                <a:cubicBezTo>
                  <a:pt x="760" y="990"/>
                  <a:pt x="762" y="987"/>
                  <a:pt x="762" y="983"/>
                </a:cubicBezTo>
                <a:cubicBezTo>
                  <a:pt x="759" y="983"/>
                  <a:pt x="759" y="981"/>
                  <a:pt x="758" y="981"/>
                </a:cubicBezTo>
                <a:cubicBezTo>
                  <a:pt x="757" y="982"/>
                  <a:pt x="757" y="984"/>
                  <a:pt x="755" y="983"/>
                </a:cubicBezTo>
                <a:cubicBezTo>
                  <a:pt x="753" y="981"/>
                  <a:pt x="756" y="979"/>
                  <a:pt x="755" y="976"/>
                </a:cubicBezTo>
                <a:cubicBezTo>
                  <a:pt x="755" y="976"/>
                  <a:pt x="755" y="976"/>
                  <a:pt x="753" y="976"/>
                </a:cubicBezTo>
                <a:cubicBezTo>
                  <a:pt x="752" y="982"/>
                  <a:pt x="756" y="987"/>
                  <a:pt x="753" y="993"/>
                </a:cubicBezTo>
                <a:close/>
                <a:moveTo>
                  <a:pt x="761" y="979"/>
                </a:moveTo>
                <a:cubicBezTo>
                  <a:pt x="764" y="980"/>
                  <a:pt x="764" y="976"/>
                  <a:pt x="761" y="976"/>
                </a:cubicBezTo>
                <a:cubicBezTo>
                  <a:pt x="761" y="977"/>
                  <a:pt x="761" y="978"/>
                  <a:pt x="761" y="979"/>
                </a:cubicBezTo>
                <a:close/>
                <a:moveTo>
                  <a:pt x="768" y="986"/>
                </a:moveTo>
                <a:cubicBezTo>
                  <a:pt x="766" y="986"/>
                  <a:pt x="765" y="987"/>
                  <a:pt x="766" y="989"/>
                </a:cubicBezTo>
                <a:cubicBezTo>
                  <a:pt x="767" y="991"/>
                  <a:pt x="772" y="994"/>
                  <a:pt x="773" y="990"/>
                </a:cubicBezTo>
                <a:cubicBezTo>
                  <a:pt x="770" y="990"/>
                  <a:pt x="770" y="991"/>
                  <a:pt x="768" y="990"/>
                </a:cubicBezTo>
                <a:cubicBezTo>
                  <a:pt x="769" y="989"/>
                  <a:pt x="768" y="986"/>
                  <a:pt x="769" y="985"/>
                </a:cubicBezTo>
                <a:cubicBezTo>
                  <a:pt x="775" y="989"/>
                  <a:pt x="780" y="978"/>
                  <a:pt x="786" y="979"/>
                </a:cubicBezTo>
                <a:cubicBezTo>
                  <a:pt x="782" y="983"/>
                  <a:pt x="778" y="985"/>
                  <a:pt x="774" y="987"/>
                </a:cubicBezTo>
                <a:cubicBezTo>
                  <a:pt x="774" y="990"/>
                  <a:pt x="775" y="991"/>
                  <a:pt x="778" y="991"/>
                </a:cubicBezTo>
                <a:cubicBezTo>
                  <a:pt x="782" y="987"/>
                  <a:pt x="786" y="983"/>
                  <a:pt x="789" y="978"/>
                </a:cubicBezTo>
                <a:cubicBezTo>
                  <a:pt x="783" y="976"/>
                  <a:pt x="775" y="976"/>
                  <a:pt x="768" y="976"/>
                </a:cubicBezTo>
                <a:cubicBezTo>
                  <a:pt x="766" y="980"/>
                  <a:pt x="767" y="983"/>
                  <a:pt x="768" y="986"/>
                </a:cubicBezTo>
                <a:close/>
                <a:moveTo>
                  <a:pt x="782" y="992"/>
                </a:moveTo>
                <a:cubicBezTo>
                  <a:pt x="791" y="991"/>
                  <a:pt x="803" y="994"/>
                  <a:pt x="810" y="991"/>
                </a:cubicBezTo>
                <a:cubicBezTo>
                  <a:pt x="804" y="987"/>
                  <a:pt x="799" y="982"/>
                  <a:pt x="793" y="978"/>
                </a:cubicBezTo>
                <a:cubicBezTo>
                  <a:pt x="790" y="984"/>
                  <a:pt x="785" y="987"/>
                  <a:pt x="782" y="992"/>
                </a:cubicBezTo>
                <a:close/>
                <a:moveTo>
                  <a:pt x="738" y="991"/>
                </a:moveTo>
                <a:cubicBezTo>
                  <a:pt x="740" y="993"/>
                  <a:pt x="744" y="992"/>
                  <a:pt x="747" y="992"/>
                </a:cubicBezTo>
                <a:cubicBezTo>
                  <a:pt x="749" y="989"/>
                  <a:pt x="746" y="985"/>
                  <a:pt x="747" y="979"/>
                </a:cubicBezTo>
                <a:cubicBezTo>
                  <a:pt x="741" y="980"/>
                  <a:pt x="741" y="987"/>
                  <a:pt x="738" y="991"/>
                </a:cubicBezTo>
                <a:close/>
                <a:moveTo>
                  <a:pt x="907" y="991"/>
                </a:moveTo>
                <a:cubicBezTo>
                  <a:pt x="909" y="991"/>
                  <a:pt x="912" y="991"/>
                  <a:pt x="913" y="990"/>
                </a:cubicBezTo>
                <a:cubicBezTo>
                  <a:pt x="912" y="985"/>
                  <a:pt x="908" y="982"/>
                  <a:pt x="907" y="979"/>
                </a:cubicBezTo>
                <a:cubicBezTo>
                  <a:pt x="906" y="983"/>
                  <a:pt x="908" y="988"/>
                  <a:pt x="907" y="991"/>
                </a:cubicBezTo>
                <a:close/>
                <a:moveTo>
                  <a:pt x="865" y="980"/>
                </a:moveTo>
                <a:cubicBezTo>
                  <a:pt x="862" y="984"/>
                  <a:pt x="856" y="986"/>
                  <a:pt x="854" y="991"/>
                </a:cubicBezTo>
                <a:cubicBezTo>
                  <a:pt x="860" y="990"/>
                  <a:pt x="868" y="992"/>
                  <a:pt x="874" y="990"/>
                </a:cubicBezTo>
                <a:cubicBezTo>
                  <a:pt x="873" y="985"/>
                  <a:pt x="869" y="983"/>
                  <a:pt x="865" y="980"/>
                </a:cubicBezTo>
                <a:close/>
                <a:moveTo>
                  <a:pt x="895" y="985"/>
                </a:moveTo>
                <a:cubicBezTo>
                  <a:pt x="898" y="985"/>
                  <a:pt x="898" y="988"/>
                  <a:pt x="902" y="988"/>
                </a:cubicBezTo>
                <a:cubicBezTo>
                  <a:pt x="902" y="980"/>
                  <a:pt x="898" y="978"/>
                  <a:pt x="895" y="985"/>
                </a:cubicBezTo>
                <a:close/>
                <a:moveTo>
                  <a:pt x="1350" y="985"/>
                </a:moveTo>
                <a:cubicBezTo>
                  <a:pt x="1350" y="983"/>
                  <a:pt x="1351" y="980"/>
                  <a:pt x="1349" y="980"/>
                </a:cubicBezTo>
                <a:cubicBezTo>
                  <a:pt x="1349" y="983"/>
                  <a:pt x="1347" y="984"/>
                  <a:pt x="1350" y="985"/>
                </a:cubicBezTo>
                <a:close/>
                <a:moveTo>
                  <a:pt x="1163" y="986"/>
                </a:moveTo>
                <a:cubicBezTo>
                  <a:pt x="1163" y="985"/>
                  <a:pt x="1165" y="981"/>
                  <a:pt x="1162" y="981"/>
                </a:cubicBezTo>
                <a:cubicBezTo>
                  <a:pt x="1162" y="983"/>
                  <a:pt x="1161" y="986"/>
                  <a:pt x="1163" y="986"/>
                </a:cubicBezTo>
                <a:close/>
                <a:moveTo>
                  <a:pt x="919" y="992"/>
                </a:moveTo>
                <a:cubicBezTo>
                  <a:pt x="919" y="991"/>
                  <a:pt x="922" y="992"/>
                  <a:pt x="923" y="991"/>
                </a:cubicBezTo>
                <a:cubicBezTo>
                  <a:pt x="923" y="987"/>
                  <a:pt x="921" y="985"/>
                  <a:pt x="917" y="985"/>
                </a:cubicBezTo>
                <a:cubicBezTo>
                  <a:pt x="916" y="987"/>
                  <a:pt x="916" y="992"/>
                  <a:pt x="919" y="992"/>
                </a:cubicBezTo>
                <a:close/>
                <a:moveTo>
                  <a:pt x="887" y="989"/>
                </a:moveTo>
                <a:cubicBezTo>
                  <a:pt x="888" y="994"/>
                  <a:pt x="895" y="989"/>
                  <a:pt x="899" y="991"/>
                </a:cubicBezTo>
                <a:cubicBezTo>
                  <a:pt x="897" y="985"/>
                  <a:pt x="892" y="986"/>
                  <a:pt x="887" y="989"/>
                </a:cubicBezTo>
                <a:close/>
                <a:moveTo>
                  <a:pt x="730" y="991"/>
                </a:moveTo>
                <a:cubicBezTo>
                  <a:pt x="730" y="992"/>
                  <a:pt x="731" y="992"/>
                  <a:pt x="733" y="992"/>
                </a:cubicBezTo>
                <a:cubicBezTo>
                  <a:pt x="733" y="991"/>
                  <a:pt x="733" y="990"/>
                  <a:pt x="734" y="989"/>
                </a:cubicBezTo>
                <a:cubicBezTo>
                  <a:pt x="733" y="989"/>
                  <a:pt x="732" y="988"/>
                  <a:pt x="731" y="989"/>
                </a:cubicBezTo>
                <a:cubicBezTo>
                  <a:pt x="731" y="990"/>
                  <a:pt x="730" y="990"/>
                  <a:pt x="730" y="991"/>
                </a:cubicBezTo>
                <a:close/>
                <a:moveTo>
                  <a:pt x="1195" y="990"/>
                </a:moveTo>
                <a:cubicBezTo>
                  <a:pt x="1187" y="990"/>
                  <a:pt x="1171" y="985"/>
                  <a:pt x="1166" y="992"/>
                </a:cubicBezTo>
                <a:cubicBezTo>
                  <a:pt x="1171" y="988"/>
                  <a:pt x="1173" y="994"/>
                  <a:pt x="1176" y="996"/>
                </a:cubicBezTo>
                <a:cubicBezTo>
                  <a:pt x="1179" y="994"/>
                  <a:pt x="1184" y="992"/>
                  <a:pt x="1187" y="996"/>
                </a:cubicBezTo>
                <a:cubicBezTo>
                  <a:pt x="1187" y="994"/>
                  <a:pt x="1185" y="992"/>
                  <a:pt x="1187" y="991"/>
                </a:cubicBezTo>
                <a:cubicBezTo>
                  <a:pt x="1191" y="991"/>
                  <a:pt x="1190" y="995"/>
                  <a:pt x="1193" y="996"/>
                </a:cubicBezTo>
                <a:cubicBezTo>
                  <a:pt x="1198" y="994"/>
                  <a:pt x="1201" y="994"/>
                  <a:pt x="1204" y="994"/>
                </a:cubicBezTo>
                <a:cubicBezTo>
                  <a:pt x="1206" y="994"/>
                  <a:pt x="1205" y="991"/>
                  <a:pt x="1207" y="991"/>
                </a:cubicBezTo>
                <a:cubicBezTo>
                  <a:pt x="1211" y="994"/>
                  <a:pt x="1216" y="993"/>
                  <a:pt x="1220" y="990"/>
                </a:cubicBezTo>
                <a:cubicBezTo>
                  <a:pt x="1213" y="987"/>
                  <a:pt x="1204" y="990"/>
                  <a:pt x="1195" y="990"/>
                </a:cubicBezTo>
                <a:close/>
                <a:moveTo>
                  <a:pt x="1321" y="996"/>
                </a:moveTo>
                <a:cubicBezTo>
                  <a:pt x="1324" y="995"/>
                  <a:pt x="1322" y="994"/>
                  <a:pt x="1325" y="995"/>
                </a:cubicBezTo>
                <a:cubicBezTo>
                  <a:pt x="1324" y="993"/>
                  <a:pt x="1322" y="990"/>
                  <a:pt x="1321" y="992"/>
                </a:cubicBezTo>
                <a:cubicBezTo>
                  <a:pt x="1322" y="992"/>
                  <a:pt x="1321" y="995"/>
                  <a:pt x="1321" y="996"/>
                </a:cubicBezTo>
                <a:close/>
                <a:moveTo>
                  <a:pt x="1133" y="998"/>
                </a:moveTo>
                <a:cubicBezTo>
                  <a:pt x="1136" y="998"/>
                  <a:pt x="1136" y="1000"/>
                  <a:pt x="1134" y="1001"/>
                </a:cubicBezTo>
                <a:cubicBezTo>
                  <a:pt x="1137" y="1001"/>
                  <a:pt x="1139" y="1004"/>
                  <a:pt x="1142" y="1002"/>
                </a:cubicBezTo>
                <a:cubicBezTo>
                  <a:pt x="1141" y="1003"/>
                  <a:pt x="1142" y="1003"/>
                  <a:pt x="1142" y="1004"/>
                </a:cubicBezTo>
                <a:cubicBezTo>
                  <a:pt x="1144" y="1002"/>
                  <a:pt x="1148" y="1003"/>
                  <a:pt x="1149" y="1001"/>
                </a:cubicBezTo>
                <a:cubicBezTo>
                  <a:pt x="1146" y="999"/>
                  <a:pt x="1141" y="1000"/>
                  <a:pt x="1138" y="997"/>
                </a:cubicBezTo>
                <a:cubicBezTo>
                  <a:pt x="1136" y="997"/>
                  <a:pt x="1133" y="996"/>
                  <a:pt x="1133" y="998"/>
                </a:cubicBezTo>
                <a:close/>
                <a:moveTo>
                  <a:pt x="1103" y="1003"/>
                </a:moveTo>
                <a:cubicBezTo>
                  <a:pt x="1104" y="1006"/>
                  <a:pt x="1107" y="1003"/>
                  <a:pt x="1109" y="1004"/>
                </a:cubicBezTo>
                <a:cubicBezTo>
                  <a:pt x="1109" y="1002"/>
                  <a:pt x="1110" y="999"/>
                  <a:pt x="1107" y="999"/>
                </a:cubicBezTo>
                <a:cubicBezTo>
                  <a:pt x="1107" y="1002"/>
                  <a:pt x="1103" y="1000"/>
                  <a:pt x="1103" y="1003"/>
                </a:cubicBezTo>
                <a:close/>
                <a:moveTo>
                  <a:pt x="1126" y="1004"/>
                </a:moveTo>
                <a:cubicBezTo>
                  <a:pt x="1126" y="1002"/>
                  <a:pt x="1125" y="999"/>
                  <a:pt x="1122" y="999"/>
                </a:cubicBezTo>
                <a:cubicBezTo>
                  <a:pt x="1123" y="1001"/>
                  <a:pt x="1122" y="1005"/>
                  <a:pt x="1126" y="1004"/>
                </a:cubicBezTo>
                <a:close/>
                <a:moveTo>
                  <a:pt x="1096" y="1003"/>
                </a:moveTo>
                <a:cubicBezTo>
                  <a:pt x="1097" y="1003"/>
                  <a:pt x="1097" y="1004"/>
                  <a:pt x="1098" y="1004"/>
                </a:cubicBezTo>
                <a:cubicBezTo>
                  <a:pt x="1099" y="1002"/>
                  <a:pt x="1098" y="1002"/>
                  <a:pt x="1099" y="1000"/>
                </a:cubicBezTo>
                <a:cubicBezTo>
                  <a:pt x="1097" y="1000"/>
                  <a:pt x="1096" y="1001"/>
                  <a:pt x="1096" y="1003"/>
                </a:cubicBezTo>
                <a:close/>
                <a:moveTo>
                  <a:pt x="1177" y="1004"/>
                </a:moveTo>
                <a:cubicBezTo>
                  <a:pt x="1178" y="1004"/>
                  <a:pt x="1179" y="1004"/>
                  <a:pt x="1180" y="1004"/>
                </a:cubicBezTo>
                <a:cubicBezTo>
                  <a:pt x="1180" y="1002"/>
                  <a:pt x="1180" y="1001"/>
                  <a:pt x="1178" y="1001"/>
                </a:cubicBezTo>
                <a:cubicBezTo>
                  <a:pt x="1178" y="1002"/>
                  <a:pt x="1177" y="1002"/>
                  <a:pt x="1177" y="1004"/>
                </a:cubicBezTo>
                <a:close/>
                <a:moveTo>
                  <a:pt x="1129" y="1002"/>
                </a:moveTo>
                <a:cubicBezTo>
                  <a:pt x="1129" y="1005"/>
                  <a:pt x="1134" y="1004"/>
                  <a:pt x="1133" y="1002"/>
                </a:cubicBezTo>
                <a:cubicBezTo>
                  <a:pt x="1131" y="1001"/>
                  <a:pt x="1131" y="1003"/>
                  <a:pt x="1129" y="1002"/>
                </a:cubicBezTo>
                <a:close/>
                <a:moveTo>
                  <a:pt x="1208" y="1006"/>
                </a:moveTo>
                <a:cubicBezTo>
                  <a:pt x="1208" y="1004"/>
                  <a:pt x="1211" y="1005"/>
                  <a:pt x="1211" y="1003"/>
                </a:cubicBezTo>
                <a:cubicBezTo>
                  <a:pt x="1209" y="1003"/>
                  <a:pt x="1206" y="1002"/>
                  <a:pt x="1205" y="1004"/>
                </a:cubicBezTo>
                <a:cubicBezTo>
                  <a:pt x="1207" y="1004"/>
                  <a:pt x="1207" y="1006"/>
                  <a:pt x="1208" y="1006"/>
                </a:cubicBezTo>
                <a:close/>
                <a:moveTo>
                  <a:pt x="889" y="1009"/>
                </a:moveTo>
                <a:cubicBezTo>
                  <a:pt x="889" y="1011"/>
                  <a:pt x="891" y="1011"/>
                  <a:pt x="893" y="1011"/>
                </a:cubicBezTo>
                <a:cubicBezTo>
                  <a:pt x="894" y="1008"/>
                  <a:pt x="891" y="1007"/>
                  <a:pt x="889" y="1009"/>
                </a:cubicBezTo>
                <a:close/>
                <a:moveTo>
                  <a:pt x="995" y="1015"/>
                </a:moveTo>
                <a:cubicBezTo>
                  <a:pt x="998" y="1012"/>
                  <a:pt x="989" y="1007"/>
                  <a:pt x="988" y="1009"/>
                </a:cubicBezTo>
                <a:cubicBezTo>
                  <a:pt x="992" y="1010"/>
                  <a:pt x="992" y="1014"/>
                  <a:pt x="995" y="1015"/>
                </a:cubicBezTo>
                <a:close/>
                <a:moveTo>
                  <a:pt x="1054" y="1010"/>
                </a:moveTo>
                <a:cubicBezTo>
                  <a:pt x="1054" y="1008"/>
                  <a:pt x="1053" y="1008"/>
                  <a:pt x="1051" y="1008"/>
                </a:cubicBezTo>
                <a:cubicBezTo>
                  <a:pt x="1051" y="1010"/>
                  <a:pt x="1052" y="1010"/>
                  <a:pt x="1054" y="1010"/>
                </a:cubicBezTo>
                <a:close/>
                <a:moveTo>
                  <a:pt x="842" y="1015"/>
                </a:moveTo>
                <a:cubicBezTo>
                  <a:pt x="846" y="1019"/>
                  <a:pt x="847" y="1014"/>
                  <a:pt x="852" y="1014"/>
                </a:cubicBezTo>
                <a:cubicBezTo>
                  <a:pt x="850" y="1008"/>
                  <a:pt x="844" y="1011"/>
                  <a:pt x="842" y="1015"/>
                </a:cubicBezTo>
                <a:close/>
                <a:moveTo>
                  <a:pt x="1002" y="1011"/>
                </a:moveTo>
                <a:cubicBezTo>
                  <a:pt x="1005" y="1012"/>
                  <a:pt x="1006" y="1012"/>
                  <a:pt x="1008" y="1011"/>
                </a:cubicBezTo>
                <a:cubicBezTo>
                  <a:pt x="1006" y="1011"/>
                  <a:pt x="1003" y="1009"/>
                  <a:pt x="1002" y="1011"/>
                </a:cubicBezTo>
                <a:close/>
                <a:moveTo>
                  <a:pt x="1105" y="1012"/>
                </a:moveTo>
                <a:cubicBezTo>
                  <a:pt x="1105" y="1010"/>
                  <a:pt x="1104" y="1010"/>
                  <a:pt x="1102" y="1010"/>
                </a:cubicBezTo>
                <a:cubicBezTo>
                  <a:pt x="1101" y="1012"/>
                  <a:pt x="1103" y="1013"/>
                  <a:pt x="1105" y="1012"/>
                </a:cubicBezTo>
                <a:close/>
                <a:moveTo>
                  <a:pt x="901" y="1013"/>
                </a:moveTo>
                <a:cubicBezTo>
                  <a:pt x="902" y="1015"/>
                  <a:pt x="905" y="1015"/>
                  <a:pt x="906" y="1014"/>
                </a:cubicBezTo>
                <a:cubicBezTo>
                  <a:pt x="906" y="1012"/>
                  <a:pt x="905" y="1011"/>
                  <a:pt x="904" y="1011"/>
                </a:cubicBezTo>
                <a:cubicBezTo>
                  <a:pt x="903" y="1012"/>
                  <a:pt x="900" y="1011"/>
                  <a:pt x="901" y="1013"/>
                </a:cubicBezTo>
                <a:close/>
                <a:moveTo>
                  <a:pt x="928" y="1015"/>
                </a:moveTo>
                <a:cubicBezTo>
                  <a:pt x="931" y="1015"/>
                  <a:pt x="931" y="1010"/>
                  <a:pt x="928" y="1011"/>
                </a:cubicBezTo>
                <a:cubicBezTo>
                  <a:pt x="926" y="1012"/>
                  <a:pt x="928" y="1012"/>
                  <a:pt x="928" y="1015"/>
                </a:cubicBezTo>
                <a:close/>
                <a:moveTo>
                  <a:pt x="869" y="1016"/>
                </a:moveTo>
                <a:cubicBezTo>
                  <a:pt x="873" y="1018"/>
                  <a:pt x="875" y="1018"/>
                  <a:pt x="881" y="1017"/>
                </a:cubicBezTo>
                <a:cubicBezTo>
                  <a:pt x="881" y="1018"/>
                  <a:pt x="879" y="1018"/>
                  <a:pt x="880" y="1020"/>
                </a:cubicBezTo>
                <a:cubicBezTo>
                  <a:pt x="881" y="1021"/>
                  <a:pt x="885" y="1023"/>
                  <a:pt x="886" y="1021"/>
                </a:cubicBezTo>
                <a:cubicBezTo>
                  <a:pt x="885" y="1020"/>
                  <a:pt x="883" y="1020"/>
                  <a:pt x="883" y="1019"/>
                </a:cubicBezTo>
                <a:cubicBezTo>
                  <a:pt x="885" y="1017"/>
                  <a:pt x="888" y="1015"/>
                  <a:pt x="893" y="1015"/>
                </a:cubicBezTo>
                <a:cubicBezTo>
                  <a:pt x="896" y="1016"/>
                  <a:pt x="895" y="1016"/>
                  <a:pt x="894" y="1019"/>
                </a:cubicBezTo>
                <a:cubicBezTo>
                  <a:pt x="900" y="1020"/>
                  <a:pt x="901" y="1019"/>
                  <a:pt x="904" y="1022"/>
                </a:cubicBezTo>
                <a:cubicBezTo>
                  <a:pt x="908" y="1016"/>
                  <a:pt x="895" y="1016"/>
                  <a:pt x="893" y="1012"/>
                </a:cubicBezTo>
                <a:cubicBezTo>
                  <a:pt x="886" y="1014"/>
                  <a:pt x="882" y="1014"/>
                  <a:pt x="876" y="1016"/>
                </a:cubicBezTo>
                <a:cubicBezTo>
                  <a:pt x="876" y="1015"/>
                  <a:pt x="875" y="1015"/>
                  <a:pt x="875" y="1015"/>
                </a:cubicBezTo>
                <a:cubicBezTo>
                  <a:pt x="877" y="1015"/>
                  <a:pt x="876" y="1013"/>
                  <a:pt x="876" y="1012"/>
                </a:cubicBezTo>
                <a:cubicBezTo>
                  <a:pt x="874" y="1012"/>
                  <a:pt x="874" y="1011"/>
                  <a:pt x="872" y="1011"/>
                </a:cubicBezTo>
                <a:cubicBezTo>
                  <a:pt x="873" y="1015"/>
                  <a:pt x="869" y="1013"/>
                  <a:pt x="869" y="1016"/>
                </a:cubicBezTo>
                <a:close/>
                <a:moveTo>
                  <a:pt x="950" y="1013"/>
                </a:moveTo>
                <a:cubicBezTo>
                  <a:pt x="949" y="1015"/>
                  <a:pt x="951" y="1015"/>
                  <a:pt x="951" y="1017"/>
                </a:cubicBezTo>
                <a:cubicBezTo>
                  <a:pt x="953" y="1017"/>
                  <a:pt x="953" y="1014"/>
                  <a:pt x="956" y="1015"/>
                </a:cubicBezTo>
                <a:cubicBezTo>
                  <a:pt x="958" y="1016"/>
                  <a:pt x="958" y="1017"/>
                  <a:pt x="960" y="1019"/>
                </a:cubicBezTo>
                <a:cubicBezTo>
                  <a:pt x="960" y="1014"/>
                  <a:pt x="964" y="1018"/>
                  <a:pt x="965" y="1015"/>
                </a:cubicBezTo>
                <a:cubicBezTo>
                  <a:pt x="958" y="1013"/>
                  <a:pt x="955" y="1011"/>
                  <a:pt x="950" y="1013"/>
                </a:cubicBezTo>
                <a:close/>
                <a:moveTo>
                  <a:pt x="919" y="1013"/>
                </a:moveTo>
                <a:cubicBezTo>
                  <a:pt x="918" y="1013"/>
                  <a:pt x="916" y="1013"/>
                  <a:pt x="915" y="1013"/>
                </a:cubicBezTo>
                <a:cubicBezTo>
                  <a:pt x="914" y="1015"/>
                  <a:pt x="919" y="1014"/>
                  <a:pt x="919" y="1013"/>
                </a:cubicBezTo>
                <a:close/>
                <a:moveTo>
                  <a:pt x="1020" y="1018"/>
                </a:moveTo>
                <a:cubicBezTo>
                  <a:pt x="1018" y="1017"/>
                  <a:pt x="1017" y="1015"/>
                  <a:pt x="1016" y="1014"/>
                </a:cubicBezTo>
                <a:cubicBezTo>
                  <a:pt x="1014" y="1015"/>
                  <a:pt x="1019" y="1020"/>
                  <a:pt x="1020" y="1018"/>
                </a:cubicBezTo>
                <a:close/>
                <a:moveTo>
                  <a:pt x="943" y="1019"/>
                </a:moveTo>
                <a:cubicBezTo>
                  <a:pt x="945" y="1019"/>
                  <a:pt x="946" y="1019"/>
                  <a:pt x="948" y="1019"/>
                </a:cubicBezTo>
                <a:cubicBezTo>
                  <a:pt x="947" y="1017"/>
                  <a:pt x="945" y="1016"/>
                  <a:pt x="942" y="1015"/>
                </a:cubicBezTo>
                <a:cubicBezTo>
                  <a:pt x="941" y="1018"/>
                  <a:pt x="943" y="1016"/>
                  <a:pt x="943" y="1019"/>
                </a:cubicBezTo>
                <a:close/>
                <a:moveTo>
                  <a:pt x="866" y="1019"/>
                </a:moveTo>
                <a:cubicBezTo>
                  <a:pt x="866" y="1017"/>
                  <a:pt x="861" y="1016"/>
                  <a:pt x="859" y="1017"/>
                </a:cubicBezTo>
                <a:cubicBezTo>
                  <a:pt x="860" y="1020"/>
                  <a:pt x="865" y="1023"/>
                  <a:pt x="866" y="1019"/>
                </a:cubicBezTo>
                <a:close/>
                <a:moveTo>
                  <a:pt x="1010" y="1019"/>
                </a:moveTo>
                <a:cubicBezTo>
                  <a:pt x="1009" y="1017"/>
                  <a:pt x="1006" y="1019"/>
                  <a:pt x="1004" y="1018"/>
                </a:cubicBezTo>
                <a:cubicBezTo>
                  <a:pt x="1004" y="1020"/>
                  <a:pt x="1010" y="1021"/>
                  <a:pt x="1010" y="1019"/>
                </a:cubicBezTo>
                <a:close/>
                <a:moveTo>
                  <a:pt x="1035" y="1022"/>
                </a:moveTo>
                <a:cubicBezTo>
                  <a:pt x="1036" y="1021"/>
                  <a:pt x="1035" y="1019"/>
                  <a:pt x="1034" y="1019"/>
                </a:cubicBezTo>
                <a:cubicBezTo>
                  <a:pt x="1033" y="1020"/>
                  <a:pt x="1033" y="1022"/>
                  <a:pt x="1035" y="1022"/>
                </a:cubicBezTo>
                <a:close/>
                <a:moveTo>
                  <a:pt x="1052" y="1020"/>
                </a:moveTo>
                <a:cubicBezTo>
                  <a:pt x="1051" y="1020"/>
                  <a:pt x="1051" y="1018"/>
                  <a:pt x="1049" y="1019"/>
                </a:cubicBezTo>
                <a:cubicBezTo>
                  <a:pt x="1048" y="1020"/>
                  <a:pt x="1052" y="1022"/>
                  <a:pt x="1052" y="1020"/>
                </a:cubicBezTo>
                <a:close/>
                <a:moveTo>
                  <a:pt x="837" y="1022"/>
                </a:moveTo>
                <a:cubicBezTo>
                  <a:pt x="839" y="1022"/>
                  <a:pt x="840" y="1023"/>
                  <a:pt x="842" y="1023"/>
                </a:cubicBezTo>
                <a:cubicBezTo>
                  <a:pt x="841" y="1021"/>
                  <a:pt x="839" y="1020"/>
                  <a:pt x="837" y="1019"/>
                </a:cubicBezTo>
                <a:cubicBezTo>
                  <a:pt x="837" y="1020"/>
                  <a:pt x="837" y="1021"/>
                  <a:pt x="837" y="1022"/>
                </a:cubicBezTo>
                <a:close/>
                <a:moveTo>
                  <a:pt x="961" y="1025"/>
                </a:moveTo>
                <a:cubicBezTo>
                  <a:pt x="961" y="1024"/>
                  <a:pt x="961" y="1023"/>
                  <a:pt x="961" y="1022"/>
                </a:cubicBezTo>
                <a:cubicBezTo>
                  <a:pt x="958" y="1021"/>
                  <a:pt x="959" y="1024"/>
                  <a:pt x="956" y="1024"/>
                </a:cubicBezTo>
                <a:cubicBezTo>
                  <a:pt x="957" y="1021"/>
                  <a:pt x="954" y="1022"/>
                  <a:pt x="953" y="1020"/>
                </a:cubicBezTo>
                <a:cubicBezTo>
                  <a:pt x="952" y="1025"/>
                  <a:pt x="956" y="1026"/>
                  <a:pt x="961" y="1025"/>
                </a:cubicBezTo>
                <a:close/>
                <a:moveTo>
                  <a:pt x="855" y="1025"/>
                </a:moveTo>
                <a:cubicBezTo>
                  <a:pt x="855" y="1024"/>
                  <a:pt x="856" y="1024"/>
                  <a:pt x="856" y="1022"/>
                </a:cubicBezTo>
                <a:cubicBezTo>
                  <a:pt x="853" y="1023"/>
                  <a:pt x="854" y="1020"/>
                  <a:pt x="852" y="1021"/>
                </a:cubicBezTo>
                <a:cubicBezTo>
                  <a:pt x="851" y="1024"/>
                  <a:pt x="855" y="1023"/>
                  <a:pt x="855" y="1025"/>
                </a:cubicBezTo>
                <a:close/>
                <a:moveTo>
                  <a:pt x="866" y="1024"/>
                </a:moveTo>
                <a:cubicBezTo>
                  <a:pt x="866" y="1023"/>
                  <a:pt x="866" y="1022"/>
                  <a:pt x="866" y="1022"/>
                </a:cubicBezTo>
                <a:cubicBezTo>
                  <a:pt x="865" y="1022"/>
                  <a:pt x="864" y="1022"/>
                  <a:pt x="863" y="1022"/>
                </a:cubicBezTo>
                <a:cubicBezTo>
                  <a:pt x="862" y="1024"/>
                  <a:pt x="864" y="1024"/>
                  <a:pt x="866" y="1024"/>
                </a:cubicBezTo>
                <a:close/>
                <a:moveTo>
                  <a:pt x="1071" y="1025"/>
                </a:moveTo>
                <a:cubicBezTo>
                  <a:pt x="1073" y="1025"/>
                  <a:pt x="1074" y="1025"/>
                  <a:pt x="1075" y="1025"/>
                </a:cubicBezTo>
                <a:cubicBezTo>
                  <a:pt x="1075" y="1023"/>
                  <a:pt x="1075" y="1022"/>
                  <a:pt x="1073" y="1022"/>
                </a:cubicBezTo>
                <a:cubicBezTo>
                  <a:pt x="1073" y="1023"/>
                  <a:pt x="1072" y="1024"/>
                  <a:pt x="1071" y="1025"/>
                </a:cubicBezTo>
                <a:close/>
                <a:moveTo>
                  <a:pt x="911" y="1024"/>
                </a:moveTo>
                <a:cubicBezTo>
                  <a:pt x="914" y="1025"/>
                  <a:pt x="917" y="1025"/>
                  <a:pt x="917" y="1024"/>
                </a:cubicBezTo>
                <a:cubicBezTo>
                  <a:pt x="917" y="1023"/>
                  <a:pt x="917" y="1023"/>
                  <a:pt x="917" y="1022"/>
                </a:cubicBezTo>
                <a:cubicBezTo>
                  <a:pt x="914" y="1023"/>
                  <a:pt x="913" y="1021"/>
                  <a:pt x="911" y="1024"/>
                </a:cubicBezTo>
                <a:close/>
                <a:moveTo>
                  <a:pt x="678" y="1026"/>
                </a:moveTo>
                <a:cubicBezTo>
                  <a:pt x="680" y="1027"/>
                  <a:pt x="680" y="1030"/>
                  <a:pt x="683" y="1030"/>
                </a:cubicBezTo>
                <a:cubicBezTo>
                  <a:pt x="682" y="1027"/>
                  <a:pt x="685" y="1028"/>
                  <a:pt x="686" y="1027"/>
                </a:cubicBezTo>
                <a:cubicBezTo>
                  <a:pt x="684" y="1027"/>
                  <a:pt x="684" y="1025"/>
                  <a:pt x="684" y="1024"/>
                </a:cubicBezTo>
                <a:cubicBezTo>
                  <a:pt x="682" y="1025"/>
                  <a:pt x="679" y="1024"/>
                  <a:pt x="678" y="1026"/>
                </a:cubicBezTo>
                <a:close/>
                <a:moveTo>
                  <a:pt x="892" y="1025"/>
                </a:moveTo>
                <a:cubicBezTo>
                  <a:pt x="892" y="1028"/>
                  <a:pt x="895" y="1025"/>
                  <a:pt x="897" y="1027"/>
                </a:cubicBezTo>
                <a:cubicBezTo>
                  <a:pt x="897" y="1024"/>
                  <a:pt x="894" y="1024"/>
                  <a:pt x="892" y="1025"/>
                </a:cubicBezTo>
                <a:close/>
                <a:moveTo>
                  <a:pt x="1339" y="1033"/>
                </a:moveTo>
                <a:cubicBezTo>
                  <a:pt x="1336" y="1034"/>
                  <a:pt x="1332" y="1032"/>
                  <a:pt x="1331" y="1034"/>
                </a:cubicBezTo>
                <a:cubicBezTo>
                  <a:pt x="1333" y="1033"/>
                  <a:pt x="1338" y="1035"/>
                  <a:pt x="1339" y="1033"/>
                </a:cubicBezTo>
                <a:close/>
                <a:moveTo>
                  <a:pt x="1159" y="1037"/>
                </a:moveTo>
                <a:cubicBezTo>
                  <a:pt x="1164" y="1036"/>
                  <a:pt x="1167" y="1036"/>
                  <a:pt x="1170" y="1036"/>
                </a:cubicBezTo>
                <a:cubicBezTo>
                  <a:pt x="1167" y="1034"/>
                  <a:pt x="1161" y="1034"/>
                  <a:pt x="1159" y="1037"/>
                </a:cubicBezTo>
                <a:close/>
                <a:moveTo>
                  <a:pt x="1199" y="1041"/>
                </a:moveTo>
                <a:cubicBezTo>
                  <a:pt x="1198" y="1038"/>
                  <a:pt x="1194" y="1039"/>
                  <a:pt x="1194" y="1035"/>
                </a:cubicBezTo>
                <a:cubicBezTo>
                  <a:pt x="1192" y="1036"/>
                  <a:pt x="1188" y="1034"/>
                  <a:pt x="1187" y="1036"/>
                </a:cubicBezTo>
                <a:cubicBezTo>
                  <a:pt x="1190" y="1037"/>
                  <a:pt x="1192" y="1040"/>
                  <a:pt x="1194" y="1037"/>
                </a:cubicBezTo>
                <a:cubicBezTo>
                  <a:pt x="1194" y="1040"/>
                  <a:pt x="1196" y="1043"/>
                  <a:pt x="1199" y="1041"/>
                </a:cubicBezTo>
                <a:close/>
                <a:moveTo>
                  <a:pt x="1211" y="1041"/>
                </a:moveTo>
                <a:cubicBezTo>
                  <a:pt x="1210" y="1039"/>
                  <a:pt x="1208" y="1039"/>
                  <a:pt x="1208" y="1037"/>
                </a:cubicBezTo>
                <a:cubicBezTo>
                  <a:pt x="1207" y="1037"/>
                  <a:pt x="1206" y="1037"/>
                  <a:pt x="1205" y="1037"/>
                </a:cubicBezTo>
                <a:cubicBezTo>
                  <a:pt x="1207" y="1038"/>
                  <a:pt x="1207" y="1041"/>
                  <a:pt x="1211" y="1041"/>
                </a:cubicBezTo>
                <a:close/>
                <a:moveTo>
                  <a:pt x="1211" y="1039"/>
                </a:moveTo>
                <a:cubicBezTo>
                  <a:pt x="1213" y="1040"/>
                  <a:pt x="1214" y="1039"/>
                  <a:pt x="1216" y="1039"/>
                </a:cubicBezTo>
                <a:cubicBezTo>
                  <a:pt x="1216" y="1036"/>
                  <a:pt x="1214" y="1037"/>
                  <a:pt x="1212" y="1037"/>
                </a:cubicBezTo>
                <a:cubicBezTo>
                  <a:pt x="1212" y="1037"/>
                  <a:pt x="1212" y="1038"/>
                  <a:pt x="1211" y="1039"/>
                </a:cubicBezTo>
                <a:close/>
                <a:moveTo>
                  <a:pt x="1233" y="1038"/>
                </a:moveTo>
                <a:cubicBezTo>
                  <a:pt x="1234" y="1039"/>
                  <a:pt x="1238" y="1039"/>
                  <a:pt x="1239" y="1038"/>
                </a:cubicBezTo>
                <a:cubicBezTo>
                  <a:pt x="1237" y="1038"/>
                  <a:pt x="1234" y="1035"/>
                  <a:pt x="1233" y="1038"/>
                </a:cubicBezTo>
                <a:close/>
                <a:moveTo>
                  <a:pt x="1220" y="1039"/>
                </a:moveTo>
                <a:cubicBezTo>
                  <a:pt x="1221" y="1039"/>
                  <a:pt x="1222" y="1040"/>
                  <a:pt x="1221" y="1042"/>
                </a:cubicBezTo>
                <a:cubicBezTo>
                  <a:pt x="1223" y="1042"/>
                  <a:pt x="1224" y="1042"/>
                  <a:pt x="1224" y="1041"/>
                </a:cubicBezTo>
                <a:cubicBezTo>
                  <a:pt x="1223" y="1041"/>
                  <a:pt x="1224" y="1038"/>
                  <a:pt x="1224" y="1037"/>
                </a:cubicBezTo>
                <a:cubicBezTo>
                  <a:pt x="1222" y="1037"/>
                  <a:pt x="1221" y="1038"/>
                  <a:pt x="1220" y="1039"/>
                </a:cubicBezTo>
                <a:close/>
                <a:moveTo>
                  <a:pt x="1241" y="1039"/>
                </a:moveTo>
                <a:cubicBezTo>
                  <a:pt x="1242" y="1039"/>
                  <a:pt x="1244" y="1039"/>
                  <a:pt x="1245" y="1039"/>
                </a:cubicBezTo>
                <a:cubicBezTo>
                  <a:pt x="1245" y="1038"/>
                  <a:pt x="1245" y="1038"/>
                  <a:pt x="1245" y="1037"/>
                </a:cubicBezTo>
                <a:cubicBezTo>
                  <a:pt x="1244" y="1037"/>
                  <a:pt x="1242" y="1037"/>
                  <a:pt x="1241" y="1037"/>
                </a:cubicBezTo>
                <a:cubicBezTo>
                  <a:pt x="1241" y="1038"/>
                  <a:pt x="1241" y="1038"/>
                  <a:pt x="1241" y="1039"/>
                </a:cubicBezTo>
                <a:close/>
                <a:moveTo>
                  <a:pt x="1252" y="1041"/>
                </a:moveTo>
                <a:cubicBezTo>
                  <a:pt x="1252" y="1039"/>
                  <a:pt x="1251" y="1038"/>
                  <a:pt x="1249" y="1037"/>
                </a:cubicBezTo>
                <a:cubicBezTo>
                  <a:pt x="1248" y="1040"/>
                  <a:pt x="1249" y="1042"/>
                  <a:pt x="1252" y="1041"/>
                </a:cubicBezTo>
                <a:close/>
                <a:moveTo>
                  <a:pt x="1285" y="1039"/>
                </a:moveTo>
                <a:cubicBezTo>
                  <a:pt x="1283" y="1039"/>
                  <a:pt x="1281" y="1035"/>
                  <a:pt x="1279" y="1038"/>
                </a:cubicBezTo>
                <a:cubicBezTo>
                  <a:pt x="1280" y="1038"/>
                  <a:pt x="1284" y="1040"/>
                  <a:pt x="1285" y="1039"/>
                </a:cubicBezTo>
                <a:close/>
                <a:moveTo>
                  <a:pt x="1167" y="1043"/>
                </a:moveTo>
                <a:cubicBezTo>
                  <a:pt x="1164" y="1044"/>
                  <a:pt x="1161" y="1041"/>
                  <a:pt x="1159" y="1043"/>
                </a:cubicBezTo>
                <a:cubicBezTo>
                  <a:pt x="1160" y="1044"/>
                  <a:pt x="1167" y="1045"/>
                  <a:pt x="1167" y="1043"/>
                </a:cubicBezTo>
                <a:close/>
                <a:moveTo>
                  <a:pt x="1110" y="1054"/>
                </a:moveTo>
                <a:cubicBezTo>
                  <a:pt x="1113" y="1055"/>
                  <a:pt x="1114" y="1049"/>
                  <a:pt x="1112" y="1050"/>
                </a:cubicBezTo>
                <a:cubicBezTo>
                  <a:pt x="1112" y="1052"/>
                  <a:pt x="1109" y="1051"/>
                  <a:pt x="1110" y="1054"/>
                </a:cubicBez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65" tIns="45686" rIns="91365" bIns="45686"/>
          <a:lstStyle/>
          <a:p>
            <a:endParaRPr lang="ru-RU"/>
          </a:p>
        </p:txBody>
      </p:sp>
      <p:pic>
        <p:nvPicPr>
          <p:cNvPr id="6147" name="Picture 10" descr="FGC-logo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163" y="6821488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Slide Number Placeholder 5"/>
          <p:cNvSpPr txBox="1">
            <a:spLocks/>
          </p:cNvSpPr>
          <p:nvPr userDrawn="1"/>
        </p:nvSpPr>
        <p:spPr bwMode="auto">
          <a:xfrm>
            <a:off x="141288" y="6780213"/>
            <a:ext cx="2274887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52" tIns="48725" rIns="97452" bIns="48725" anchor="ctr"/>
          <a:lstStyle>
            <a:lvl1pPr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300" smtClean="0">
                <a:solidFill>
                  <a:srgbClr val="898989"/>
                </a:solidFill>
              </a:rPr>
              <a:t>Page</a:t>
            </a:r>
          </a:p>
        </p:txBody>
      </p:sp>
      <p:cxnSp>
        <p:nvCxnSpPr>
          <p:cNvPr id="10" name="Straight Connector 6"/>
          <p:cNvCxnSpPr/>
          <p:nvPr userDrawn="1"/>
        </p:nvCxnSpPr>
        <p:spPr>
          <a:xfrm rot="5400000">
            <a:off x="448469" y="7458869"/>
            <a:ext cx="3746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0" name="Title Placeholder 1"/>
          <p:cNvSpPr>
            <a:spLocks noGrp="1"/>
          </p:cNvSpPr>
          <p:nvPr>
            <p:ph type="title"/>
          </p:nvPr>
        </p:nvSpPr>
        <p:spPr bwMode="auto">
          <a:xfrm>
            <a:off x="474663" y="-1588"/>
            <a:ext cx="8778875" cy="1219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452" tIns="48725" rIns="97452" bIns="48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61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7363" y="1458913"/>
            <a:ext cx="8778875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452" tIns="48725" rIns="97452" bIns="487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23888" y="6780213"/>
            <a:ext cx="2273300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5970" tIns="48725" rIns="97452" bIns="48725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898989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95D9B3EA-8EA0-4A90-97FF-E69D80105E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3" r:id="rId1"/>
    <p:sldLayoutId id="2147485384" r:id="rId2"/>
    <p:sldLayoutId id="2147485385" r:id="rId3"/>
    <p:sldLayoutId id="2147485386" r:id="rId4"/>
    <p:sldLayoutId id="2147485387" r:id="rId5"/>
    <p:sldLayoutId id="2147485388" r:id="rId6"/>
    <p:sldLayoutId id="2147485389" r:id="rId7"/>
    <p:sldLayoutId id="2147485390" r:id="rId8"/>
    <p:sldLayoutId id="2147485391" r:id="rId9"/>
    <p:sldLayoutId id="2147485392" r:id="rId10"/>
    <p:sldLayoutId id="2147485393" r:id="rId11"/>
  </p:sldLayoutIdLst>
  <p:transition>
    <p:fade/>
  </p:transition>
  <p:hf hdr="0" ftr="0" dt="0"/>
  <p:txStyles>
    <p:titleStyle>
      <a:lvl1pPr algn="l" defTabSz="9731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+mj-lt"/>
          <a:ea typeface="+mj-ea"/>
          <a:cs typeface="+mj-cs"/>
        </a:defRPr>
      </a:lvl1pPr>
      <a:lvl2pPr algn="l" defTabSz="9731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2pPr>
      <a:lvl3pPr algn="l" defTabSz="9731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3pPr>
      <a:lvl4pPr algn="l" defTabSz="9731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4pPr>
      <a:lvl5pPr algn="l" defTabSz="9731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5pPr>
      <a:lvl6pPr marL="487650" algn="l" defTabSz="973606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6pPr>
      <a:lvl7pPr marL="975299" algn="l" defTabSz="973606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7pPr>
      <a:lvl8pPr marL="1462949" algn="l" defTabSz="973606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8pPr>
      <a:lvl9pPr marL="1950598" algn="l" defTabSz="973606" rtl="0" fontAlgn="base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9pPr>
    </p:titleStyle>
    <p:bodyStyle>
      <a:lvl1pPr marL="363538" indent="-363538" algn="l" defTabSz="973138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2500">
          <a:solidFill>
            <a:srgbClr val="10253F"/>
          </a:solidFill>
          <a:latin typeface="+mn-lt"/>
          <a:ea typeface="+mn-ea"/>
          <a:cs typeface="+mn-cs"/>
        </a:defRPr>
      </a:lvl1pPr>
      <a:lvl2pPr marL="790575" indent="-300038" algn="l" defTabSz="9731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10253F"/>
          </a:solidFill>
          <a:latin typeface="+mn-lt"/>
        </a:defRPr>
      </a:lvl2pPr>
      <a:lvl3pPr marL="1214438" indent="-239713" algn="l" defTabSz="9731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>
          <a:solidFill>
            <a:srgbClr val="10253F"/>
          </a:solidFill>
          <a:latin typeface="+mn-lt"/>
        </a:defRPr>
      </a:lvl3pPr>
      <a:lvl4pPr marL="1704975" indent="-241300" algn="l" defTabSz="9731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rgbClr val="10253F"/>
          </a:solidFill>
          <a:latin typeface="+mn-lt"/>
        </a:defRPr>
      </a:lvl4pPr>
      <a:lvl5pPr marL="2192338" indent="-241300" algn="l" defTabSz="9731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5pPr>
      <a:lvl6pPr marL="2680380" indent="-242132" algn="l" defTabSz="97360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6pPr>
      <a:lvl7pPr marL="3168029" indent="-242132" algn="l" defTabSz="97360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7pPr>
      <a:lvl8pPr marL="3655679" indent="-242132" algn="l" defTabSz="97360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8pPr>
      <a:lvl9pPr marL="4143328" indent="-242132" algn="l" defTabSz="97360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10253F"/>
          </a:solidFill>
          <a:latin typeface="+mn-lt"/>
        </a:defRPr>
      </a:lvl9pPr>
    </p:bodyStyle>
    <p:otherStyle>
      <a:defPPr>
        <a:defRPr lang="ru-RU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74663" y="-1588"/>
            <a:ext cx="8778875" cy="1219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7363" y="1458913"/>
            <a:ext cx="8778875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87363" y="6780213"/>
            <a:ext cx="2276475" cy="388937"/>
          </a:xfrm>
          <a:prstGeom prst="rect">
            <a:avLst/>
          </a:prstGeom>
        </p:spPr>
        <p:txBody>
          <a:bodyPr vert="horz" lIns="97530" tIns="48765" rIns="97530" bIns="48765" rtlCol="0" anchor="ctr"/>
          <a:lstStyle>
            <a:lvl1pPr algn="l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2163" y="6780213"/>
            <a:ext cx="3089275" cy="388937"/>
          </a:xfrm>
          <a:prstGeom prst="rect">
            <a:avLst/>
          </a:prstGeom>
        </p:spPr>
        <p:txBody>
          <a:bodyPr vert="horz" lIns="97530" tIns="48765" rIns="97530" bIns="48765" rtlCol="0" anchor="ctr"/>
          <a:lstStyle>
            <a:lvl1pPr algn="ctr" defTabSz="975299" fontAlgn="auto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763" y="6780213"/>
            <a:ext cx="2276475" cy="388937"/>
          </a:xfrm>
          <a:prstGeom prst="rect">
            <a:avLst/>
          </a:prstGeom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898989"/>
                </a:solidFill>
              </a:defRPr>
            </a:lvl1pPr>
          </a:lstStyle>
          <a:p>
            <a:fld id="{4F37A3D5-8523-44CD-99DF-25AD80E3A0A4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995645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0" r:id="rId1"/>
    <p:sldLayoutId id="2147485401" r:id="rId2"/>
    <p:sldLayoutId id="2147485402" r:id="rId3"/>
    <p:sldLayoutId id="2147485403" r:id="rId4"/>
    <p:sldLayoutId id="2147485404" r:id="rId5"/>
    <p:sldLayoutId id="2147485405" r:id="rId6"/>
    <p:sldLayoutId id="2147485406" r:id="rId7"/>
    <p:sldLayoutId id="2147485407" r:id="rId8"/>
    <p:sldLayoutId id="2147485408" r:id="rId9"/>
    <p:sldLayoutId id="2147485409" r:id="rId10"/>
    <p:sldLayoutId id="2147485410" r:id="rId11"/>
    <p:sldLayoutId id="2147485411" r:id="rId12"/>
  </p:sldLayoutIdLst>
  <p:transition>
    <p:fade/>
  </p:transition>
  <p:hf hdr="0" ftr="0" dt="0"/>
  <p:txStyles>
    <p:titleStyle>
      <a:lvl1pPr algn="l" defTabSz="974725" rtl="0" eaLnBrk="0" fontAlgn="base" hangingPunct="0">
        <a:spcBef>
          <a:spcPct val="0"/>
        </a:spcBef>
        <a:spcAft>
          <a:spcPct val="0"/>
        </a:spcAft>
        <a:defRPr lang="en-US" sz="3200" b="1" kern="1200" dirty="0">
          <a:solidFill>
            <a:srgbClr val="10253F"/>
          </a:solidFill>
          <a:latin typeface="+mj-lt"/>
          <a:ea typeface="+mj-ea"/>
          <a:cs typeface="+mj-cs"/>
        </a:defRPr>
      </a:lvl1pPr>
      <a:lvl2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2pPr>
      <a:lvl3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3pPr>
      <a:lvl4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4pPr>
      <a:lvl5pPr algn="l" defTabSz="974725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0253F"/>
          </a:solidFill>
          <a:latin typeface="Calibri" pitchFamily="34" charset="0"/>
        </a:defRPr>
      </a:lvl5pPr>
      <a:lvl6pPr marL="4572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6pPr>
      <a:lvl7pPr marL="9144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7pPr>
      <a:lvl8pPr marL="13716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8pPr>
      <a:lvl9pPr marL="1828800" algn="ctr" defTabSz="974725" rtl="0" fontAlgn="base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itchFamily="34" charset="0"/>
        </a:defRPr>
      </a:lvl9pPr>
    </p:titleStyle>
    <p:bodyStyle>
      <a:lvl1pPr marL="365125" indent="-365125" algn="l" defTabSz="974725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lang="en-US" sz="2400" kern="1200" dirty="0">
          <a:solidFill>
            <a:srgbClr val="10253F"/>
          </a:solidFill>
          <a:latin typeface="+mj-lt"/>
          <a:ea typeface="+mn-ea"/>
          <a:cs typeface="+mn-cs"/>
        </a:defRPr>
      </a:lvl1pPr>
      <a:lvl2pPr marL="792163" indent="-303213" algn="l" defTabSz="9747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lang="en-US" sz="2000" kern="1200" dirty="0">
          <a:solidFill>
            <a:srgbClr val="10253F"/>
          </a:solidFill>
          <a:latin typeface="+mj-lt"/>
          <a:ea typeface="+mn-ea"/>
          <a:cs typeface="+mn-cs"/>
        </a:defRPr>
      </a:lvl2pPr>
      <a:lvl3pPr marL="1217613" indent="-242888" algn="l" defTabSz="9747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10253F"/>
          </a:solidFill>
          <a:latin typeface="+mj-lt"/>
          <a:ea typeface="+mn-ea"/>
          <a:cs typeface="+mn-cs"/>
        </a:defRPr>
      </a:lvl3pPr>
      <a:lvl4pPr marL="1706563" indent="-242888" algn="l" defTabSz="9747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10253F"/>
          </a:solidFill>
          <a:latin typeface="+mj-lt"/>
          <a:ea typeface="+mn-ea"/>
          <a:cs typeface="+mn-cs"/>
        </a:defRPr>
      </a:lvl4pPr>
      <a:lvl5pPr marL="2193925" indent="-242888" algn="l" defTabSz="9747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10253F"/>
          </a:solidFill>
          <a:latin typeface="+mj-lt"/>
          <a:ea typeface="+mn-ea"/>
          <a:cs typeface="+mn-cs"/>
        </a:defRPr>
      </a:lvl5pPr>
      <a:lvl6pPr marL="268207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6972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737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02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gi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gi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jpeg"/><Relationship Id="rId7" Type="http://schemas.openxmlformats.org/officeDocument/2006/relationships/image" Target="../media/image5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jpeg"/><Relationship Id="rId7" Type="http://schemas.openxmlformats.org/officeDocument/2006/relationships/image" Target="../media/image5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jpeg"/><Relationship Id="rId9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4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78.jpeg"/><Relationship Id="rId5" Type="http://schemas.openxmlformats.org/officeDocument/2006/relationships/image" Target="../media/image77.jpeg"/><Relationship Id="rId4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1.jpe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8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pcs-condroz.be/cms/sites/default/files/logement.jpg" TargetMode="External"/><Relationship Id="rId5" Type="http://schemas.openxmlformats.org/officeDocument/2006/relationships/image" Target="../media/image83.jpeg"/><Relationship Id="rId4" Type="http://schemas.openxmlformats.org/officeDocument/2006/relationships/image" Target="../media/image8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6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5.gif"/><Relationship Id="rId5" Type="http://schemas.openxmlformats.org/officeDocument/2006/relationships/image" Target="../media/image36.png"/><Relationship Id="rId4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89.jpeg"/><Relationship Id="rId7" Type="http://schemas.openxmlformats.org/officeDocument/2006/relationships/image" Target="../media/image93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jpeg"/><Relationship Id="rId5" Type="http://schemas.openxmlformats.org/officeDocument/2006/relationships/image" Target="../media/image91.jpeg"/><Relationship Id="rId10" Type="http://schemas.openxmlformats.org/officeDocument/2006/relationships/image" Target="../media/image96.jpeg"/><Relationship Id="rId4" Type="http://schemas.openxmlformats.org/officeDocument/2006/relationships/image" Target="../media/image90.jpeg"/><Relationship Id="rId9" Type="http://schemas.openxmlformats.org/officeDocument/2006/relationships/image" Target="../media/image95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3" Type="http://schemas.openxmlformats.org/officeDocument/2006/relationships/image" Target="../media/image36.png"/><Relationship Id="rId7" Type="http://schemas.openxmlformats.org/officeDocument/2006/relationships/image" Target="../media/image10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jpeg"/><Relationship Id="rId11" Type="http://schemas.openxmlformats.org/officeDocument/2006/relationships/image" Target="../media/image104.jpeg"/><Relationship Id="rId5" Type="http://schemas.openxmlformats.org/officeDocument/2006/relationships/image" Target="../media/image98.jpeg"/><Relationship Id="rId10" Type="http://schemas.openxmlformats.org/officeDocument/2006/relationships/image" Target="../media/image103.jpeg"/><Relationship Id="rId4" Type="http://schemas.openxmlformats.org/officeDocument/2006/relationships/image" Target="../media/image97.jpeg"/><Relationship Id="rId9" Type="http://schemas.openxmlformats.org/officeDocument/2006/relationships/image" Target="../media/image10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arabic.rt.com/media/pics/2010.04/512/46249.jpg" TargetMode="External"/><Relationship Id="rId13" Type="http://schemas.openxmlformats.org/officeDocument/2006/relationships/image" Target="../media/image26.jpeg"/><Relationship Id="rId18" Type="http://schemas.openxmlformats.org/officeDocument/2006/relationships/hyperlink" Target="http://zheleznovodsk.sutochno.ru/files/misc/images/zheleznovodsk/5_zheleznovodsk.jpg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23.jpeg"/><Relationship Id="rId12" Type="http://schemas.openxmlformats.org/officeDocument/2006/relationships/hyperlink" Target="http://sobranie.ucoz.com/_ph/33/2/842115107.jpg" TargetMode="External"/><Relationship Id="rId17" Type="http://schemas.openxmlformats.org/officeDocument/2006/relationships/image" Target="../media/image28.jpeg"/><Relationship Id="rId2" Type="http://schemas.openxmlformats.org/officeDocument/2006/relationships/image" Target="../media/image21.png"/><Relationship Id="rId16" Type="http://schemas.openxmlformats.org/officeDocument/2006/relationships/hyperlink" Target="http://spbfoto.spb.ru/foto/data/media/15/petr1.jpg" TargetMode="External"/><Relationship Id="rId1" Type="http://schemas.openxmlformats.org/officeDocument/2006/relationships/slideLayout" Target="../slideLayouts/slideLayout79.xml"/><Relationship Id="rId6" Type="http://schemas.openxmlformats.org/officeDocument/2006/relationships/hyperlink" Target="http://www.fsi-field.ru/img/fsi/1.jpg" TargetMode="External"/><Relationship Id="rId11" Type="http://schemas.openxmlformats.org/officeDocument/2006/relationships/image" Target="../media/image25.jpeg"/><Relationship Id="rId5" Type="http://schemas.openxmlformats.org/officeDocument/2006/relationships/image" Target="../media/image22.jpeg"/><Relationship Id="rId15" Type="http://schemas.openxmlformats.org/officeDocument/2006/relationships/image" Target="../media/image27.jpeg"/><Relationship Id="rId10" Type="http://schemas.openxmlformats.org/officeDocument/2006/relationships/hyperlink" Target="http://www.fermer.ru/files/Resize%20of%201.jpg" TargetMode="External"/><Relationship Id="rId19" Type="http://schemas.openxmlformats.org/officeDocument/2006/relationships/image" Target="../media/image29.jpeg"/><Relationship Id="rId4" Type="http://schemas.openxmlformats.org/officeDocument/2006/relationships/hyperlink" Target="http://www.f-rooms.ru/uploads/images/dostoprim/moscow13.jpg" TargetMode="External"/><Relationship Id="rId9" Type="http://schemas.openxmlformats.org/officeDocument/2006/relationships/image" Target="../media/image24.jpeg"/><Relationship Id="rId14" Type="http://schemas.openxmlformats.org/officeDocument/2006/relationships/hyperlink" Target="http://static3.babysfera.ru/3/0/8/c/28229968.m.jpeg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jpeg"/><Relationship Id="rId3" Type="http://schemas.openxmlformats.org/officeDocument/2006/relationships/image" Target="../media/image36.png"/><Relationship Id="rId7" Type="http://schemas.openxmlformats.org/officeDocument/2006/relationships/image" Target="../media/image10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6.jpeg"/><Relationship Id="rId11" Type="http://schemas.openxmlformats.org/officeDocument/2006/relationships/image" Target="../media/image111.jpeg"/><Relationship Id="rId5" Type="http://schemas.openxmlformats.org/officeDocument/2006/relationships/image" Target="../media/image1.png"/><Relationship Id="rId10" Type="http://schemas.openxmlformats.org/officeDocument/2006/relationships/image" Target="../media/image110.jpeg"/><Relationship Id="rId4" Type="http://schemas.openxmlformats.org/officeDocument/2006/relationships/image" Target="../media/image105.jpeg"/><Relationship Id="rId9" Type="http://schemas.openxmlformats.org/officeDocument/2006/relationships/image" Target="../media/image10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5.png"/><Relationship Id="rId5" Type="http://schemas.openxmlformats.org/officeDocument/2006/relationships/image" Target="../media/image114.gif"/><Relationship Id="rId4" Type="http://schemas.openxmlformats.org/officeDocument/2006/relationships/hyperlink" Target="mailto:Platanaya-NN@fskees.ru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2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4" Type="http://schemas.openxmlformats.org/officeDocument/2006/relationships/image" Target="../media/image3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20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jpeg"/><Relationship Id="rId5" Type="http://schemas.openxmlformats.org/officeDocument/2006/relationships/image" Target="../media/image34.jpeg"/><Relationship Id="rId4" Type="http://schemas.openxmlformats.org/officeDocument/2006/relationships/image" Target="../media/image38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gi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Title 6"/>
          <p:cNvSpPr>
            <a:spLocks noGrp="1"/>
          </p:cNvSpPr>
          <p:nvPr>
            <p:ph type="ctrTitle"/>
          </p:nvPr>
        </p:nvSpPr>
        <p:spPr>
          <a:xfrm>
            <a:off x="676275" y="346075"/>
            <a:ext cx="8667750" cy="513981"/>
          </a:xfrm>
        </p:spPr>
        <p:txBody>
          <a:bodyPr wrap="square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000" dirty="0" smtClean="0"/>
              <a:t>Филиал </a:t>
            </a:r>
            <a:r>
              <a:rPr lang="ru-RU" sz="3000" dirty="0"/>
              <a:t>П</a:t>
            </a:r>
            <a:r>
              <a:rPr lang="ru-RU" sz="3000" dirty="0" smtClean="0"/>
              <a:t>АО </a:t>
            </a:r>
            <a:r>
              <a:rPr lang="ru-RU" sz="3000" dirty="0" smtClean="0"/>
              <a:t>«</a:t>
            </a:r>
            <a:r>
              <a:rPr lang="ru-RU" sz="3000" dirty="0" err="1" smtClean="0"/>
              <a:t>Россети</a:t>
            </a:r>
            <a:r>
              <a:rPr lang="ru-RU" sz="3000" dirty="0" smtClean="0"/>
              <a:t>»</a:t>
            </a:r>
            <a:endParaRPr lang="en-GB" sz="3000" dirty="0" smtClean="0"/>
          </a:p>
        </p:txBody>
      </p:sp>
      <p:sp>
        <p:nvSpPr>
          <p:cNvPr id="6" name="Title 6"/>
          <p:cNvSpPr txBox="1">
            <a:spLocks/>
          </p:cNvSpPr>
          <p:nvPr/>
        </p:nvSpPr>
        <p:spPr bwMode="auto">
          <a:xfrm>
            <a:off x="2110871" y="1305071"/>
            <a:ext cx="5829300" cy="1503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530" tIns="48765" rIns="97530" bIns="48765">
            <a:spAutoFit/>
          </a:bodyPr>
          <a:lstStyle/>
          <a:p>
            <a:pPr algn="ctr">
              <a:lnSpc>
                <a:spcPts val="36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4000" b="1" dirty="0" smtClean="0">
                <a:solidFill>
                  <a:srgbClr val="FFFFFF"/>
                </a:solidFill>
                <a:latin typeface="+mj-lt"/>
                <a:cs typeface="+mn-cs"/>
              </a:rPr>
              <a:t>Карельское предприятие магистральных электрических сетей </a:t>
            </a:r>
            <a:endParaRPr lang="ru-RU" sz="40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pic>
        <p:nvPicPr>
          <p:cNvPr id="12294" name="Picture 6" descr="C:\Users\Polyakova_NV\Desktop\Фото для презентации\Для Наташи\16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3077" y="5286428"/>
            <a:ext cx="9560523" cy="16422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302" name="Picture 14" descr="C:\Users\Polyakova_NV\Desktop\БПМЭС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34153" y="3192439"/>
            <a:ext cx="3715240" cy="19945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308" name="Picture 20" descr="C:\Users\Polyakova_NV\Desktop\МЭС\Фото для работы\ССО\8038_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71464" y="2563244"/>
            <a:ext cx="1848330" cy="27845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5" name="Picture 21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288" y="4090988"/>
            <a:ext cx="200025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-1"/>
            <a:ext cx="8562975" cy="640081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2800" b="1" dirty="0" smtClean="0"/>
              <a:t>Центральные группа подстанций и линейный участок</a:t>
            </a:r>
            <a:endParaRPr lang="en-GB" sz="2800" b="1" dirty="0"/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6519" y="4145735"/>
            <a:ext cx="9054352" cy="2795954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В состав центральной группы ПС и центрального линейного участка входят: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8 подстанций 35-330 кВ, 1 РП 220</a:t>
            </a:r>
            <a:r>
              <a:rPr lang="en-US" sz="2000" b="1" dirty="0" smtClean="0"/>
              <a:t> </a:t>
            </a:r>
            <a:r>
              <a:rPr lang="ru-RU" sz="2000" b="1" dirty="0" smtClean="0"/>
              <a:t>кВ, 1 ДЭС 6 кВ, 23 ТП 6/0,4 кВ + строящийся РП 330 кВ Ондский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Центральный транспортный участок с </a:t>
            </a:r>
            <a:r>
              <a:rPr lang="en-US" sz="2000" b="1" dirty="0" smtClean="0"/>
              <a:t>72</a:t>
            </a:r>
            <a:r>
              <a:rPr lang="ru-RU" sz="2000" b="1" dirty="0" smtClean="0"/>
              <a:t> единицами техники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Центральный линейный участок, обслуживающий 13</a:t>
            </a:r>
            <a:r>
              <a:rPr lang="en-US" sz="2000" b="1" dirty="0" smtClean="0"/>
              <a:t>82 </a:t>
            </a:r>
            <a:r>
              <a:rPr lang="ru-RU" sz="2000" b="1" dirty="0" smtClean="0"/>
              <a:t>км ЛЭП 0,4-330 кВ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Центральный участок связи, обслуживающий линии связи, ВОЛС и СДТУ.</a:t>
            </a:r>
          </a:p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Общая численность </a:t>
            </a:r>
            <a:r>
              <a:rPr lang="ru-RU" sz="2000" b="1" dirty="0"/>
              <a:t>персонала </a:t>
            </a:r>
            <a:r>
              <a:rPr lang="ru-RU" sz="2000" b="1" dirty="0" smtClean="0"/>
              <a:t> - 112 </a:t>
            </a:r>
            <a:r>
              <a:rPr lang="ru-RU" sz="2000" b="1" dirty="0"/>
              <a:t>человек. </a:t>
            </a:r>
            <a:endParaRPr lang="ru-RU" sz="2000" b="1" dirty="0" smtClean="0"/>
          </a:p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pic>
        <p:nvPicPr>
          <p:cNvPr id="3074" name="Picture 2" descr="I:\Подразделения\ПТО\ГОДОВЫЕ ОТЧЕТЫ\Годовой отчет КПМЭС за 2016 год\Работа над годовым\С подразделений\ОУПА\Бубневич\Схема эксплуатационного обслуживания v2 Центр ГПС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7" y="872589"/>
            <a:ext cx="8623300" cy="3273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045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82804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 smtClean="0"/>
              <a:t>Ладожский РМЭС</a:t>
            </a:r>
            <a:endParaRPr lang="en-GB" sz="3100" b="1" dirty="0"/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2924" y="3876676"/>
            <a:ext cx="8722996" cy="2602732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В состав района электрических сетей входят: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5 подстанций 220-330 кВ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Ладожский транспортный участок с </a:t>
            </a:r>
            <a:r>
              <a:rPr lang="en-US" sz="2000" b="1" dirty="0" smtClean="0"/>
              <a:t>19</a:t>
            </a:r>
            <a:r>
              <a:rPr lang="ru-RU" sz="2000" b="1" dirty="0" smtClean="0"/>
              <a:t> единицами техники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Ладожский линейный участок, обслуживающий 928 км ЛЭП 220-330 кВ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Ладожский участок связи, обслуживающий линии связи, ВОЛС и СДТУ.</a:t>
            </a:r>
          </a:p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Общая численность </a:t>
            </a:r>
            <a:r>
              <a:rPr lang="ru-RU" sz="2000" b="1" dirty="0"/>
              <a:t>персонала </a:t>
            </a:r>
            <a:r>
              <a:rPr lang="ru-RU" sz="2000" b="1" dirty="0" smtClean="0"/>
              <a:t>РЭС - 90 </a:t>
            </a:r>
            <a:r>
              <a:rPr lang="ru-RU" sz="2000" b="1" dirty="0"/>
              <a:t>человек. </a:t>
            </a:r>
            <a:endParaRPr lang="ru-RU" sz="2000" b="1" dirty="0" smtClean="0"/>
          </a:p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pic>
        <p:nvPicPr>
          <p:cNvPr id="4098" name="Picture 2" descr="I:\Подразделения\ПТО\ГОДОВЫЕ ОТЧЕТЫ\Годовой отчет КПМЭС за 2016 год\Работа над годовым\С подразделений\ОУПА\Бубневич\Схема эксплуатационного обслуживания v2 Ладожский РЭС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909638"/>
            <a:ext cx="8975725" cy="2672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7712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82804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 smtClean="0"/>
              <a:t>Выборгская ГПС</a:t>
            </a:r>
            <a:endParaRPr lang="en-GB" sz="3100" b="1" dirty="0"/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2924" y="4158166"/>
            <a:ext cx="8806816" cy="2602732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В состав района электрических сетей входят: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3 подстанции 330-400 </a:t>
            </a:r>
            <a:r>
              <a:rPr lang="ru-RU" sz="2000" b="1" dirty="0" err="1" smtClean="0"/>
              <a:t>кВ</a:t>
            </a:r>
            <a:r>
              <a:rPr lang="ru-RU" sz="2000" b="1" dirty="0" smtClean="0"/>
              <a:t>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Выборгский транспортный участок с </a:t>
            </a:r>
            <a:r>
              <a:rPr lang="en-US" sz="2000" b="1" dirty="0" smtClean="0"/>
              <a:t>32</a:t>
            </a:r>
            <a:r>
              <a:rPr lang="ru-RU" sz="2000" b="1" dirty="0" smtClean="0"/>
              <a:t> единицами техники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Выборгский линейный участок, обслуживающий 536 км ЛЭП 110-400 кВ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Выборгский участок связи, обслуживающий линии связи, ВОЛС и СДТУ.</a:t>
            </a:r>
          </a:p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Общая численность </a:t>
            </a:r>
            <a:r>
              <a:rPr lang="ru-RU" sz="2000" b="1" dirty="0"/>
              <a:t>персонала </a:t>
            </a:r>
            <a:r>
              <a:rPr lang="ru-RU" sz="2000" b="1" dirty="0" smtClean="0"/>
              <a:t>РЭС - 130 </a:t>
            </a:r>
            <a:r>
              <a:rPr lang="ru-RU" sz="2000" b="1" dirty="0"/>
              <a:t>человек. </a:t>
            </a:r>
            <a:endParaRPr lang="ru-RU" sz="2000" b="1" dirty="0" smtClean="0"/>
          </a:p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pic>
        <p:nvPicPr>
          <p:cNvPr id="5122" name="Picture 2" descr="I:\Подразделения\ПТО\ГОДОВЫЕ ОТЧЕТЫ\Годовой отчет КПМЭС за 2016 год\Работа над годовым\С подразделений\ОУПА\Бубневич\Схема эксплуатационного обслуживания v2 Выборгский РЭС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1093796"/>
            <a:ext cx="8634132" cy="263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673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095625" y="1085850"/>
            <a:ext cx="6086475" cy="1908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sp>
        <p:nvSpPr>
          <p:cNvPr id="30723" name="TextBox 8"/>
          <p:cNvSpPr txBox="1">
            <a:spLocks noChangeArrowheads="1"/>
          </p:cNvSpPr>
          <p:nvPr/>
        </p:nvSpPr>
        <p:spPr bwMode="auto">
          <a:xfrm>
            <a:off x="752475" y="1041400"/>
            <a:ext cx="8370888" cy="590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      Сегодня предприятие обслуживает объекты ЕНЭС на части Ленинградской области, территории Республики Карелия и Мурманской области. Оперативное руководство деятельностью филиала ПАО «ФСК ЕЭС» - Карельское ПМЭС осуществляется филиалом ПАО «ФСК ЕЭС» - МЭС Северо-Запада. Основным видом деятельности Карельского ПМЭС является передача и распределение электроэнергии в рамках Единой национальной энергетической системы.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 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Н</a:t>
            </a:r>
            <a:r>
              <a:rPr lang="ru-RU" altLang="ru-RU" sz="1400" dirty="0" smtClean="0">
                <a:solidFill>
                  <a:schemeClr val="tx1"/>
                </a:solidFill>
              </a:rPr>
              <a:t>а </a:t>
            </a:r>
            <a:r>
              <a:rPr lang="ru-RU" altLang="ru-RU" sz="1400" dirty="0">
                <a:solidFill>
                  <a:schemeClr val="tx1"/>
                </a:solidFill>
              </a:rPr>
              <a:t>балансе КПМЭС находится  и  эксплуатируется</a:t>
            </a:r>
            <a:r>
              <a:rPr lang="ru-RU" altLang="ru-RU" sz="1400" dirty="0" smtClean="0">
                <a:solidFill>
                  <a:schemeClr val="tx1"/>
                </a:solidFill>
              </a:rPr>
              <a:t>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chemeClr val="tx1"/>
                </a:solidFill>
              </a:rPr>
              <a:t>Одна </a:t>
            </a:r>
            <a:r>
              <a:rPr lang="ru-RU" altLang="ru-RU" sz="1400" b="1" dirty="0">
                <a:solidFill>
                  <a:schemeClr val="tx1"/>
                </a:solidFill>
              </a:rPr>
              <a:t>подстанций </a:t>
            </a:r>
            <a:r>
              <a:rPr lang="ru-RU" altLang="ru-RU" sz="1400" b="1" dirty="0" smtClean="0">
                <a:solidFill>
                  <a:schemeClr val="tx1"/>
                </a:solidFill>
              </a:rPr>
              <a:t>400 </a:t>
            </a:r>
            <a:r>
              <a:rPr lang="ru-RU" altLang="ru-RU" sz="1400" b="1" dirty="0">
                <a:solidFill>
                  <a:schemeClr val="tx1"/>
                </a:solidFill>
              </a:rPr>
              <a:t>кВ, расположенных на территории </a:t>
            </a:r>
            <a:r>
              <a:rPr lang="ru-RU" altLang="ru-RU" sz="1400" b="1" dirty="0" smtClean="0">
                <a:solidFill>
                  <a:schemeClr val="tx1"/>
                </a:solidFill>
              </a:rPr>
              <a:t>Ленинградской </a:t>
            </a:r>
            <a:r>
              <a:rPr lang="ru-RU" altLang="ru-RU" sz="1400" b="1" dirty="0">
                <a:solidFill>
                  <a:schemeClr val="tx1"/>
                </a:solidFill>
              </a:rPr>
              <a:t>области:</a:t>
            </a:r>
            <a:endParaRPr lang="ru-RU" altLang="ru-RU" sz="14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ПС </a:t>
            </a:r>
            <a:r>
              <a:rPr lang="ru-RU" altLang="ru-RU" sz="1400" dirty="0" smtClean="0">
                <a:solidFill>
                  <a:schemeClr val="tx1"/>
                </a:solidFill>
              </a:rPr>
              <a:t>400 </a:t>
            </a:r>
            <a:r>
              <a:rPr lang="ru-RU" altLang="ru-RU" sz="1400" dirty="0">
                <a:solidFill>
                  <a:schemeClr val="tx1"/>
                </a:solidFill>
              </a:rPr>
              <a:t>кВ </a:t>
            </a:r>
            <a:r>
              <a:rPr lang="ru-RU" altLang="ru-RU" sz="1400" dirty="0" smtClean="0">
                <a:solidFill>
                  <a:schemeClr val="tx1"/>
                </a:solidFill>
              </a:rPr>
              <a:t>Выборгская (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п.Перово</a:t>
            </a:r>
            <a:r>
              <a:rPr lang="ru-RU" altLang="ru-RU" sz="1400" dirty="0" smtClean="0">
                <a:solidFill>
                  <a:schemeClr val="tx1"/>
                </a:solidFill>
              </a:rPr>
              <a:t>)</a:t>
            </a:r>
            <a:endParaRPr lang="ru-RU" altLang="ru-RU" sz="14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chemeClr val="tx1"/>
                </a:solidFill>
              </a:rPr>
              <a:t>Тринадцать </a:t>
            </a:r>
            <a:r>
              <a:rPr lang="ru-RU" altLang="ru-RU" sz="1400" b="1" dirty="0">
                <a:solidFill>
                  <a:schemeClr val="tx1"/>
                </a:solidFill>
              </a:rPr>
              <a:t>подстанций 330 кВ, расположенных на территории </a:t>
            </a:r>
            <a:r>
              <a:rPr lang="ru-RU" altLang="ru-RU" sz="1400" b="1" dirty="0" smtClean="0">
                <a:solidFill>
                  <a:schemeClr val="tx1"/>
                </a:solidFill>
              </a:rPr>
              <a:t>Республики Карелия,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chemeClr val="tx1"/>
                </a:solidFill>
              </a:rPr>
              <a:t>Мурманской и Ленинградской области</a:t>
            </a:r>
            <a:r>
              <a:rPr lang="ru-RU" altLang="ru-RU" sz="1400" b="1" dirty="0">
                <a:solidFill>
                  <a:schemeClr val="tx1"/>
                </a:solidFill>
              </a:rPr>
              <a:t>:</a:t>
            </a:r>
            <a:endParaRPr lang="ru-RU" altLang="ru-RU" sz="14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1"/>
                </a:solidFill>
              </a:rPr>
              <a:t>ПС 330 кВ 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Каменногорская</a:t>
            </a:r>
            <a:r>
              <a:rPr lang="ru-RU" altLang="ru-RU" sz="1400" dirty="0" smtClean="0">
                <a:solidFill>
                  <a:schemeClr val="tx1"/>
                </a:solidFill>
              </a:rPr>
              <a:t>; ПС 330 кВ Зеленогорск; ПС 330 кВ Тихвин – Литейный; ПС 330 кВ 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Сясь</a:t>
            </a:r>
            <a:r>
              <a:rPr lang="ru-RU" altLang="ru-RU" sz="1400" dirty="0" smtClean="0">
                <a:solidFill>
                  <a:schemeClr val="tx1"/>
                </a:solidFill>
              </a:rPr>
              <a:t>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1"/>
                </a:solidFill>
              </a:rPr>
              <a:t>ПС </a:t>
            </a:r>
            <a:r>
              <a:rPr lang="ru-RU" altLang="ru-RU" sz="1400" dirty="0">
                <a:solidFill>
                  <a:schemeClr val="tx1"/>
                </a:solidFill>
              </a:rPr>
              <a:t>330 кВ Лоухи (</a:t>
            </a:r>
            <a:r>
              <a:rPr lang="ru-RU" altLang="ru-RU" sz="1400" dirty="0" err="1">
                <a:solidFill>
                  <a:schemeClr val="tx1"/>
                </a:solidFill>
              </a:rPr>
              <a:t>п.Лоухи</a:t>
            </a:r>
            <a:r>
              <a:rPr lang="ru-RU" altLang="ru-RU" sz="1400" dirty="0">
                <a:solidFill>
                  <a:schemeClr val="tx1"/>
                </a:solidFill>
              </a:rPr>
              <a:t>);  ПС 330 кВ Петрозаводск (</a:t>
            </a:r>
            <a:r>
              <a:rPr lang="ru-RU" altLang="ru-RU" sz="1400" dirty="0" err="1">
                <a:solidFill>
                  <a:schemeClr val="tx1"/>
                </a:solidFill>
              </a:rPr>
              <a:t>п.Виданы</a:t>
            </a:r>
            <a:r>
              <a:rPr lang="ru-RU" altLang="ru-RU" sz="1400" dirty="0" smtClean="0">
                <a:solidFill>
                  <a:schemeClr val="tx1"/>
                </a:solidFill>
              </a:rPr>
              <a:t>); ПС </a:t>
            </a:r>
            <a:r>
              <a:rPr lang="ru-RU" altLang="ru-RU" sz="1400" dirty="0">
                <a:solidFill>
                  <a:schemeClr val="tx1"/>
                </a:solidFill>
              </a:rPr>
              <a:t>330 кВ Кондопога (</a:t>
            </a:r>
            <a:r>
              <a:rPr lang="ru-RU" altLang="ru-RU" sz="1400" dirty="0" err="1">
                <a:solidFill>
                  <a:schemeClr val="tx1"/>
                </a:solidFill>
              </a:rPr>
              <a:t>п.Нигозеро</a:t>
            </a:r>
            <a:r>
              <a:rPr lang="ru-RU" altLang="ru-RU" sz="1400" dirty="0">
                <a:solidFill>
                  <a:schemeClr val="tx1"/>
                </a:solidFill>
              </a:rPr>
              <a:t>); ПС 330 кВ Княжегубская (пос. Зеленоборский; ПС 330 кВ Мончегорск  (</a:t>
            </a:r>
            <a:r>
              <a:rPr lang="ru-RU" altLang="ru-RU" sz="1400" dirty="0" err="1">
                <a:solidFill>
                  <a:schemeClr val="tx1"/>
                </a:solidFill>
              </a:rPr>
              <a:t>г.Мончегорск</a:t>
            </a:r>
            <a:r>
              <a:rPr lang="ru-RU" altLang="ru-RU" sz="1400" dirty="0" smtClean="0">
                <a:solidFill>
                  <a:schemeClr val="tx1"/>
                </a:solidFill>
              </a:rPr>
              <a:t>); ПС </a:t>
            </a:r>
            <a:r>
              <a:rPr lang="ru-RU" altLang="ru-RU" sz="1400" dirty="0">
                <a:solidFill>
                  <a:schemeClr val="tx1"/>
                </a:solidFill>
              </a:rPr>
              <a:t>330 кВ Выходной (</a:t>
            </a:r>
            <a:r>
              <a:rPr lang="ru-RU" altLang="ru-RU" sz="1400" dirty="0" err="1">
                <a:solidFill>
                  <a:schemeClr val="tx1"/>
                </a:solidFill>
              </a:rPr>
              <a:t>п.Выходной</a:t>
            </a:r>
            <a:r>
              <a:rPr lang="ru-RU" altLang="ru-RU" sz="1400" dirty="0">
                <a:solidFill>
                  <a:schemeClr val="tx1"/>
                </a:solidFill>
              </a:rPr>
              <a:t>); ПС 330 кВ Оленегорск (</a:t>
            </a:r>
            <a:r>
              <a:rPr lang="ru-RU" altLang="ru-RU" sz="1400" dirty="0" err="1">
                <a:solidFill>
                  <a:schemeClr val="tx1"/>
                </a:solidFill>
              </a:rPr>
              <a:t>г.Оленегорск</a:t>
            </a:r>
            <a:r>
              <a:rPr lang="ru-RU" altLang="ru-RU" sz="1400" dirty="0" smtClean="0">
                <a:solidFill>
                  <a:schemeClr val="tx1"/>
                </a:solidFill>
              </a:rPr>
              <a:t>); ПС 330 кВ Мурманская; ПС </a:t>
            </a:r>
            <a:r>
              <a:rPr lang="ru-RU" altLang="ru-RU" sz="1400" dirty="0">
                <a:solidFill>
                  <a:schemeClr val="tx1"/>
                </a:solidFill>
              </a:rPr>
              <a:t>330 кВ Титан (</a:t>
            </a:r>
            <a:r>
              <a:rPr lang="ru-RU" altLang="ru-RU" sz="1400" dirty="0" err="1">
                <a:solidFill>
                  <a:schemeClr val="tx1"/>
                </a:solidFill>
              </a:rPr>
              <a:t>г.Апатиты</a:t>
            </a:r>
            <a:r>
              <a:rPr lang="ru-RU" altLang="ru-RU" sz="1400" dirty="0">
                <a:solidFill>
                  <a:schemeClr val="tx1"/>
                </a:solidFill>
              </a:rPr>
              <a:t>)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chemeClr val="tx1"/>
                </a:solidFill>
              </a:rPr>
              <a:t>Девять </a:t>
            </a:r>
            <a:r>
              <a:rPr lang="ru-RU" altLang="ru-RU" sz="1400" b="1" dirty="0">
                <a:solidFill>
                  <a:schemeClr val="tx1"/>
                </a:solidFill>
              </a:rPr>
              <a:t>подстанций 220 кВ, расположенных на территории Карелии:</a:t>
            </a:r>
            <a:endParaRPr lang="ru-RU" altLang="ru-RU" sz="14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1"/>
                </a:solidFill>
              </a:rPr>
              <a:t>ПС 220 кВ 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Подпорожская</a:t>
            </a:r>
            <a:r>
              <a:rPr lang="ru-RU" altLang="ru-RU" sz="1400" dirty="0" smtClean="0">
                <a:solidFill>
                  <a:schemeClr val="tx1"/>
                </a:solidFill>
              </a:rPr>
              <a:t>; ПС 220 кВ 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Лодейнопольская</a:t>
            </a:r>
            <a:r>
              <a:rPr lang="ru-RU" altLang="ru-RU" sz="1400" dirty="0" smtClean="0">
                <a:solidFill>
                  <a:schemeClr val="tx1"/>
                </a:solidFill>
              </a:rPr>
              <a:t>; ПС 220 кВ </a:t>
            </a:r>
            <a:r>
              <a:rPr lang="ru-RU" altLang="ru-RU" sz="1400" dirty="0" err="1" smtClean="0">
                <a:solidFill>
                  <a:schemeClr val="tx1"/>
                </a:solidFill>
              </a:rPr>
              <a:t>Пикалевская</a:t>
            </a:r>
            <a:r>
              <a:rPr lang="ru-RU" altLang="ru-RU" sz="1400" dirty="0" smtClean="0">
                <a:solidFill>
                  <a:schemeClr val="tx1"/>
                </a:solidFill>
              </a:rPr>
              <a:t>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1"/>
                </a:solidFill>
              </a:rPr>
              <a:t>ПС </a:t>
            </a:r>
            <a:r>
              <a:rPr lang="ru-RU" altLang="ru-RU" sz="1400" dirty="0">
                <a:solidFill>
                  <a:schemeClr val="tx1"/>
                </a:solidFill>
              </a:rPr>
              <a:t>220 кВ Кемь (</a:t>
            </a:r>
            <a:r>
              <a:rPr lang="ru-RU" altLang="ru-RU" sz="1400" dirty="0" err="1">
                <a:solidFill>
                  <a:schemeClr val="tx1"/>
                </a:solidFill>
              </a:rPr>
              <a:t>г.Кемь</a:t>
            </a:r>
            <a:r>
              <a:rPr lang="ru-RU" altLang="ru-RU" sz="1400" dirty="0">
                <a:solidFill>
                  <a:schemeClr val="tx1"/>
                </a:solidFill>
              </a:rPr>
              <a:t>); ПС 220 кВ Древлянка (</a:t>
            </a:r>
            <a:r>
              <a:rPr lang="ru-RU" altLang="ru-RU" sz="1400" dirty="0" err="1">
                <a:solidFill>
                  <a:schemeClr val="tx1"/>
                </a:solidFill>
              </a:rPr>
              <a:t>г.Петрозаводск</a:t>
            </a:r>
            <a:r>
              <a:rPr lang="ru-RU" altLang="ru-RU" sz="1400" dirty="0">
                <a:solidFill>
                  <a:schemeClr val="tx1"/>
                </a:solidFill>
              </a:rPr>
              <a:t>)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ПС 220 кВ Медвежьегорск (</a:t>
            </a:r>
            <a:r>
              <a:rPr lang="ru-RU" altLang="ru-RU" sz="1400" dirty="0" err="1">
                <a:solidFill>
                  <a:schemeClr val="tx1"/>
                </a:solidFill>
              </a:rPr>
              <a:t>г.Медвежьегорск</a:t>
            </a:r>
            <a:r>
              <a:rPr lang="ru-RU" altLang="ru-RU" sz="1400" dirty="0">
                <a:solidFill>
                  <a:schemeClr val="tx1"/>
                </a:solidFill>
              </a:rPr>
              <a:t>); ПС 220 кВ Суоярви (</a:t>
            </a:r>
            <a:r>
              <a:rPr lang="ru-RU" altLang="ru-RU" sz="1400" dirty="0" err="1">
                <a:solidFill>
                  <a:schemeClr val="tx1"/>
                </a:solidFill>
              </a:rPr>
              <a:t>г.Суоярви</a:t>
            </a:r>
            <a:r>
              <a:rPr lang="ru-RU" altLang="ru-RU" sz="1400" dirty="0">
                <a:solidFill>
                  <a:schemeClr val="tx1"/>
                </a:solidFill>
              </a:rPr>
              <a:t>)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ПС 220 кВ Ляскеля (</a:t>
            </a:r>
            <a:r>
              <a:rPr lang="ru-RU" altLang="ru-RU" sz="1400" dirty="0" err="1">
                <a:solidFill>
                  <a:schemeClr val="tx1"/>
                </a:solidFill>
              </a:rPr>
              <a:t>п.Ляскеля</a:t>
            </a:r>
            <a:r>
              <a:rPr lang="ru-RU" altLang="ru-RU" sz="1400" dirty="0">
                <a:solidFill>
                  <a:schemeClr val="tx1"/>
                </a:solidFill>
              </a:rPr>
              <a:t>); ПС 220 кВ Сортавальская (</a:t>
            </a:r>
            <a:r>
              <a:rPr lang="ru-RU" altLang="ru-RU" sz="1400" dirty="0" err="1">
                <a:solidFill>
                  <a:schemeClr val="tx1"/>
                </a:solidFill>
              </a:rPr>
              <a:t>г.Сортавала</a:t>
            </a:r>
            <a:r>
              <a:rPr lang="ru-RU" altLang="ru-RU" sz="1400" dirty="0">
                <a:solidFill>
                  <a:schemeClr val="tx1"/>
                </a:solidFill>
              </a:rPr>
              <a:t>)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chemeClr val="tx1"/>
                </a:solidFill>
              </a:rPr>
              <a:t>Протяженность </a:t>
            </a:r>
            <a:r>
              <a:rPr lang="ru-RU" altLang="ru-RU" sz="1400" b="1" dirty="0">
                <a:solidFill>
                  <a:schemeClr val="tx1"/>
                </a:solidFill>
              </a:rPr>
              <a:t>ЛЭП ЕНЭС </a:t>
            </a:r>
            <a:r>
              <a:rPr lang="ru-RU" altLang="ru-RU" sz="1400" dirty="0">
                <a:solidFill>
                  <a:schemeClr val="tx1"/>
                </a:solidFill>
              </a:rPr>
              <a:t>филиала ПАО «ФСК ЕЭС» - Карельского ПМЭС 35-330 кВ  составила </a:t>
            </a:r>
            <a:r>
              <a:rPr lang="ru-RU" altLang="ru-RU" sz="1400" b="1" dirty="0">
                <a:solidFill>
                  <a:schemeClr val="tx1"/>
                </a:solidFill>
              </a:rPr>
              <a:t>2940,86 км</a:t>
            </a:r>
            <a:r>
              <a:rPr lang="ru-RU" altLang="ru-RU" sz="1400" dirty="0">
                <a:solidFill>
                  <a:schemeClr val="tx1"/>
                </a:solidFill>
              </a:rPr>
              <a:t>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i="1" dirty="0">
                <a:solidFill>
                  <a:schemeClr val="tx1"/>
                </a:solidFill>
              </a:rPr>
              <a:t>    </a:t>
            </a:r>
            <a:r>
              <a:rPr lang="ru-RU" altLang="ru-RU" sz="1400" dirty="0" smtClean="0">
                <a:solidFill>
                  <a:schemeClr val="tx1"/>
                </a:solidFill>
              </a:rPr>
              <a:t>      </a:t>
            </a:r>
            <a:r>
              <a:rPr lang="ru-RU" altLang="ru-RU" sz="1400" dirty="0">
                <a:solidFill>
                  <a:schemeClr val="tx1"/>
                </a:solidFill>
              </a:rPr>
              <a:t>Кроме того, на основании заключенного договора, осуществляется эксплуатация объектов, находящихся в собственности ПАО «Российские железные дороги»: одного РП 220 кВ Сегежа, ОРУ-220 кВ ПС 220 кВ Медвежьегорск, ОРУ-220 кВ ПС 220 кВ Кондопога. 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</a:rPr>
              <a:t>      Суммарная установленная трансформаторная мощность (силовые трансформаторы, вольтодобавочные трансформаторы и трансформаторы собственных нужд) составляет 5707,11 МВА. Количество установленных трансформаторов (включая вольтодобавочные) – 90 штук.</a:t>
            </a:r>
            <a:endParaRPr lang="ru-RU" altLang="ru-RU" sz="1400" i="1" dirty="0">
              <a:solidFill>
                <a:schemeClr val="tx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8823" y="4211498"/>
            <a:ext cx="1599483" cy="11886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854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55061" y="1865101"/>
            <a:ext cx="893245" cy="11332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0" y="0"/>
            <a:ext cx="9753600" cy="9620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8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383463" y="6862763"/>
            <a:ext cx="2274887" cy="366712"/>
          </a:xfrm>
        </p:spPr>
        <p:txBody>
          <a:bodyPr/>
          <a:lstStyle/>
          <a:p>
            <a:pPr algn="r"/>
            <a:fld id="{2B8279D9-FF1A-49EE-834E-60BDC01BDDCE}" type="slidenum">
              <a:rPr lang="en-US" altLang="ru-RU"/>
              <a:pPr algn="r"/>
              <a:t>12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56466888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0" y="0"/>
            <a:ext cx="9753600" cy="9620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</a:p>
          <a:p>
            <a:pPr algn="ctr">
              <a:defRPr/>
            </a:pPr>
            <a:r>
              <a:rPr lang="ru-RU" sz="3100" b="1" dirty="0"/>
              <a:t>основные шаги развития</a:t>
            </a:r>
            <a:endParaRPr lang="en-GB" sz="3100" b="1" dirty="0"/>
          </a:p>
        </p:txBody>
      </p:sp>
      <p:sp>
        <p:nvSpPr>
          <p:cNvPr id="36867" name="TextBox 5"/>
          <p:cNvSpPr txBox="1">
            <a:spLocks noChangeArrowheads="1"/>
          </p:cNvSpPr>
          <p:nvPr/>
        </p:nvSpPr>
        <p:spPr bwMode="auto">
          <a:xfrm>
            <a:off x="0" y="1066800"/>
            <a:ext cx="958532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002E5C"/>
                </a:solidFill>
              </a:rPr>
              <a:t>ПС 330 кВ «Княжегубская» - первая  за последние 2</a:t>
            </a:r>
            <a:r>
              <a:rPr lang="en-US" altLang="ru-RU" sz="1400" b="1">
                <a:solidFill>
                  <a:srgbClr val="002E5C"/>
                </a:solidFill>
              </a:rPr>
              <a:t>5 </a:t>
            </a:r>
            <a:r>
              <a:rPr lang="ru-RU" altLang="ru-RU" sz="1400" b="1">
                <a:solidFill>
                  <a:srgbClr val="002E5C"/>
                </a:solidFill>
              </a:rPr>
              <a:t>лет новая подстанция, построенная за Полярным кругом,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002E5C"/>
                </a:solidFill>
              </a:rPr>
              <a:t> сдана в эксплуатацию в 2009 году ( установленной суммарной мощностью один автотрансформатор 250 кВА)</a:t>
            </a:r>
            <a:endParaRPr lang="ru-RU" altLang="ru-RU" sz="1600" i="1">
              <a:solidFill>
                <a:schemeClr val="tx1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2E5C"/>
                </a:solidFill>
              </a:rPr>
              <a:t>.</a:t>
            </a:r>
          </a:p>
        </p:txBody>
      </p:sp>
      <p:sp>
        <p:nvSpPr>
          <p:cNvPr id="36868" name="TextBox 8"/>
          <p:cNvSpPr txBox="1">
            <a:spLocks noChangeArrowheads="1"/>
          </p:cNvSpPr>
          <p:nvPr/>
        </p:nvSpPr>
        <p:spPr bwMode="auto">
          <a:xfrm>
            <a:off x="5305425" y="1476375"/>
            <a:ext cx="37147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>
              <a:solidFill>
                <a:schemeClr val="tx1"/>
              </a:solidFill>
            </a:endParaRPr>
          </a:p>
        </p:txBody>
      </p:sp>
      <p:sp>
        <p:nvSpPr>
          <p:cNvPr id="36869" name="TextBox 9"/>
          <p:cNvSpPr txBox="1">
            <a:spLocks noChangeArrowheads="1"/>
          </p:cNvSpPr>
          <p:nvPr/>
        </p:nvSpPr>
        <p:spPr bwMode="auto">
          <a:xfrm>
            <a:off x="3505200" y="1885950"/>
            <a:ext cx="35623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>
              <a:solidFill>
                <a:schemeClr val="tx1"/>
              </a:solidFill>
            </a:endParaRPr>
          </a:p>
        </p:txBody>
      </p:sp>
      <p:pic>
        <p:nvPicPr>
          <p:cNvPr id="26631" name="Рисунок 12" descr="T:\ПС-206 фото\1IMG_00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57621"/>
            <a:ext cx="3124200" cy="3130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2" name="Рисунок 14" descr="T:\ПС-206 фото\IMG_0096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62177" y="4303735"/>
            <a:ext cx="3625702" cy="30114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3" name="Рисунок 18" descr="T:\ПС-206 фото\PICT778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62725" y="1536182"/>
            <a:ext cx="3190875" cy="31527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35" name="Picture 6" descr="IMG_006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86393" y="4819429"/>
            <a:ext cx="2865188" cy="19747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6874" name="Прямоугольник 27"/>
          <p:cNvSpPr>
            <a:spLocks noChangeArrowheads="1"/>
          </p:cNvSpPr>
          <p:nvPr/>
        </p:nvSpPr>
        <p:spPr bwMode="auto">
          <a:xfrm>
            <a:off x="3094038" y="6373813"/>
            <a:ext cx="16811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chemeClr val="bg1"/>
                </a:solidFill>
              </a:rPr>
              <a:t>АРМ-дежурного ПС-206.</a:t>
            </a:r>
          </a:p>
        </p:txBody>
      </p:sp>
      <p:pic>
        <p:nvPicPr>
          <p:cNvPr id="26643" name="Picture 1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98174" y="1607288"/>
            <a:ext cx="3514725" cy="2590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644" name="Picture 2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4633021"/>
            <a:ext cx="2923953" cy="21122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Номер слайда 1"/>
          <p:cNvSpPr txBox="1">
            <a:spLocks/>
          </p:cNvSpPr>
          <p:nvPr/>
        </p:nvSpPr>
        <p:spPr>
          <a:xfrm>
            <a:off x="7383463" y="6862763"/>
            <a:ext cx="2274887" cy="366712"/>
          </a:xfrm>
          <a:prstGeom prst="rect">
            <a:avLst/>
          </a:prstGeom>
        </p:spPr>
        <p:txBody>
          <a:bodyPr lIns="36000" tIns="48765" rIns="97530" bIns="48765" anchor="ctr"/>
          <a:lstStyle/>
          <a:p>
            <a:pPr algn="r"/>
            <a:fld id="{0FD3B0A0-60B4-419B-9B90-C01C0FB3585F}" type="slidenum">
              <a:rPr lang="en-US" altLang="ru-RU" sz="1300">
                <a:solidFill>
                  <a:srgbClr val="898989"/>
                </a:solidFill>
              </a:rPr>
              <a:pPr algn="r"/>
              <a:t>13</a:t>
            </a:fld>
            <a:endParaRPr lang="en-US" altLang="ru-RU" sz="130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5148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AAF0D5-F663-42DA-AE69-9CC336FC7084}" type="slidenum">
              <a:rPr lang="en-US" altLang="ru-RU"/>
              <a:pPr/>
              <a:t>14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0" y="0"/>
            <a:ext cx="9753600" cy="914400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</a:p>
          <a:p>
            <a:pPr algn="ctr">
              <a:defRPr/>
            </a:pPr>
            <a:r>
              <a:rPr lang="ru-RU" sz="3100" b="1" dirty="0"/>
              <a:t>основные шаги развития</a:t>
            </a:r>
            <a:endParaRPr lang="en-GB" sz="3100" b="1" dirty="0"/>
          </a:p>
        </p:txBody>
      </p:sp>
      <p:sp>
        <p:nvSpPr>
          <p:cNvPr id="37892" name="Прямоугольник 3"/>
          <p:cNvSpPr>
            <a:spLocks noChangeArrowheads="1"/>
          </p:cNvSpPr>
          <p:nvPr/>
        </p:nvSpPr>
        <p:spPr bwMode="auto">
          <a:xfrm>
            <a:off x="2401888" y="1004888"/>
            <a:ext cx="4876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002E5C"/>
                </a:solidFill>
              </a:rPr>
              <a:t>ПС 330 кВ «Лоухи»</a:t>
            </a:r>
          </a:p>
        </p:txBody>
      </p:sp>
      <p:pic>
        <p:nvPicPr>
          <p:cNvPr id="28680" name="Рисунок 9" descr="T:\ПС Лоухи 19 августа\Изображение 01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3283" y="4874698"/>
            <a:ext cx="3253563" cy="24405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1" name="Рисунок 10" descr="T:\ПС Лоухи 19 августа\Изображение 04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19778" y="5263973"/>
            <a:ext cx="3033822" cy="20512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6" name="Picture 1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44678" y="1272696"/>
            <a:ext cx="3001373" cy="21157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7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18437" y="1329070"/>
            <a:ext cx="2647508" cy="20829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8" name="Picture 1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64326" y="1299166"/>
            <a:ext cx="2789274" cy="20852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Rectangle 88"/>
          <p:cNvSpPr>
            <a:spLocks noChangeArrowheads="1"/>
          </p:cNvSpPr>
          <p:nvPr/>
        </p:nvSpPr>
        <p:spPr bwMode="auto">
          <a:xfrm>
            <a:off x="127591" y="1690577"/>
            <a:ext cx="1254642" cy="897267"/>
          </a:xfrm>
          <a:prstGeom prst="rect">
            <a:avLst/>
          </a:prstGeom>
          <a:ln>
            <a:noFill/>
          </a:ln>
          <a:effectLst>
            <a:softEdge rad="112500"/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одстанция 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Лоухи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старого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околения</a:t>
            </a:r>
            <a:endParaRPr lang="ru-RU" sz="1600" dirty="0"/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0" y="3424238"/>
            <a:ext cx="9753600" cy="20637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8689" name="Picture 1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62017" y="3402418"/>
            <a:ext cx="2696991" cy="19032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90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02064" y="3561907"/>
            <a:ext cx="2990121" cy="37532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" name="Rectangle 88"/>
          <p:cNvSpPr>
            <a:spLocks noChangeArrowheads="1"/>
          </p:cNvSpPr>
          <p:nvPr/>
        </p:nvSpPr>
        <p:spPr bwMode="auto">
          <a:xfrm>
            <a:off x="492642" y="3884429"/>
            <a:ext cx="2686493" cy="719469"/>
          </a:xfrm>
          <a:prstGeom prst="rect">
            <a:avLst/>
          </a:prstGeom>
          <a:ln>
            <a:noFill/>
          </a:ln>
          <a:effectLst>
            <a:softEdge rad="112500"/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одстанция Лоухи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Нового поколения</a:t>
            </a:r>
            <a:endParaRPr lang="ru-RU" sz="1600" dirty="0"/>
          </a:p>
        </p:txBody>
      </p:sp>
      <p:sp>
        <p:nvSpPr>
          <p:cNvPr id="15" name="Номер слайда 1"/>
          <p:cNvSpPr txBox="1">
            <a:spLocks/>
          </p:cNvSpPr>
          <p:nvPr/>
        </p:nvSpPr>
        <p:spPr>
          <a:xfrm>
            <a:off x="7383463" y="6862763"/>
            <a:ext cx="2274887" cy="366712"/>
          </a:xfrm>
          <a:prstGeom prst="rect">
            <a:avLst/>
          </a:prstGeom>
        </p:spPr>
        <p:txBody>
          <a:bodyPr lIns="36000" tIns="48765" rIns="97530" bIns="48765" anchor="ctr"/>
          <a:lstStyle/>
          <a:p>
            <a:pPr algn="r"/>
            <a:fld id="{FD9B22D1-988C-4A6E-A185-BAE932BA243B}" type="slidenum">
              <a:rPr lang="en-US" altLang="ru-RU" sz="1300">
                <a:solidFill>
                  <a:srgbClr val="898989"/>
                </a:solidFill>
              </a:rPr>
              <a:pPr algn="r"/>
              <a:t>14</a:t>
            </a:fld>
            <a:endParaRPr lang="en-US" altLang="ru-RU" sz="130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70574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B7997-1FA1-49C8-9B3E-7B4005319FD8}" type="slidenum">
              <a:rPr lang="en-US" altLang="ru-RU"/>
              <a:pPr/>
              <a:t>15</a:t>
            </a:fld>
            <a:endParaRPr lang="en-US" altLang="ru-RU"/>
          </a:p>
        </p:txBody>
      </p:sp>
      <p:pic>
        <p:nvPicPr>
          <p:cNvPr id="38915" name="Picture 2" descr="O:\Кистин\Фото для презентации\P107055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775" y="4265613"/>
            <a:ext cx="4387850" cy="2468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6" name="Picture 3" descr="O:\Кистин\Фото для презентации\P104045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1387475"/>
            <a:ext cx="4322763" cy="243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629275" y="1085850"/>
            <a:ext cx="3552825" cy="4740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1" i="1" dirty="0"/>
              <a:t>Подстанция 330 кВ Выходной</a:t>
            </a:r>
          </a:p>
          <a:p>
            <a:pPr algn="ctr">
              <a:defRPr/>
            </a:pPr>
            <a:endParaRPr lang="ru-RU" sz="1800" b="1" i="1" dirty="0"/>
          </a:p>
          <a:p>
            <a:pPr>
              <a:defRPr/>
            </a:pPr>
            <a:r>
              <a:rPr lang="ru-RU" sz="1800" i="1" dirty="0"/>
              <a:t>Поселок Выходной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Введена в работу в 1966 году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Установленной суммарной мощностью двух  автотрансформаторов 500 МВА</a:t>
            </a:r>
          </a:p>
          <a:p>
            <a:pPr algn="ctr">
              <a:defRPr/>
            </a:pPr>
            <a:endParaRPr lang="ru-RU" sz="1800" dirty="0"/>
          </a:p>
          <a:p>
            <a:pPr>
              <a:defRPr/>
            </a:pPr>
            <a:endParaRPr lang="ru-RU" sz="18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pic>
        <p:nvPicPr>
          <p:cNvPr id="38919" name="Picture 1" descr="O:\Кистин\Фото для презентации\P104045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25" y="4276725"/>
            <a:ext cx="4368800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8046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677A64-F36C-4A22-8C68-45107A1C466C}" type="slidenum">
              <a:rPr lang="en-US" altLang="ru-RU"/>
              <a:pPr/>
              <a:t>16</a:t>
            </a:fld>
            <a:endParaRPr lang="en-US" altLang="ru-RU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629275" y="1085850"/>
            <a:ext cx="3552825" cy="4740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1" i="1" dirty="0"/>
              <a:t>Подстанция 330 кВ Оленегорск</a:t>
            </a:r>
          </a:p>
          <a:p>
            <a:pPr algn="ctr">
              <a:defRPr/>
            </a:pPr>
            <a:endParaRPr lang="ru-RU" sz="1800" b="1" i="1" dirty="0"/>
          </a:p>
          <a:p>
            <a:pPr>
              <a:defRPr/>
            </a:pPr>
            <a:r>
              <a:rPr lang="ru-RU" sz="1800" i="1" dirty="0"/>
              <a:t>Город Оленегорск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Введена в работу в 1985 году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Установленной суммарной мощностью двух  автотрансформаторов 250 МВА</a:t>
            </a:r>
          </a:p>
          <a:p>
            <a:pPr algn="ctr">
              <a:defRPr/>
            </a:pPr>
            <a:endParaRPr lang="ru-RU" sz="1800" dirty="0"/>
          </a:p>
          <a:p>
            <a:pPr>
              <a:defRPr/>
            </a:pPr>
            <a:endParaRPr lang="ru-RU" sz="18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pic>
        <p:nvPicPr>
          <p:cNvPr id="39941" name="Picture 1" descr="O:\Дудченко\Фото ПС -202\P107086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0" y="1181100"/>
            <a:ext cx="3568700" cy="267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2" name="Picture 2" descr="O:\Дудченко\Фото ПС -202\P108002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925" y="4114800"/>
            <a:ext cx="3568700" cy="267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3" name="Picture 3" descr="O:\Дудченко\Фото ПС -202\P108002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725" y="4090988"/>
            <a:ext cx="3590925" cy="269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9870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154F2-7E8D-4EDA-9FE7-42F7D785D09B}" type="slidenum">
              <a:rPr lang="en-US" altLang="ru-RU"/>
              <a:pPr/>
              <a:t>17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372100" y="1085850"/>
            <a:ext cx="3810000" cy="4740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1" i="1" dirty="0"/>
              <a:t>Подстанция 330 кВ Мончегорск</a:t>
            </a:r>
          </a:p>
          <a:p>
            <a:pPr algn="ctr">
              <a:defRPr/>
            </a:pPr>
            <a:endParaRPr lang="ru-RU" sz="1800" b="1" i="1" dirty="0"/>
          </a:p>
          <a:p>
            <a:pPr>
              <a:defRPr/>
            </a:pPr>
            <a:r>
              <a:rPr lang="ru-RU" sz="1800" i="1" dirty="0"/>
              <a:t>Город Мончегорск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Введена в работу в 1972 году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Установленной суммарной мощностью четырех  автотрансформаторов 1000 МВА</a:t>
            </a:r>
          </a:p>
          <a:p>
            <a:pPr algn="ctr">
              <a:defRPr/>
            </a:pPr>
            <a:endParaRPr lang="ru-RU" sz="1800" dirty="0"/>
          </a:p>
          <a:p>
            <a:pPr>
              <a:defRPr/>
            </a:pPr>
            <a:endParaRPr lang="ru-RU" sz="18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pic>
        <p:nvPicPr>
          <p:cNvPr id="40965" name="Picture 1" descr="C:\Documents and Settings\dudchenko\Рабочий стол\ФОТО\P108045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" y="1098550"/>
            <a:ext cx="3765550" cy="282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6" name="Picture 2" descr="C:\Documents and Settings\dudchenko\Рабочий стол\ФОТО\P110038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3968750"/>
            <a:ext cx="3770312" cy="28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7" name="Picture 3" descr="C:\Documents and Settings\dudchenko\Рабочий стол\ФОТО\ПС-1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550" y="3962400"/>
            <a:ext cx="3789363" cy="28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9253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1BC09-1F36-4F0D-A311-1E0085458E69}" type="slidenum">
              <a:rPr lang="en-US" altLang="ru-RU"/>
              <a:pPr/>
              <a:t>18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372100" y="1085850"/>
            <a:ext cx="3810000" cy="4740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1" i="1" dirty="0"/>
              <a:t>Подстанция 330 кВ Титан</a:t>
            </a:r>
          </a:p>
          <a:p>
            <a:pPr algn="ctr">
              <a:defRPr/>
            </a:pPr>
            <a:endParaRPr lang="ru-RU" sz="1800" b="1" i="1" dirty="0"/>
          </a:p>
          <a:p>
            <a:pPr>
              <a:defRPr/>
            </a:pPr>
            <a:r>
              <a:rPr lang="ru-RU" sz="1800" i="1" dirty="0"/>
              <a:t>Город Апатиты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Введена в работу в 1988 году.</a:t>
            </a:r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i="1" dirty="0"/>
              <a:t>Установленной суммарной мощностью двух  автотрансформаторов 500 МВА</a:t>
            </a:r>
          </a:p>
          <a:p>
            <a:pPr algn="ctr">
              <a:defRPr/>
            </a:pPr>
            <a:endParaRPr lang="ru-RU" sz="1800" dirty="0"/>
          </a:p>
          <a:p>
            <a:pPr>
              <a:defRPr/>
            </a:pPr>
            <a:endParaRPr lang="ru-RU" sz="18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pic>
        <p:nvPicPr>
          <p:cNvPr id="41989" name="Picture 3" descr="C:\Documents and Settings\dudchenko\Рабочий стол\ФОТО\P103072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" y="1179513"/>
            <a:ext cx="3649663" cy="273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Picture 4" descr="C:\Documents and Settings\dudchenko\Рабочий стол\ФОТО\P103072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38" y="4006850"/>
            <a:ext cx="3646487" cy="273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Picture 5" descr="C:\Documents and Settings\dudchenko\Рабочий стол\ФОТО\P103072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300" y="3994150"/>
            <a:ext cx="3662363" cy="274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2824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1229005" y="1019345"/>
            <a:ext cx="7700683" cy="6286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marL="0" marR="0" lvl="0" indent="0" algn="ctr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Schoolbook" pitchFamily="18" charset="0"/>
              <a:ea typeface="Batang" pitchFamily="18" charset="-127"/>
              <a:cs typeface="Aharoni" pitchFamily="2" charset="-79"/>
            </a:endParaRPr>
          </a:p>
        </p:txBody>
      </p:sp>
      <p:grpSp>
        <p:nvGrpSpPr>
          <p:cNvPr id="13317" name="Rounded Rectangle 13"/>
          <p:cNvGrpSpPr>
            <a:grpSpLocks/>
          </p:cNvGrpSpPr>
          <p:nvPr/>
        </p:nvGrpSpPr>
        <p:grpSpPr bwMode="auto">
          <a:xfrm>
            <a:off x="476250" y="3105150"/>
            <a:ext cx="8801100" cy="4067175"/>
            <a:chOff x="2807" y="649"/>
            <a:chExt cx="3157" cy="1832"/>
          </a:xfrm>
        </p:grpSpPr>
        <p:pic>
          <p:nvPicPr>
            <p:cNvPr id="13328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7" y="649"/>
              <a:ext cx="3157" cy="1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29" name="Text Box 13"/>
            <p:cNvSpPr txBox="1">
              <a:spLocks noChangeArrowheads="1"/>
            </p:cNvSpPr>
            <p:nvPr/>
          </p:nvSpPr>
          <p:spPr bwMode="auto">
            <a:xfrm>
              <a:off x="2879" y="719"/>
              <a:ext cx="3015" cy="1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4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7472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7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Bk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23245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57350" y="3295650"/>
            <a:ext cx="6400800" cy="359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3975" name="Title 1"/>
          <p:cNvSpPr>
            <a:spLocks noGrp="1"/>
          </p:cNvSpPr>
          <p:nvPr>
            <p:ph type="title" idx="4294967295"/>
          </p:nvPr>
        </p:nvSpPr>
        <p:spPr>
          <a:xfrm>
            <a:off x="600075" y="0"/>
            <a:ext cx="8715375" cy="84772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/>
          <a:lstStyle/>
          <a:p>
            <a:pPr algn="ctr" eaLnBrk="1" hangingPunct="1">
              <a:defRPr/>
            </a:pPr>
            <a:r>
              <a:rPr lang="ru-RU" sz="3100" dirty="0" err="1" smtClean="0"/>
              <a:t>Россети</a:t>
            </a:r>
            <a:r>
              <a:rPr lang="ru-RU" sz="3100" dirty="0" smtClean="0"/>
              <a:t>- </a:t>
            </a:r>
            <a:r>
              <a:rPr lang="ru-RU" sz="3100" dirty="0" smtClean="0"/>
              <a:t>естественная монополия</a:t>
            </a:r>
            <a:endParaRPr lang="en-GB" sz="3100" dirty="0" smtClean="0"/>
          </a:p>
        </p:txBody>
      </p:sp>
      <p:grpSp>
        <p:nvGrpSpPr>
          <p:cNvPr id="13320" name="Rectangle 126"/>
          <p:cNvGrpSpPr>
            <a:grpSpLocks/>
          </p:cNvGrpSpPr>
          <p:nvPr/>
        </p:nvGrpSpPr>
        <p:grpSpPr bwMode="auto">
          <a:xfrm>
            <a:off x="1133475" y="6467475"/>
            <a:ext cx="923925" cy="733425"/>
            <a:chOff x="3080" y="733"/>
            <a:chExt cx="199" cy="204"/>
          </a:xfrm>
        </p:grpSpPr>
        <p:pic>
          <p:nvPicPr>
            <p:cNvPr id="84018" name="Rectangle 126"/>
            <p:cNvPicPr>
              <a:picLocks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080" y="733"/>
              <a:ext cx="199" cy="20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3327" name="Text Box 21"/>
            <p:cNvSpPr txBox="1">
              <a:spLocks noChangeArrowheads="1"/>
            </p:cNvSpPr>
            <p:nvPr/>
          </p:nvSpPr>
          <p:spPr bwMode="auto">
            <a:xfrm>
              <a:off x="3108" y="760"/>
              <a:ext cx="113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/>
            <a:lstStyle>
              <a:lvl1pPr defTabSz="973138" eaLnBrk="0" hangingPunct="0">
                <a:spcBef>
                  <a:spcPct val="20000"/>
                </a:spcBef>
                <a:buBlip>
                  <a:blip r:embed="rId4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defTabSz="973138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defTabSz="973138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defTabSz="973138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defTabSz="973138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31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31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31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31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7313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3979" name="Text Box 5"/>
          <p:cNvSpPr txBox="1">
            <a:spLocks noChangeArrowheads="1"/>
          </p:cNvSpPr>
          <p:nvPr/>
        </p:nvSpPr>
        <p:spPr bwMode="auto">
          <a:xfrm>
            <a:off x="1782763" y="6688138"/>
            <a:ext cx="4111625" cy="3778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5976" tIns="49907" rIns="95976" bIns="49907">
            <a:spAutoFit/>
          </a:bodyPr>
          <a:lstStyle/>
          <a:p>
            <a:pPr marL="0" marR="0" lvl="0" indent="0" algn="l" defTabSz="97313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- Зоны покрытия 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Россети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322" name="Slide Number Placeholder 22"/>
          <p:cNvSpPr txBox="1">
            <a:spLocks noGrp="1"/>
          </p:cNvSpPr>
          <p:nvPr/>
        </p:nvSpPr>
        <p:spPr bwMode="auto">
          <a:xfrm>
            <a:off x="109538" y="6808788"/>
            <a:ext cx="2273300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3" tIns="48756" rIns="97512" bIns="48756" anchor="ctr"/>
          <a:lstStyle>
            <a:lvl1pPr eaLnBrk="0" hangingPunct="0">
              <a:spcBef>
                <a:spcPct val="20000"/>
              </a:spcBef>
              <a:buBlip>
                <a:blip r:embed="rId4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altLang="ru-RU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92188" y="1800225"/>
            <a:ext cx="7937500" cy="130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Естественная монополия в секторе передачи электроэнергии на территории Российской Федерации</a:t>
            </a:r>
          </a:p>
          <a:p>
            <a:pPr marL="0" marR="0" lvl="0" indent="0" algn="l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Крупнейшая в мире компания по протяженности линий электропередачи и трансформаторной мощности по  напряжению 220 кВ и выше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677988" y="984250"/>
            <a:ext cx="647065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74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ПАО «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Россети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» Карельское ПМЭС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325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7813" y="3446463"/>
            <a:ext cx="8763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73829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-1"/>
            <a:ext cx="8562975" cy="640081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2800" b="1" dirty="0" smtClean="0"/>
              <a:t>ПС 400 кВ Выборгская</a:t>
            </a:r>
            <a:endParaRPr lang="en-GB" sz="2800" b="1" dirty="0"/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6519" y="887096"/>
            <a:ext cx="9054352" cy="2602732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 algn="just"/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В  2016 году </a:t>
            </a:r>
            <a:r>
              <a:rPr lang="ru-RU" sz="16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была проведена реорганизация </a:t>
            </a: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Карельского ПМЭС посредством передачи электросетевого комплекса, обслуживаемого Выборгским </a:t>
            </a:r>
            <a:r>
              <a:rPr lang="ru-RU" sz="16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ПМЭС, </a:t>
            </a: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Карельскому ПМЭС. Крупнейшим переданным объектом </a:t>
            </a:r>
            <a:r>
              <a:rPr lang="ru-RU" sz="16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является </a:t>
            </a: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ПС 400 кВ Выборгская, на которой эксплуатируется   единственная в России вставка постоянного тока (далее ВПТ). С использованием ВПТ осуществляется экспорт электроэнергии из России в Финляндию. Переменный ток 330 кВ преобразуется в постоянный ток двухполюсной линии-вставки +/- 85 кВ (длиной порядка 20 м в пределах подстанции). На другом конце вставки постоянный ток инвертируется в переменный напряжением 400 кВ и уходит к потребителям в Финляндии. На данный момент передаваемая мощность составляет 1400 МВт, что делает вставку самой мощной в </a:t>
            </a:r>
            <a:r>
              <a:rPr lang="ru-RU" sz="16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России.</a:t>
            </a:r>
            <a:endParaRPr lang="ru-RU" sz="16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  <a:p>
            <a:pPr algn="just"/>
            <a:endParaRPr lang="ru-RU" sz="16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027" name="Picture 3" descr="T:\для презентации\IMG_275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5" y="3826202"/>
            <a:ext cx="4714332" cy="291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3829050"/>
            <a:ext cx="4376737" cy="2914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24231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76F70-5C6A-4453-9C93-5FD3EE5CEDC1}" type="slidenum">
              <a:rPr lang="en-US" altLang="ru-RU"/>
              <a:pPr/>
              <a:t>20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Новые объекты Филиала</a:t>
            </a:r>
            <a:endParaRPr lang="en-GB" sz="3100" b="1" dirty="0"/>
          </a:p>
        </p:txBody>
      </p:sp>
      <p:grpSp>
        <p:nvGrpSpPr>
          <p:cNvPr id="18436" name="Rounded Rectangle 13"/>
          <p:cNvGrpSpPr>
            <a:grpSpLocks/>
          </p:cNvGrpSpPr>
          <p:nvPr/>
        </p:nvGrpSpPr>
        <p:grpSpPr bwMode="auto">
          <a:xfrm>
            <a:off x="338138" y="4473575"/>
            <a:ext cx="9267825" cy="2427288"/>
            <a:chOff x="292" y="731"/>
            <a:chExt cx="2458" cy="2411"/>
          </a:xfrm>
        </p:grpSpPr>
        <p:sp>
          <p:nvSpPr>
            <p:cNvPr id="18486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2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18487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" y="922"/>
              <a:ext cx="2458" cy="2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65" name="Прямоугольник 14"/>
          <p:cNvSpPr>
            <a:spLocks noChangeArrowheads="1"/>
          </p:cNvSpPr>
          <p:nvPr/>
        </p:nvSpPr>
        <p:spPr bwMode="auto">
          <a:xfrm>
            <a:off x="631825" y="4851400"/>
            <a:ext cx="8815388" cy="220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600" b="1" dirty="0">
                <a:latin typeface="+mn-lt"/>
                <a:cs typeface="+mn-cs"/>
              </a:rPr>
              <a:t>При строительстве новых ПС установлено оборудование самых последних конструкторских разработок, выполненных с соблюдением высоких экологических, санитарных,  </a:t>
            </a:r>
            <a:r>
              <a:rPr lang="ru-RU" sz="1600" b="1" dirty="0" err="1">
                <a:latin typeface="+mn-lt"/>
                <a:cs typeface="+mn-cs"/>
              </a:rPr>
              <a:t>шумоизоляционных</a:t>
            </a:r>
            <a:r>
              <a:rPr lang="ru-RU" sz="1600" b="1" dirty="0">
                <a:latin typeface="+mn-lt"/>
                <a:cs typeface="+mn-cs"/>
              </a:rPr>
              <a:t> и электромагнитных норм, соответствующих единым Европейским нормам.</a:t>
            </a:r>
          </a:p>
          <a:p>
            <a:pPr algn="just">
              <a:defRPr/>
            </a:pPr>
            <a:r>
              <a:rPr lang="ru-RU" sz="1600" b="1" dirty="0">
                <a:latin typeface="+mn-lt"/>
                <a:cs typeface="+mn-cs"/>
              </a:rPr>
              <a:t>Построенные и строящиеся ПС по своей комплектации и оснащением устройствами защиты и управления технологическими процессами практически являются элементами будущих «Умных, самоуправляемых» сетей».</a:t>
            </a:r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en-GB" b="1" dirty="0"/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221030"/>
              </p:ext>
            </p:extLst>
          </p:nvPr>
        </p:nvGraphicFramePr>
        <p:xfrm>
          <a:off x="593725" y="1231900"/>
          <a:ext cx="5756275" cy="2968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373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87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728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№ </a:t>
                      </a:r>
                      <a:r>
                        <a:rPr lang="ru-RU" sz="1400" dirty="0" err="1" smtClean="0"/>
                        <a:t>п</a:t>
                      </a:r>
                      <a:r>
                        <a:rPr lang="ru-RU" sz="1400" dirty="0" smtClean="0"/>
                        <a:t>/</a:t>
                      </a:r>
                      <a:r>
                        <a:rPr lang="ru-RU" sz="1400" dirty="0" err="1" smtClean="0"/>
                        <a:t>п</a:t>
                      </a:r>
                      <a:endParaRPr lang="ru-RU" sz="1400" dirty="0"/>
                    </a:p>
                  </a:txBody>
                  <a:tcPr marL="91437" marR="91437" marT="45719" marB="45719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именование ПС</a:t>
                      </a:r>
                      <a:endParaRPr lang="ru-RU" sz="1400" dirty="0"/>
                    </a:p>
                  </a:txBody>
                  <a:tcPr marL="91437" marR="91437" marT="45719" marB="45719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едприятие</a:t>
                      </a:r>
                      <a:endParaRPr lang="ru-RU" sz="1400" dirty="0"/>
                    </a:p>
                  </a:txBody>
                  <a:tcPr marL="91437" marR="91437" marT="45719" marB="45719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963">
                <a:tc gridSpan="4">
                  <a:txBody>
                    <a:bodyPr/>
                    <a:lstStyle/>
                    <a:p>
                      <a:r>
                        <a:rPr lang="ru-RU" sz="1400" b="1" dirty="0" smtClean="0"/>
                        <a:t>Новейшие подстанции:</a:t>
                      </a:r>
                      <a:endParaRPr lang="ru-RU" sz="1400" b="1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963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1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0" dirty="0" smtClean="0"/>
                        <a:t>ПС 330 кВ Мурманская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Карельское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3963">
                <a:tc gridSpan="4">
                  <a:txBody>
                    <a:bodyPr/>
                    <a:lstStyle/>
                    <a:p>
                      <a:pPr algn="l"/>
                      <a:r>
                        <a:rPr lang="ru-RU" sz="1400" b="1" dirty="0" smtClean="0"/>
                        <a:t>Строящиеся подстанции:</a:t>
                      </a:r>
                      <a:endParaRPr lang="ru-RU" sz="1400" b="1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3963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3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0" dirty="0" smtClean="0"/>
                        <a:t>РП 330 кВ Борей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Карельское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3963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4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0" dirty="0" smtClean="0"/>
                        <a:t>РП 330 кВ Каменный Бор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Карельское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3963">
                <a:tc gridSpan="4">
                  <a:txBody>
                    <a:bodyPr/>
                    <a:lstStyle/>
                    <a:p>
                      <a:pPr algn="l"/>
                      <a:r>
                        <a:rPr lang="ru-RU" sz="1400" b="1" dirty="0" smtClean="0"/>
                        <a:t>Реконструируемые подстанции:</a:t>
                      </a:r>
                      <a:endParaRPr lang="ru-RU" sz="1400" b="1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963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6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0" dirty="0" smtClean="0"/>
                        <a:t>ПС 330 кВ Петрозаводск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Карельское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3963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7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0" dirty="0" smtClean="0"/>
                        <a:t>ПС 330 кВ Тихвин-Литейный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Карельское</a:t>
                      </a:r>
                      <a:endParaRPr lang="ru-RU" sz="1400" b="0" dirty="0"/>
                    </a:p>
                  </a:txBody>
                  <a:tcPr marL="91437" marR="91437" marT="45719" marB="4571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18492" name="Picture 60" descr="C:\Users\Polyakova_NV\Desktop\Фото для презентации\ПОДСТАНЦИИ\Panorama1 persp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7934" y="2873734"/>
            <a:ext cx="2793394" cy="17548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493" name="Picture 61" descr="C:\Users\Polyakova_NV\Desktop\Фото для презентации\Для Наташи\IMG_596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35563" y="1072562"/>
            <a:ext cx="2718060" cy="181203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51274095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A8E46-471E-4B14-962A-775F9872F3E5}" type="slidenum">
              <a:rPr lang="en-US" altLang="ru-RU"/>
              <a:pPr/>
              <a:t>21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76263" y="0"/>
            <a:ext cx="8562975" cy="766763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оциальная политика Компании</a:t>
            </a:r>
            <a:endParaRPr lang="en-GB" sz="3100" b="1" dirty="0"/>
          </a:p>
        </p:txBody>
      </p:sp>
      <p:sp>
        <p:nvSpPr>
          <p:cNvPr id="4" name="Rounded Rectangle 10"/>
          <p:cNvSpPr>
            <a:spLocks noChangeArrowheads="1"/>
          </p:cNvSpPr>
          <p:nvPr/>
        </p:nvSpPr>
        <p:spPr bwMode="auto">
          <a:xfrm>
            <a:off x="2931735" y="772998"/>
            <a:ext cx="6523349" cy="6410227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  <a:alpha val="76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27000" h="127000"/>
            <a:bevelB w="254000" h="254000"/>
          </a:sp3d>
        </p:spPr>
        <p:style>
          <a:lnRef idx="2">
            <a:scrgbClr r="0" g="0" b="0"/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7524" tIns="48762" rIns="97524" bIns="48762" anchor="ctr"/>
          <a:lstStyle/>
          <a:p>
            <a:pPr marL="192088" indent="-192088" defTabSz="973138" eaLnBrk="0" hangingPunct="0">
              <a:spcBef>
                <a:spcPct val="20000"/>
              </a:spcBef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marL="192088" indent="-192088" defTabSz="973138" eaLnBrk="0" hangingPunct="0">
              <a:spcBef>
                <a:spcPct val="20000"/>
              </a:spcBef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marL="192088" indent="-192088" defTabSz="973138" eaLnBrk="0" hangingPunct="0">
              <a:spcBef>
                <a:spcPct val="20000"/>
              </a:spcBef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marL="342900" indent="-342900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     </a:t>
            </a:r>
          </a:p>
          <a:p>
            <a:pPr marL="342900" indent="-342900" defTabSz="973138" eaLnBrk="0" hangingPunct="0">
              <a:spcBef>
                <a:spcPct val="20000"/>
              </a:spcBef>
              <a:defRPr/>
            </a:pPr>
            <a:endParaRPr lang="ru-RU" sz="1600" b="1" dirty="0">
              <a:solidFill>
                <a:schemeClr val="tx1"/>
              </a:solidFill>
            </a:endParaRPr>
          </a:p>
          <a:p>
            <a:pPr marL="442913" indent="-179388" defTabSz="973138" eaLnBrk="0" hangingPunct="0">
              <a:spcBef>
                <a:spcPts val="0"/>
              </a:spcBef>
              <a:defRPr/>
            </a:pPr>
            <a:endParaRPr lang="en-US" sz="1600" b="1" dirty="0">
              <a:solidFill>
                <a:schemeClr val="tx1"/>
              </a:solidFill>
            </a:endParaRPr>
          </a:p>
          <a:p>
            <a:pPr marL="358775" indent="-274638" defTabSz="973138" eaLnBrk="0" hangingPunct="0">
              <a:spcBef>
                <a:spcPts val="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1.  Работа в крупной стабильной Компании.</a:t>
            </a:r>
            <a:r>
              <a:rPr lang="ru-RU" sz="1600" b="1" dirty="0">
                <a:solidFill>
                  <a:schemeClr val="bg1"/>
                </a:solidFill>
              </a:rPr>
              <a:t>	</a:t>
            </a:r>
          </a:p>
          <a:p>
            <a:pPr marL="358775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2.  Гарантированный и конкурентоспособный уровень заработной платы.</a:t>
            </a:r>
          </a:p>
          <a:p>
            <a:pPr marL="358775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3.  Индексация в связи с ростом потребительских цен.</a:t>
            </a:r>
          </a:p>
          <a:p>
            <a:pPr marL="358775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4.  Надбавка за выслугу лет в отрасли до 30% от оклада.</a:t>
            </a:r>
          </a:p>
          <a:p>
            <a:pPr marL="358775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5.  Система постоянного повышения квалификации за счет   средств работодателя.</a:t>
            </a:r>
          </a:p>
          <a:p>
            <a:pPr marL="358775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6.  Расширенный социальный пакет, в который входит: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ДМС, страхование от несчастных случаев и болезней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Компенсация затрат на посещение спортклуба; 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Материальная помощь к отпуску в размере до 1,5 окладов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Материальная помощь в сложных жизненных ситуациях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Оплата отдыха детей (детские оздоровительные лагеря,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санатории и пр.)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7.  </a:t>
            </a:r>
            <a:r>
              <a:rPr lang="ru-RU" sz="1600" b="1" dirty="0">
                <a:solidFill>
                  <a:schemeClr val="tx1"/>
                </a:solidFill>
              </a:rPr>
              <a:t>Возможность компенсации затрат на аренду жилья для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молодых специалистов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8.  </a:t>
            </a:r>
            <a:r>
              <a:rPr lang="ru-RU" sz="1600" b="1" dirty="0">
                <a:solidFill>
                  <a:schemeClr val="tx1"/>
                </a:solidFill>
              </a:rPr>
              <a:t>Дополнительные дни отпуска при вступлении в брак,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рождении ребенка;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9</a:t>
            </a:r>
            <a:r>
              <a:rPr lang="ru-RU" sz="1600" b="1" dirty="0" smtClean="0">
                <a:solidFill>
                  <a:schemeClr val="tx1"/>
                </a:solidFill>
              </a:rPr>
              <a:t>. </a:t>
            </a:r>
            <a:r>
              <a:rPr lang="ru-RU" sz="1600" b="1" dirty="0">
                <a:solidFill>
                  <a:schemeClr val="tx1"/>
                </a:solidFill>
              </a:rPr>
              <a:t>Дополнительное негосударственное пенсионное </a:t>
            </a:r>
          </a:p>
          <a:p>
            <a:pPr marL="358775" lvl="1" indent="-274638" defTabSz="973138" eaLnBrk="0" hangingPunct="0">
              <a:spcBef>
                <a:spcPct val="20000"/>
              </a:spcBef>
              <a:defRPr/>
            </a:pPr>
            <a:r>
              <a:rPr lang="ru-RU" sz="1600" b="1" dirty="0">
                <a:solidFill>
                  <a:schemeClr val="tx1"/>
                </a:solidFill>
              </a:rPr>
              <a:t>     обеспечение.</a:t>
            </a:r>
            <a:endParaRPr lang="en-US" sz="1600" b="1" dirty="0">
              <a:solidFill>
                <a:schemeClr val="tx1"/>
              </a:solidFill>
            </a:endParaRPr>
          </a:p>
          <a:p>
            <a:pPr marL="442913" lvl="1" indent="-179388" defTabSz="973138" eaLnBrk="0" hangingPunct="0">
              <a:spcBef>
                <a:spcPct val="20000"/>
              </a:spcBef>
              <a:defRPr/>
            </a:pPr>
            <a:endParaRPr lang="ru-RU" sz="1600" b="1" dirty="0">
              <a:solidFill>
                <a:schemeClr val="tx1"/>
              </a:solidFill>
            </a:endParaRPr>
          </a:p>
          <a:p>
            <a:pPr marL="447675" lvl="1" indent="-266700" defTabSz="973138" eaLnBrk="0" hangingPunct="0">
              <a:spcBef>
                <a:spcPct val="20000"/>
              </a:spcBef>
              <a:buFont typeface="Wingdings" pitchFamily="2" charset="2"/>
              <a:buChar char="ü"/>
              <a:defRPr/>
            </a:pPr>
            <a:endParaRPr lang="ru-RU" sz="1600" b="1" dirty="0">
              <a:solidFill>
                <a:schemeClr val="tx1"/>
              </a:solidFill>
            </a:endParaRPr>
          </a:p>
          <a:p>
            <a:pPr marL="447675" lvl="1" indent="-266700" defTabSz="973138" eaLnBrk="0" hangingPunct="0">
              <a:spcBef>
                <a:spcPct val="20000"/>
              </a:spcBef>
              <a:buFont typeface="Wingdings" pitchFamily="2" charset="2"/>
              <a:buChar char="ü"/>
              <a:defRPr/>
            </a:pPr>
            <a:endParaRPr lang="ru-RU" sz="1600" b="1" dirty="0">
              <a:solidFill>
                <a:schemeClr val="tx1"/>
              </a:solidFill>
            </a:endParaRP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endParaRPr lang="ru-RU" sz="2000" b="1" dirty="0">
              <a:solidFill>
                <a:schemeClr val="bg2"/>
              </a:solidFill>
              <a:latin typeface="Century Gothic" pitchFamily="34" charset="0"/>
            </a:endParaRPr>
          </a:p>
          <a:p>
            <a:pPr marL="742950" lvl="1" indent="-285750" defTabSz="973138" eaLnBrk="0" hangingPunct="0">
              <a:spcBef>
                <a:spcPct val="20000"/>
              </a:spcBef>
              <a:defRPr/>
            </a:pPr>
            <a:endParaRPr lang="ru-RU" sz="1600" b="1" dirty="0">
              <a:solidFill>
                <a:srgbClr val="10253F"/>
              </a:solidFill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5392" y="1333435"/>
            <a:ext cx="1946979" cy="2239325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sp>
        <p:nvSpPr>
          <p:cNvPr id="19466" name="TextBox 9"/>
          <p:cNvSpPr txBox="1">
            <a:spLocks noChangeArrowheads="1"/>
          </p:cNvSpPr>
          <p:nvPr/>
        </p:nvSpPr>
        <p:spPr bwMode="auto">
          <a:xfrm>
            <a:off x="715963" y="1716088"/>
            <a:ext cx="1857375" cy="132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ru-RU" altLang="ru-RU" sz="1600" b="1">
                <a:solidFill>
                  <a:schemeClr val="tx1"/>
                </a:solidFill>
              </a:rPr>
              <a:t>Основные направления социальной политики МЭС Северо-Запада</a:t>
            </a:r>
            <a:endParaRPr lang="ru-RU" altLang="ru-RU" sz="1600">
              <a:solidFill>
                <a:schemeClr val="tx1"/>
              </a:solidFill>
            </a:endParaRPr>
          </a:p>
        </p:txBody>
      </p:sp>
      <p:pic>
        <p:nvPicPr>
          <p:cNvPr id="19471" name="Picture 1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1150" y="3751263"/>
            <a:ext cx="2516188" cy="23764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60132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E7AF82-73DF-47C8-8D41-1D75CCA2E920}" type="slidenum">
              <a:rPr lang="en-US" altLang="ru-RU"/>
              <a:pPr/>
              <a:t>22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600075" y="0"/>
            <a:ext cx="8715375" cy="8477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endParaRPr lang="ru-RU" sz="32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3100" b="1" dirty="0">
                <a:cs typeface="Arial" pitchFamily="34" charset="0"/>
              </a:rPr>
              <a:t>Развитие кадрового потенциала сотрудников</a:t>
            </a:r>
          </a:p>
          <a:p>
            <a:pPr algn="ctr">
              <a:defRPr/>
            </a:pPr>
            <a:endParaRPr lang="en-GB" sz="3100" b="1" dirty="0"/>
          </a:p>
        </p:txBody>
      </p:sp>
      <p:pic>
        <p:nvPicPr>
          <p:cNvPr id="20484" name="Rounded Rectangle 1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75" y="1801813"/>
            <a:ext cx="53848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6824" y="959224"/>
            <a:ext cx="8346141" cy="770965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2000" b="1" dirty="0">
                <a:cs typeface="+mn-cs"/>
              </a:rPr>
              <a:t>В Компании созданы  Центры подготовки персонала</a:t>
            </a:r>
          </a:p>
        </p:txBody>
      </p:sp>
      <p:sp>
        <p:nvSpPr>
          <p:cNvPr id="20488" name="TextBox 9"/>
          <p:cNvSpPr txBox="1">
            <a:spLocks noChangeArrowheads="1"/>
          </p:cNvSpPr>
          <p:nvPr/>
        </p:nvSpPr>
        <p:spPr bwMode="auto">
          <a:xfrm>
            <a:off x="728663" y="1954213"/>
            <a:ext cx="4805362" cy="532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4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D0D0D"/>
                </a:solidFill>
              </a:rPr>
              <a:t>В  МЭС Северо-Запада прошли обучение более 2 640 человек, из них более 1 000 - в Центре подготовки персонала МЭС Северо-Запада.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600" b="1">
              <a:solidFill>
                <a:srgbClr val="0D0D0D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D0D0D"/>
                </a:solidFill>
              </a:rPr>
              <a:t>Обучение в Центре подготовки персонала проходят следующие категории сотрудников: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Оперативно-диспетчерский персонал;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Ремонтный персонал;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Производственный персонал;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Персонал по расчетам электрорежимов;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Персонал по обслуживанию АСУ ТП;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altLang="ru-RU" sz="1600" b="1">
                <a:solidFill>
                  <a:schemeClr val="tx1"/>
                </a:solidFill>
              </a:rPr>
              <a:t> Персонал по обслуживанию РЗА.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1600" b="1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chemeClr val="tx1"/>
                </a:solidFill>
              </a:rPr>
              <a:t>Еженедельно в Центре подготовки персонала проводятся Дни Знаний по различной тематике. Дни Знаний проводятся как в очном формате, так и в формате видеоконференций. Принять в них участие может каждый заинтересованный сотрудник.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 b="1">
              <a:solidFill>
                <a:srgbClr val="0D0D0D"/>
              </a:solidFill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 b="1">
              <a:solidFill>
                <a:srgbClr val="0D0D0D"/>
              </a:solidFill>
            </a:endParaRPr>
          </a:p>
        </p:txBody>
      </p:sp>
      <p:pic>
        <p:nvPicPr>
          <p:cNvPr id="20492" name="Picture 12" descr="C:\Users\Polyakova_NV\Desktop\Фото для презентации\Для Наташи\IMG_5297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910263" y="2168525"/>
            <a:ext cx="3224212" cy="21494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493" name="Picture 13" descr="C:\Users\Polyakova_NV\Desktop\Фото для презентации\Для Наташи\IMG_5306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19788" y="4648200"/>
            <a:ext cx="3281362" cy="21875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46707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269FA5-2939-4BB7-94D4-B6B18FC67F5F}" type="slidenum">
              <a:rPr lang="en-US" altLang="ru-RU"/>
              <a:pPr/>
              <a:t>23</a:t>
            </a:fld>
            <a:endParaRPr lang="en-US" altLang="ru-RU"/>
          </a:p>
        </p:txBody>
      </p:sp>
      <p:pic>
        <p:nvPicPr>
          <p:cNvPr id="21507" name="Rounded Rectangle 1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38" y="2081213"/>
            <a:ext cx="5156200" cy="495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8102" y="958694"/>
            <a:ext cx="8285898" cy="1032387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>
              <a:defRPr/>
            </a:pPr>
            <a:r>
              <a:rPr lang="ru-RU" sz="2000" b="1" dirty="0">
                <a:cs typeface="+mn-cs"/>
              </a:rPr>
              <a:t>Программа формирования </a:t>
            </a:r>
          </a:p>
          <a:p>
            <a:pPr algn="ctr">
              <a:defRPr/>
            </a:pPr>
            <a:r>
              <a:rPr lang="ru-RU" sz="2000" b="1" dirty="0">
                <a:cs typeface="+mn-cs"/>
              </a:rPr>
              <a:t>кадрового резерва Компан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87413" y="2335213"/>
            <a:ext cx="4608512" cy="44005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кадровом резерве МЭС Северо-Запада состоит </a:t>
            </a:r>
          </a:p>
          <a:p>
            <a:pPr algn="just">
              <a:defRPr/>
            </a:pP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66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человек. </a:t>
            </a:r>
          </a:p>
          <a:p>
            <a:pPr algn="just">
              <a:defRPr/>
            </a:pP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just"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адровый резерв готовится по следующим</a:t>
            </a:r>
          </a:p>
          <a:p>
            <a:pPr algn="just"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направлениям:</a:t>
            </a:r>
          </a:p>
          <a:p>
            <a:pPr algn="just">
              <a:defRPr/>
            </a:pP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перативно-технологическое управление;</a:t>
            </a: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эксплуатация и оборудование подстанций;</a:t>
            </a: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релейная защита и автоматика;</a:t>
            </a: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информационно-технические системы;</a:t>
            </a: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воздушные линии и коммуникационные системы;</a:t>
            </a:r>
          </a:p>
          <a:p>
            <a:pPr algn="just">
              <a:buFontTx/>
              <a:buChar char="-"/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</a:t>
            </a:r>
            <a:r>
              <a:rPr lang="ru-RU" sz="1400" b="1" dirty="0"/>
              <a:t>рганизация расчетов электрических режимов </a:t>
            </a:r>
          </a:p>
          <a:p>
            <a:pPr algn="just">
              <a:defRPr/>
            </a:pPr>
            <a:r>
              <a:rPr lang="ru-RU" sz="1400" b="1" dirty="0"/>
              <a:t>  и нормирования потерь в сетях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pPr algn="just">
              <a:defRPr/>
            </a:pP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just">
              <a:defRPr/>
            </a:pPr>
            <a:r>
              <a:rPr lang="ru-RU" sz="1400" b="1" dirty="0"/>
              <a:t>В рамках проекта по формированию кадрового резерва 5</a:t>
            </a:r>
            <a:r>
              <a:rPr lang="en-US" sz="1400" b="1" dirty="0"/>
              <a:t>1</a:t>
            </a:r>
            <a:r>
              <a:rPr lang="ru-RU" sz="1400" b="1" dirty="0"/>
              <a:t> сотрудник МЭС Северо-Запада прошел обучение и является наставником резервистов.</a:t>
            </a:r>
          </a:p>
          <a:p>
            <a:pPr algn="just">
              <a:defRPr/>
            </a:pPr>
            <a:endParaRPr lang="ru-RU" sz="1400" b="1" dirty="0"/>
          </a:p>
          <a:p>
            <a:pPr algn="just"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Для каждого резервиста составлен индивидуальный </a:t>
            </a:r>
          </a:p>
          <a:p>
            <a:pPr algn="just"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лан развития.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600075" y="0"/>
            <a:ext cx="8715375" cy="8477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endParaRPr lang="ru-RU" sz="32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3100" b="1" dirty="0">
                <a:cs typeface="Arial" pitchFamily="34" charset="0"/>
              </a:rPr>
              <a:t>Развитие кадрового потенциала сотрудников</a:t>
            </a:r>
          </a:p>
          <a:p>
            <a:pPr algn="ctr">
              <a:defRPr/>
            </a:pPr>
            <a:endParaRPr lang="en-GB" sz="3100" b="1" dirty="0"/>
          </a:p>
        </p:txBody>
      </p:sp>
      <p:pic>
        <p:nvPicPr>
          <p:cNvPr id="7" name="Picture 20" descr="IMG_269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32018" y="2196352"/>
            <a:ext cx="3608851" cy="23285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61" name="Picture 9" descr="антон_тренинг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18257" y="4504349"/>
            <a:ext cx="3612643" cy="23677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64725540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0C38F5-DF28-4039-A2AB-528D1BF9EB6E}" type="slidenum">
              <a:rPr lang="en-US" altLang="ru-RU"/>
              <a:pPr/>
              <a:t>24</a:t>
            </a:fld>
            <a:endParaRPr lang="en-US" altLang="ru-RU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71450" y="0"/>
            <a:ext cx="9363075" cy="6318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24" tIns="48762" rIns="97524" bIns="48762" anchor="ctr"/>
          <a:lstStyle/>
          <a:p>
            <a:pPr algn="ctr">
              <a:defRPr/>
            </a:pPr>
            <a:r>
              <a:rPr lang="ru-RU" sz="3100" b="1" dirty="0"/>
              <a:t>Жилищная политика Компании</a:t>
            </a:r>
          </a:p>
        </p:txBody>
      </p:sp>
      <p:sp>
        <p:nvSpPr>
          <p:cNvPr id="5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7663" y="928688"/>
            <a:ext cx="7151687" cy="8318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20650" indent="-120650" defTabSz="973138" eaLnBrk="0" hangingPunct="0">
              <a:buClr>
                <a:schemeClr val="accent1"/>
              </a:buClr>
              <a:defRPr/>
            </a:pPr>
            <a:endParaRPr lang="ru-RU" sz="1400" b="1" dirty="0">
              <a:latin typeface="+mn-lt"/>
              <a:cs typeface="+mn-cs"/>
            </a:endParaRPr>
          </a:p>
          <a:p>
            <a:pPr marL="120650" indent="-120650" defTabSz="973138" eaLnBrk="0" hangingPunct="0">
              <a:buClr>
                <a:schemeClr val="accent1"/>
              </a:buClr>
              <a:defRPr/>
            </a:pPr>
            <a:r>
              <a:rPr lang="ru-RU" sz="2000" b="1" dirty="0">
                <a:latin typeface="+mn-lt"/>
                <a:cs typeface="+mn-cs"/>
              </a:rPr>
              <a:t>НАПРАВЛЕНИЯ ПРОГРАММЫ:</a:t>
            </a:r>
          </a:p>
          <a:p>
            <a:pPr marL="228600" indent="-228600" defTabSz="973138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ru-RU" sz="1000" b="1" dirty="0">
              <a:latin typeface="Arial" charset="0"/>
              <a:cs typeface="+mn-cs"/>
            </a:endParaRPr>
          </a:p>
          <a:p>
            <a:pPr marL="228600" indent="-228600" defTabSz="973138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ru-RU" sz="1000" b="1" dirty="0">
              <a:latin typeface="Arial" charset="0"/>
              <a:cs typeface="+mn-cs"/>
            </a:endParaRPr>
          </a:p>
        </p:txBody>
      </p:sp>
      <p:sp>
        <p:nvSpPr>
          <p:cNvPr id="6" name="AutoShape 4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9960" y="1944720"/>
            <a:ext cx="1996439" cy="900722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8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1400" dirty="0">
                <a:latin typeface="Arial" charset="0"/>
                <a:cs typeface="+mn-cs"/>
              </a:rPr>
              <a:t>Компенсация стоимости аренды жилья</a:t>
            </a:r>
          </a:p>
        </p:txBody>
      </p:sp>
      <p:sp>
        <p:nvSpPr>
          <p:cNvPr id="22536" name="AutoShape 41"/>
          <p:cNvSpPr>
            <a:spLocks noChangeArrowheads="1"/>
          </p:cNvSpPr>
          <p:nvPr/>
        </p:nvSpPr>
        <p:spPr bwMode="auto">
          <a:xfrm rot="5400000" flipH="1">
            <a:off x="1925637" y="2381251"/>
            <a:ext cx="1395413" cy="144462"/>
          </a:xfrm>
          <a:prstGeom prst="triangle">
            <a:avLst>
              <a:gd name="adj" fmla="val 49995"/>
            </a:avLst>
          </a:prstGeom>
          <a:solidFill>
            <a:srgbClr val="C0C0C0"/>
          </a:solidFill>
          <a:ln w="6350">
            <a:solidFill>
              <a:srgbClr val="C0C0C0"/>
            </a:solidFill>
            <a:miter lim="800000"/>
            <a:headEnd/>
            <a:tailEnd/>
          </a:ln>
        </p:spPr>
        <p:txBody>
          <a:bodyPr wrap="none" lIns="48765" tIns="48765" rIns="48765" bIns="48765"/>
          <a:lstStyle>
            <a:lvl1pPr defTabSz="973138" eaLnBrk="0" hangingPunct="0">
              <a:spcBef>
                <a:spcPct val="20000"/>
              </a:spcBef>
              <a:buBlip>
                <a:blip r:embed="rId5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9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24163" y="1930400"/>
            <a:ext cx="3689350" cy="9540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+mn-lt"/>
                <a:cs typeface="+mn-cs"/>
              </a:rPr>
              <a:t>Компенсация стоимости арены жилья производится молодым специалистам, не имеющим жилья в собственности</a:t>
            </a:r>
          </a:p>
          <a:p>
            <a:pPr>
              <a:defRPr/>
            </a:pPr>
            <a:r>
              <a:rPr lang="ru-RU" sz="1400" b="1" dirty="0">
                <a:latin typeface="+mn-lt"/>
                <a:cs typeface="+mn-cs"/>
              </a:rPr>
              <a:t>ежемесячно в течение 3 лет.</a:t>
            </a:r>
            <a:endParaRPr lang="ru-RU" sz="1400" dirty="0">
              <a:latin typeface="+mn-lt"/>
              <a:cs typeface="+mn-cs"/>
            </a:endParaRPr>
          </a:p>
        </p:txBody>
      </p:sp>
      <p:sp>
        <p:nvSpPr>
          <p:cNvPr id="9" name="AutoShape 3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4191" y="4930999"/>
            <a:ext cx="1940300" cy="1101091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8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1300" dirty="0">
                <a:latin typeface="Arial" charset="0"/>
                <a:cs typeface="+mn-cs"/>
              </a:rPr>
              <a:t>Предоставление жилых помещений специализированного жилищного фонда</a:t>
            </a:r>
          </a:p>
        </p:txBody>
      </p:sp>
      <p:sp>
        <p:nvSpPr>
          <p:cNvPr id="22541" name="AutoShape 41"/>
          <p:cNvSpPr>
            <a:spLocks noChangeArrowheads="1"/>
          </p:cNvSpPr>
          <p:nvPr/>
        </p:nvSpPr>
        <p:spPr bwMode="auto">
          <a:xfrm rot="5400000" flipH="1">
            <a:off x="1930400" y="3844925"/>
            <a:ext cx="1395413" cy="144463"/>
          </a:xfrm>
          <a:prstGeom prst="triangle">
            <a:avLst>
              <a:gd name="adj" fmla="val 49995"/>
            </a:avLst>
          </a:prstGeom>
          <a:solidFill>
            <a:srgbClr val="C0C0C0"/>
          </a:solidFill>
          <a:ln w="6350">
            <a:solidFill>
              <a:srgbClr val="C0C0C0"/>
            </a:solidFill>
            <a:miter lim="800000"/>
            <a:headEnd/>
            <a:tailEnd/>
          </a:ln>
        </p:spPr>
        <p:txBody>
          <a:bodyPr wrap="none" lIns="48765" tIns="48765" rIns="48765" bIns="48765"/>
          <a:lstStyle>
            <a:lvl1pPr defTabSz="973138" eaLnBrk="0" hangingPunct="0">
              <a:spcBef>
                <a:spcPct val="20000"/>
              </a:spcBef>
              <a:buBlip>
                <a:blip r:embed="rId5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9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92425" y="4883150"/>
            <a:ext cx="353695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973138" eaLnBrk="0" hangingPunct="0">
              <a:buClr>
                <a:schemeClr val="accent1"/>
              </a:buClr>
              <a:defRPr/>
            </a:pPr>
            <a:r>
              <a:rPr lang="ru-RU" sz="1400" b="1" dirty="0">
                <a:latin typeface="+mn-lt"/>
                <a:cs typeface="+mn-cs"/>
              </a:rPr>
              <a:t>В МЭС Северо-Запада </a:t>
            </a:r>
            <a:r>
              <a:rPr lang="ru-RU" sz="1400" b="1" dirty="0" smtClean="0">
                <a:latin typeface="+mn-lt"/>
                <a:cs typeface="+mn-cs"/>
              </a:rPr>
              <a:t> в фонде служебного жилья</a:t>
            </a:r>
            <a:r>
              <a:rPr lang="en-US" sz="1400" b="1" dirty="0" smtClean="0">
                <a:latin typeface="+mn-lt"/>
                <a:cs typeface="+mn-cs"/>
              </a:rPr>
              <a:t> </a:t>
            </a:r>
            <a:r>
              <a:rPr lang="ru-RU" sz="1400" b="1" dirty="0">
                <a:latin typeface="+mn-lt"/>
                <a:cs typeface="+mn-cs"/>
              </a:rPr>
              <a:t>более 60 квартир.</a:t>
            </a:r>
          </a:p>
        </p:txBody>
      </p:sp>
      <p:sp>
        <p:nvSpPr>
          <p:cNvPr id="22546" name="AutoShape 41"/>
          <p:cNvSpPr>
            <a:spLocks noChangeArrowheads="1"/>
          </p:cNvSpPr>
          <p:nvPr/>
        </p:nvSpPr>
        <p:spPr bwMode="auto">
          <a:xfrm rot="5400000" flipH="1">
            <a:off x="1935163" y="5472113"/>
            <a:ext cx="1395412" cy="144462"/>
          </a:xfrm>
          <a:prstGeom prst="triangle">
            <a:avLst>
              <a:gd name="adj" fmla="val 49995"/>
            </a:avLst>
          </a:prstGeom>
          <a:solidFill>
            <a:srgbClr val="C0C0C0"/>
          </a:solidFill>
          <a:ln w="6350">
            <a:solidFill>
              <a:srgbClr val="C0C0C0"/>
            </a:solidFill>
            <a:miter lim="800000"/>
            <a:headEnd/>
            <a:tailEnd/>
          </a:ln>
        </p:spPr>
        <p:txBody>
          <a:bodyPr wrap="none" lIns="48765" tIns="48765" rIns="48765" bIns="48765"/>
          <a:lstStyle>
            <a:lvl1pPr defTabSz="973138" eaLnBrk="0" hangingPunct="0">
              <a:spcBef>
                <a:spcPct val="20000"/>
              </a:spcBef>
              <a:buBlip>
                <a:blip r:embed="rId5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defTabSz="973138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31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9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13" descr="C:\Users\Polyakova_NV\Desktop\8961ea03098bd51f3032790821495e2a112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27044" y="2045618"/>
            <a:ext cx="2595447" cy="38022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0848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Rounded Rectangle 13"/>
          <p:cNvGrpSpPr>
            <a:grpSpLocks/>
          </p:cNvGrpSpPr>
          <p:nvPr/>
        </p:nvGrpSpPr>
        <p:grpSpPr bwMode="auto">
          <a:xfrm>
            <a:off x="5165725" y="560388"/>
            <a:ext cx="4303713" cy="4624387"/>
            <a:chOff x="292" y="731"/>
            <a:chExt cx="2458" cy="2112"/>
          </a:xfrm>
        </p:grpSpPr>
        <p:sp>
          <p:nvSpPr>
            <p:cNvPr id="23572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2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23573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" y="892"/>
              <a:ext cx="2458" cy="19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2C3AE-13BF-4EAE-A977-58BCAD682BD6}" type="slidenum">
              <a:rPr lang="en-US" altLang="ru-RU"/>
              <a:pPr/>
              <a:t>25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трахование сотрудников Компании</a:t>
            </a:r>
            <a:endParaRPr lang="en-GB" sz="3100" b="1" dirty="0"/>
          </a:p>
        </p:txBody>
      </p:sp>
      <p:grpSp>
        <p:nvGrpSpPr>
          <p:cNvPr id="23557" name="Rounded Rectangle 13"/>
          <p:cNvGrpSpPr>
            <a:grpSpLocks/>
          </p:cNvGrpSpPr>
          <p:nvPr/>
        </p:nvGrpSpPr>
        <p:grpSpPr bwMode="auto">
          <a:xfrm>
            <a:off x="349250" y="547688"/>
            <a:ext cx="4603750" cy="4665662"/>
            <a:chOff x="292" y="731"/>
            <a:chExt cx="2458" cy="2091"/>
          </a:xfrm>
        </p:grpSpPr>
        <p:sp>
          <p:nvSpPr>
            <p:cNvPr id="23570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2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4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" y="900"/>
              <a:ext cx="2458" cy="1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extBox 18"/>
          <p:cNvSpPr txBox="1"/>
          <p:nvPr/>
        </p:nvSpPr>
        <p:spPr>
          <a:xfrm flipH="1">
            <a:off x="2265363" y="1916113"/>
            <a:ext cx="193833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ru-RU" sz="1200" b="1" dirty="0">
              <a:latin typeface="+mn-lt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88043" y="1252473"/>
            <a:ext cx="4100051" cy="783193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800" b="1" dirty="0">
                <a:solidFill>
                  <a:schemeClr val="tx1"/>
                </a:solidFill>
              </a:rPr>
              <a:t>  </a:t>
            </a:r>
            <a:r>
              <a:rPr lang="ru-RU" sz="2000" b="1" dirty="0">
                <a:solidFill>
                  <a:schemeClr val="tx1"/>
                </a:solidFill>
              </a:rPr>
              <a:t>Добровольное медицинское страхование  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 flipH="1">
            <a:off x="5497513" y="2247900"/>
            <a:ext cx="3684587" cy="22463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  <a:defRPr/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+mn-lt"/>
                <a:cs typeface="Times New Roman" pitchFamily="18" charset="0"/>
              </a:rPr>
              <a:t>Страхованию подлежит производственный персонал, деятельность которого связана с повышенным риском.</a:t>
            </a:r>
          </a:p>
          <a:p>
            <a:pPr>
              <a:defRPr/>
            </a:pPr>
            <a:endParaRPr lang="ru-RU" sz="1400" b="1" dirty="0">
              <a:latin typeface="+mn-lt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Times New Roman" pitchFamily="18" charset="0"/>
              </a:rPr>
              <a:t> Страхование от несчастных случаев позволяет обеспечить выплату работникам дополнительной материальной компенсации в случае травмы,  несчастного случая, установления инвалидности или временной потери нетрудоспособности.</a:t>
            </a:r>
          </a:p>
        </p:txBody>
      </p:sp>
      <p:sp>
        <p:nvSpPr>
          <p:cNvPr id="36" name="TextBox 35"/>
          <p:cNvSpPr txBox="1"/>
          <p:nvPr/>
        </p:nvSpPr>
        <p:spPr>
          <a:xfrm flipH="1">
            <a:off x="649288" y="1906588"/>
            <a:ext cx="4100512" cy="2892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defRPr/>
            </a:pPr>
            <a:r>
              <a:rPr lang="ru-RU" sz="1400" dirty="0">
                <a:latin typeface="+mn-lt"/>
                <a:cs typeface="Times New Roman" pitchFamily="18" charset="0"/>
              </a:rPr>
              <a:t>    </a:t>
            </a:r>
            <a:endParaRPr lang="ru-RU" sz="1400" b="1" dirty="0">
              <a:latin typeface="+mn-lt"/>
              <a:cs typeface="Times New Roman" pitchFamily="18" charset="0"/>
            </a:endParaRPr>
          </a:p>
          <a:p>
            <a:pPr marL="171450" indent="-171450"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Times New Roman" pitchFamily="18" charset="0"/>
              </a:rPr>
              <a:t> Медицинское обслуживание в лучших медицинских учреждениях.</a:t>
            </a:r>
          </a:p>
          <a:p>
            <a:pPr marL="171450" indent="-171450">
              <a:buFontTx/>
              <a:buChar char="-"/>
              <a:defRPr/>
            </a:pPr>
            <a:endParaRPr lang="ru-RU" sz="1400" b="1" dirty="0">
              <a:latin typeface="+mn-lt"/>
              <a:cs typeface="Times New Roman" pitchFamily="18" charset="0"/>
            </a:endParaRPr>
          </a:p>
          <a:p>
            <a:pPr marL="171450" indent="-171450"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Times New Roman" pitchFamily="18" charset="0"/>
              </a:rPr>
              <a:t> Расширенная программа получения медицинской помощи за счет Компании: амбулаторное и стационарное обслуживание, стоматология.</a:t>
            </a:r>
          </a:p>
          <a:p>
            <a:pPr marL="171450" indent="-171450">
              <a:buFontTx/>
              <a:buChar char="-"/>
              <a:defRPr/>
            </a:pPr>
            <a:endParaRPr lang="ru-RU" sz="1400" b="1" dirty="0">
              <a:latin typeface="+mn-lt"/>
              <a:cs typeface="Times New Roman" pitchFamily="18" charset="0"/>
            </a:endParaRPr>
          </a:p>
          <a:p>
            <a:pPr marL="171450" indent="-171450"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Times New Roman" pitchFamily="18" charset="0"/>
              </a:rPr>
              <a:t> Льготные условия страхования близких родственников.</a:t>
            </a:r>
          </a:p>
          <a:p>
            <a:pPr marL="171450" indent="-171450">
              <a:buFontTx/>
              <a:buChar char="-"/>
              <a:defRPr/>
            </a:pPr>
            <a:endParaRPr lang="ru-RU" sz="1400" b="1" dirty="0">
              <a:latin typeface="+mn-lt"/>
              <a:cs typeface="Times New Roman" pitchFamily="18" charset="0"/>
            </a:endParaRPr>
          </a:p>
          <a:p>
            <a:pPr marL="171450" indent="-171450">
              <a:buFontTx/>
              <a:buChar char="-"/>
              <a:defRPr/>
            </a:pPr>
            <a:endParaRPr lang="ru-RU" sz="1400" b="1" dirty="0">
              <a:latin typeface="+mn-lt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71824" y="1242841"/>
            <a:ext cx="3923071" cy="783193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tx1"/>
                </a:solidFill>
              </a:rPr>
              <a:t>Страхование от несчастных случаев и болезней</a:t>
            </a:r>
          </a:p>
        </p:txBody>
      </p:sp>
      <p:pic>
        <p:nvPicPr>
          <p:cNvPr id="23571" name="Picture 1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8553" y="5228598"/>
            <a:ext cx="3512760" cy="18754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68" name="Picture 21" descr="http://www.aeriarecords.com/wp-content/uploads/2010/10/umbrella_polic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50" y="5230813"/>
            <a:ext cx="1825625" cy="182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5" name="Picture 23" descr="http://www.pcs-condroz.be/cms/sites/default/files/logement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56980" y="5200345"/>
            <a:ext cx="1880549" cy="17995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83629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123825" y="6799263"/>
            <a:ext cx="479425" cy="355600"/>
          </a:xfrm>
        </p:spPr>
        <p:txBody>
          <a:bodyPr/>
          <a:lstStyle/>
          <a:p>
            <a:fld id="{4AEC095D-7B49-4C8C-8CE2-EE13743C6ED5}" type="slidenum">
              <a:rPr lang="en-US" altLang="ru-RU"/>
              <a:pPr/>
              <a:t>26</a:t>
            </a:fld>
            <a:endParaRPr lang="en-US" altLang="ru-RU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6197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оциальная ответственность Компании</a:t>
            </a:r>
            <a:endParaRPr lang="en-GB" sz="3100" b="1" dirty="0"/>
          </a:p>
        </p:txBody>
      </p:sp>
      <p:grpSp>
        <p:nvGrpSpPr>
          <p:cNvPr id="24580" name="Rounded Rectangle 13"/>
          <p:cNvGrpSpPr>
            <a:grpSpLocks/>
          </p:cNvGrpSpPr>
          <p:nvPr/>
        </p:nvGrpSpPr>
        <p:grpSpPr bwMode="auto">
          <a:xfrm>
            <a:off x="4010025" y="695325"/>
            <a:ext cx="5621338" cy="6361113"/>
            <a:chOff x="365" y="684"/>
            <a:chExt cx="2492" cy="2458"/>
          </a:xfrm>
        </p:grpSpPr>
        <p:sp>
          <p:nvSpPr>
            <p:cNvPr id="24595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4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24596" name="Rounded Rectangle 13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" y="684"/>
              <a:ext cx="2458" cy="2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581" name="TextBox 28"/>
          <p:cNvSpPr txBox="1">
            <a:spLocks noChangeArrowheads="1"/>
          </p:cNvSpPr>
          <p:nvPr/>
        </p:nvSpPr>
        <p:spPr bwMode="auto">
          <a:xfrm>
            <a:off x="4381500" y="1660525"/>
            <a:ext cx="5075238" cy="392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4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Для обеспечения социальной поддержки работников ПАО 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«</a:t>
            </a:r>
            <a:r>
              <a:rPr lang="ru-RU" altLang="ru-RU" sz="13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», </a:t>
            </a:r>
            <a:r>
              <a:rPr lang="ru-RU" altLang="ru-RU" sz="1300" b="1" dirty="0">
                <a:solidFill>
                  <a:schemeClr val="tx1"/>
                </a:solidFill>
              </a:rPr>
              <a:t>вышедших на пенсию после прекращения трудовой деятельности, и проработавших в ПАО 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«</a:t>
            </a:r>
            <a:r>
              <a:rPr lang="ru-RU" altLang="ru-RU" sz="13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» </a:t>
            </a:r>
            <a:r>
              <a:rPr lang="ru-RU" altLang="ru-RU" sz="1300" b="1" dirty="0">
                <a:solidFill>
                  <a:schemeClr val="tx1"/>
                </a:solidFill>
              </a:rPr>
              <a:t>непрерывно не менее 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15 </a:t>
            </a:r>
            <a:r>
              <a:rPr lang="ru-RU" altLang="ru-RU" sz="1300" b="1" dirty="0">
                <a:solidFill>
                  <a:schemeClr val="tx1"/>
                </a:solidFill>
              </a:rPr>
              <a:t>лет, введен институт ветеранов ПАО 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«</a:t>
            </a:r>
            <a:r>
              <a:rPr lang="ru-RU" altLang="ru-RU" sz="13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».</a:t>
            </a:r>
            <a:endParaRPr lang="ru-RU" altLang="ru-RU" sz="1300" b="1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Всем категориям ветеранов осуществляются выплаты материальной помощи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-единовременная выплата ко Дню энергетика в размере 9000 руб.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-единовременная выплата ко Дню создания ПАО 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«</a:t>
            </a:r>
            <a:r>
              <a:rPr lang="ru-RU" altLang="ru-RU" sz="13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altLang="ru-RU" sz="1300" b="1" dirty="0" smtClean="0">
                <a:solidFill>
                  <a:schemeClr val="tx1"/>
                </a:solidFill>
              </a:rPr>
              <a:t>» </a:t>
            </a:r>
            <a:r>
              <a:rPr lang="ru-RU" altLang="ru-RU" sz="1300" b="1" dirty="0">
                <a:solidFill>
                  <a:schemeClr val="tx1"/>
                </a:solidFill>
              </a:rPr>
              <a:t>(25 июня) в размере 9000 руб.;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-единовременная выплата к юбилею ветерана.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Дополнительно ветеранам (в зависимости от категории) осуществляется ежемесячная доплата к государственной пенсии  в размере от  1100 руб. до 2200 руб.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ru-RU" altLang="ru-RU" sz="1300" b="1" dirty="0">
                <a:solidFill>
                  <a:schemeClr val="tx1"/>
                </a:solidFill>
              </a:rPr>
              <a:t>Ветеранам всех категорий, ранее награждённых наградой ПАО РАО «ЕЭС России» (по представлению ПАО «ФСК ЕЭС»), за счёт средств ПАО «ФСК ЕЭС» производятся  ежемесячные пожизненные выплаты в размере от 10% до 25% от установленной государственной пенсии.</a:t>
            </a:r>
          </a:p>
        </p:txBody>
      </p:sp>
      <p:grpSp>
        <p:nvGrpSpPr>
          <p:cNvPr id="24582" name="Rounded Rectangle 13"/>
          <p:cNvGrpSpPr>
            <a:grpSpLocks/>
          </p:cNvGrpSpPr>
          <p:nvPr/>
        </p:nvGrpSpPr>
        <p:grpSpPr bwMode="auto">
          <a:xfrm>
            <a:off x="233363" y="665163"/>
            <a:ext cx="4360862" cy="6389687"/>
            <a:chOff x="261" y="684"/>
            <a:chExt cx="2405" cy="2458"/>
          </a:xfrm>
        </p:grpSpPr>
        <p:sp>
          <p:nvSpPr>
            <p:cNvPr id="24593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4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24594" name="Rounded Rectangle 13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" y="684"/>
              <a:ext cx="2132" cy="2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extBox 13"/>
          <p:cNvSpPr txBox="1"/>
          <p:nvPr/>
        </p:nvSpPr>
        <p:spPr>
          <a:xfrm>
            <a:off x="444500" y="1747838"/>
            <a:ext cx="3233738" cy="364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300" b="1" dirty="0">
                <a:latin typeface="+mj-lt"/>
                <a:cs typeface="+mn-cs"/>
              </a:rPr>
              <a:t>Для обеспечения социальной поддержки работников ПАО </a:t>
            </a:r>
            <a:r>
              <a:rPr lang="ru-RU" sz="1300" b="1" dirty="0" smtClean="0">
                <a:latin typeface="+mj-lt"/>
                <a:cs typeface="+mn-cs"/>
              </a:rPr>
              <a:t>«</a:t>
            </a:r>
            <a:r>
              <a:rPr lang="ru-RU" sz="1300" b="1" dirty="0" err="1" smtClean="0">
                <a:latin typeface="+mj-lt"/>
                <a:cs typeface="+mn-cs"/>
              </a:rPr>
              <a:t>Россети</a:t>
            </a:r>
            <a:r>
              <a:rPr lang="ru-RU" sz="1300" b="1" dirty="0" smtClean="0">
                <a:latin typeface="+mj-lt"/>
                <a:cs typeface="+mn-cs"/>
              </a:rPr>
              <a:t>» </a:t>
            </a:r>
            <a:r>
              <a:rPr lang="ru-RU" sz="1300" b="1" dirty="0">
                <a:latin typeface="+mj-lt"/>
                <a:cs typeface="+mn-cs"/>
              </a:rPr>
              <a:t>после прекращения трудовой деятельности в связи с их выходом на пенсию решением Правления ПАО «ФСК ЕЭС» от 29.06.2004 № 111 принята Программа негосударственного пенсионного обеспечения работников ПАО «ФСК ЕЭС».</a:t>
            </a:r>
          </a:p>
          <a:p>
            <a:pPr>
              <a:spcAft>
                <a:spcPts val="600"/>
              </a:spcAft>
              <a:defRPr/>
            </a:pPr>
            <a:r>
              <a:rPr lang="ru-RU" sz="1300" b="1" dirty="0">
                <a:latin typeface="+mj-lt"/>
                <a:cs typeface="+mn-cs"/>
              </a:rPr>
              <a:t>Право на негосударственное пенсионное обеспечение за счёт средств ПАО </a:t>
            </a:r>
            <a:r>
              <a:rPr lang="ru-RU" sz="1300" b="1" dirty="0" smtClean="0">
                <a:latin typeface="+mj-lt"/>
                <a:cs typeface="+mn-cs"/>
              </a:rPr>
              <a:t>«</a:t>
            </a:r>
            <a:r>
              <a:rPr lang="ru-RU" sz="1300" b="1" dirty="0" err="1" smtClean="0">
                <a:latin typeface="+mj-lt"/>
                <a:cs typeface="+mn-cs"/>
              </a:rPr>
              <a:t>Россети</a:t>
            </a:r>
            <a:r>
              <a:rPr lang="ru-RU" sz="1300" b="1" dirty="0" smtClean="0">
                <a:latin typeface="+mj-lt"/>
                <a:cs typeface="+mn-cs"/>
              </a:rPr>
              <a:t>» </a:t>
            </a:r>
            <a:r>
              <a:rPr lang="ru-RU" sz="1300" b="1" dirty="0">
                <a:latin typeface="+mj-lt"/>
                <a:cs typeface="+mn-cs"/>
              </a:rPr>
              <a:t>имеют работники, состоящие в штате ПАО «ФСК ЕЭС» и имеющие непрерывный трудовой стаж работы в ПАО «ФСК ЕЭС» не менее </a:t>
            </a:r>
            <a:r>
              <a:rPr lang="ru-RU" sz="1300" b="1" dirty="0" smtClean="0">
                <a:latin typeface="+mj-lt"/>
                <a:cs typeface="+mn-cs"/>
              </a:rPr>
              <a:t>15 </a:t>
            </a:r>
            <a:r>
              <a:rPr lang="ru-RU" sz="1300" b="1" dirty="0">
                <a:latin typeface="+mj-lt"/>
                <a:cs typeface="+mn-cs"/>
              </a:rPr>
              <a:t>лет.</a:t>
            </a:r>
          </a:p>
          <a:p>
            <a:pPr>
              <a:spcAft>
                <a:spcPts val="600"/>
              </a:spcAft>
              <a:defRPr/>
            </a:pPr>
            <a:r>
              <a:rPr lang="ru-RU" sz="1300" b="1" dirty="0">
                <a:latin typeface="+mj-lt"/>
                <a:cs typeface="+mn-cs"/>
              </a:rPr>
              <a:t>Размер негосударственной пенсии </a:t>
            </a:r>
            <a:r>
              <a:rPr lang="ru-RU" sz="1300" b="1" dirty="0"/>
              <a:t>за счёт средств ПАО </a:t>
            </a:r>
            <a:r>
              <a:rPr lang="ru-RU" sz="1300" b="1" dirty="0" smtClean="0"/>
              <a:t>«</a:t>
            </a:r>
            <a:r>
              <a:rPr lang="ru-RU" sz="1300" b="1" dirty="0" err="1" smtClean="0"/>
              <a:t>Россети</a:t>
            </a:r>
            <a:r>
              <a:rPr lang="ru-RU" sz="1300" b="1" dirty="0" smtClean="0"/>
              <a:t>» </a:t>
            </a:r>
            <a:r>
              <a:rPr lang="ru-RU" sz="1300" b="1" dirty="0">
                <a:latin typeface="+mj-lt"/>
                <a:cs typeface="+mn-cs"/>
              </a:rPr>
              <a:t>составляет от 5000 руб. до 33000 руб.</a:t>
            </a:r>
          </a:p>
        </p:txBody>
      </p:sp>
      <p:sp>
        <p:nvSpPr>
          <p:cNvPr id="18" name="AutoShap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65064" y="906854"/>
            <a:ext cx="4285129" cy="667423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1800" b="1" dirty="0">
                <a:latin typeface="+mn-lt"/>
                <a:cs typeface="+mn-cs"/>
              </a:rPr>
              <a:t>Поддержка пенсионеров </a:t>
            </a:r>
          </a:p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1800" b="1" dirty="0">
                <a:latin typeface="+mn-lt"/>
                <a:cs typeface="+mn-cs"/>
              </a:rPr>
              <a:t>и ветеранов Общества</a:t>
            </a:r>
          </a:p>
        </p:txBody>
      </p:sp>
      <p:sp>
        <p:nvSpPr>
          <p:cNvPr id="19" name="AutoShape 4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5413" y="939985"/>
            <a:ext cx="3232526" cy="737986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 algn="ctr" defTabSz="974664" eaLnBrk="0" hangingPunct="0">
              <a:buClr>
                <a:schemeClr val="accent1"/>
              </a:buClr>
              <a:defRPr/>
            </a:pPr>
            <a:r>
              <a:rPr lang="ru-RU" sz="1800" b="1" dirty="0">
                <a:latin typeface="+mn-lt"/>
                <a:cs typeface="+mn-cs"/>
              </a:rPr>
              <a:t>Негосударственное пенсионное обеспечение</a:t>
            </a:r>
          </a:p>
        </p:txBody>
      </p:sp>
      <p:pic>
        <p:nvPicPr>
          <p:cNvPr id="15363" name="Picture 3" descr="C:\Documents and Settings\Idiatullova_RR\Рабочий стол\h5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13420" y="5772097"/>
            <a:ext cx="1143000" cy="1143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5" name="Рисунок 5" descr="logo3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8243" y="5378389"/>
            <a:ext cx="1193145" cy="11477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5367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59956" y="5598174"/>
            <a:ext cx="2402090" cy="12928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156441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 descr="C:\Users\Polyakova_NV\Desktop\fsk_sport-551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9450" y="3128963"/>
            <a:ext cx="1857375" cy="11890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Скругленный прямоугольник 20"/>
          <p:cNvSpPr/>
          <p:nvPr/>
        </p:nvSpPr>
        <p:spPr>
          <a:xfrm>
            <a:off x="555812" y="995082"/>
            <a:ext cx="8955741" cy="65442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tx1"/>
                </a:solidFill>
              </a:rPr>
              <a:t>Спорт – основа здорового образа жизни сотрудников Компании! 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32E40-0BF3-4421-BEAF-2E92435F2500}" type="slidenum">
              <a:rPr lang="en-US" altLang="ru-RU"/>
              <a:pPr/>
              <a:t>27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 Спортивная жизнь сотрудников </a:t>
            </a:r>
          </a:p>
          <a:p>
            <a:pPr algn="ctr">
              <a:defRPr/>
            </a:pPr>
            <a:r>
              <a:rPr lang="ru-RU" sz="3100" b="1" dirty="0"/>
              <a:t>Компании</a:t>
            </a:r>
            <a:endParaRPr lang="en-GB" sz="3100" b="1" dirty="0"/>
          </a:p>
        </p:txBody>
      </p:sp>
      <p:pic>
        <p:nvPicPr>
          <p:cNvPr id="22531" name="Picture 3" descr="C:\Users\Polyakova_NV\Desktop\спартакиада 54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62225" y="1718353"/>
            <a:ext cx="5341103" cy="24711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2643" name="Picture 3" descr="C:\Users\Polyakova_NV\Desktop\Новая папка\4d08cd452efa488ab1598c513d20a426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077200" y="5153025"/>
            <a:ext cx="1293813" cy="19526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610" name="Рисунок 5" descr="logo3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0" y="5224463"/>
            <a:ext cx="619125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49" name="Picture 9" descr="C:\Users\Polyakova_NV\Desktop\DSC_6097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95325" y="5229225"/>
            <a:ext cx="1506538" cy="17716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2650" name="Picture 10" descr="C:\Users\Polyakova_NV\Desktop\Новая папка\20a4d83ec2d14720abf499aeb670ab06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31138" y="1790700"/>
            <a:ext cx="1577975" cy="2381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2" name="Скругленный прямоугольник 21"/>
          <p:cNvSpPr/>
          <p:nvPr/>
        </p:nvSpPr>
        <p:spPr>
          <a:xfrm>
            <a:off x="591672" y="4356847"/>
            <a:ext cx="8946776" cy="65442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tx1"/>
                </a:solidFill>
              </a:rPr>
              <a:t>Федеральная Сетевая Компания регулярно проводит Спартакиады, объединяющие сотрудников со всех регионов России</a:t>
            </a:r>
            <a:endParaRPr lang="ru-RU" sz="2000" dirty="0">
              <a:solidFill>
                <a:schemeClr val="tx1"/>
              </a:solidFill>
            </a:endParaRPr>
          </a:p>
        </p:txBody>
      </p:sp>
      <p:pic>
        <p:nvPicPr>
          <p:cNvPr id="15" name="Рисунок 14" descr="C:\Users\Polyakova_NV\Desktop\IMG_0099.JPG"/>
          <p:cNvPicPr/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6438" y="1809750"/>
            <a:ext cx="1809750" cy="13477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422900" y="5457825"/>
            <a:ext cx="2392363" cy="1498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624" name="Picture 24" descr="C:\Users\Polyakova_NV\Desktop\IMG_7983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436813" y="5407025"/>
            <a:ext cx="2278062" cy="15224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20426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38AC14-DB3D-4ACB-8260-BEF9E0EBDADB}" type="slidenum">
              <a:rPr lang="en-US" altLang="ru-RU"/>
              <a:pPr/>
              <a:t>28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 Корпоративная жизнь сотрудников </a:t>
            </a:r>
          </a:p>
          <a:p>
            <a:pPr algn="ctr">
              <a:defRPr/>
            </a:pPr>
            <a:r>
              <a:rPr lang="ru-RU" sz="3100" b="1" dirty="0"/>
              <a:t>МЭС </a:t>
            </a:r>
            <a:r>
              <a:rPr lang="ru-RU" sz="3100" b="1" dirty="0" err="1"/>
              <a:t>Северо-Запада</a:t>
            </a:r>
            <a:endParaRPr lang="en-GB" sz="3100" b="1" dirty="0"/>
          </a:p>
        </p:txBody>
      </p:sp>
      <p:grpSp>
        <p:nvGrpSpPr>
          <p:cNvPr id="26628" name="Rounded Rectangle 13"/>
          <p:cNvGrpSpPr>
            <a:grpSpLocks/>
          </p:cNvGrpSpPr>
          <p:nvPr/>
        </p:nvGrpSpPr>
        <p:grpSpPr bwMode="auto">
          <a:xfrm>
            <a:off x="3101975" y="762000"/>
            <a:ext cx="3330575" cy="2706688"/>
            <a:chOff x="336" y="731"/>
            <a:chExt cx="2458" cy="2098"/>
          </a:xfrm>
        </p:grpSpPr>
        <p:sp>
          <p:nvSpPr>
            <p:cNvPr id="26638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2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26639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" y="896"/>
              <a:ext cx="2458" cy="1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TextBox 20"/>
          <p:cNvSpPr txBox="1"/>
          <p:nvPr/>
        </p:nvSpPr>
        <p:spPr>
          <a:xfrm>
            <a:off x="3233738" y="1096963"/>
            <a:ext cx="3033712" cy="2371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1" dirty="0">
                <a:latin typeface="+mn-lt"/>
                <a:cs typeface="+mn-cs"/>
              </a:rPr>
              <a:t>Корпоративные мероприятия – часть нашей жизни. </a:t>
            </a:r>
          </a:p>
          <a:p>
            <a:pPr algn="ctr">
              <a:defRPr/>
            </a:pPr>
            <a:r>
              <a:rPr lang="ru-RU" sz="1800" b="1" dirty="0">
                <a:latin typeface="+mn-lt"/>
                <a:cs typeface="+mn-cs"/>
              </a:rPr>
              <a:t>Мы гордимся тем, что коллектив</a:t>
            </a:r>
          </a:p>
          <a:p>
            <a:pPr algn="ctr">
              <a:defRPr/>
            </a:pPr>
            <a:r>
              <a:rPr lang="ru-RU" sz="1800" b="1" dirty="0">
                <a:latin typeface="+mn-lt"/>
                <a:cs typeface="+mn-cs"/>
              </a:rPr>
              <a:t>МЭС Северо-Запада</a:t>
            </a:r>
          </a:p>
          <a:p>
            <a:pPr algn="ctr">
              <a:defRPr/>
            </a:pPr>
            <a:r>
              <a:rPr lang="ru-RU" sz="1800" b="1" dirty="0">
                <a:latin typeface="+mn-lt"/>
                <a:cs typeface="+mn-cs"/>
              </a:rPr>
              <a:t>умеет хорошо работать и хорошо отдыхать!</a:t>
            </a:r>
          </a:p>
        </p:txBody>
      </p:sp>
      <p:pic>
        <p:nvPicPr>
          <p:cNvPr id="3076" name="Picture 4" descr="C:\Users\Ivanova_PV\Desktop\Полина\Фото\Мероприятия\велозаезд\Велопробег 0591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2113" y="1122363"/>
            <a:ext cx="2635250" cy="19748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27661" name="Picture 13" descr="C:\Users\Polyakova_NV\Desktop\Фото для брошюры\Страница 5\_ASP6891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35738" y="1203325"/>
            <a:ext cx="2957512" cy="19732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4" name="Picture 16" descr="C:\Users\Polyakova_NV\Desktop\Фото для брошюры\z_e0bdc474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9450" y="5213350"/>
            <a:ext cx="2820988" cy="18383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7" name="Picture 19" descr="C:\Users\Polyakova_NV\Desktop\Фото для презентации\6312c7b92260136895e8204ccfec2627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7375" y="3244850"/>
            <a:ext cx="2400300" cy="17891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8" name="Picture 20" descr="C:\Users\Polyakova_NV\Desktop\Фото для презентации\DSC_0203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59550" y="3308350"/>
            <a:ext cx="2582863" cy="1828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5" name="Picture 1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827463" y="5446713"/>
            <a:ext cx="2649537" cy="15763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9" name="Picture 21" descr="C:\Users\Polyakova_NV\Desktop\IMG_8033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525838" y="3519488"/>
            <a:ext cx="2636837" cy="17573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71" name="Picture 23" descr="C:\Users\Polyakova_NV\Desktop\Насыщ.жизнь вместо нижней справа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778625" y="5299075"/>
            <a:ext cx="2543175" cy="17430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723702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3" descr="C:\Users\Polyakova_NV\Desktop\untitled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1589088"/>
            <a:ext cx="9420225" cy="501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0" y="6748463"/>
            <a:ext cx="2274888" cy="366712"/>
          </a:xfrm>
        </p:spPr>
        <p:txBody>
          <a:bodyPr/>
          <a:lstStyle/>
          <a:p>
            <a:fld id="{D5B746FB-9C29-412B-8BD9-EF7FBB566615}" type="slidenum">
              <a:rPr lang="en-US" altLang="ru-RU"/>
              <a:pPr/>
              <a:t>2</a:t>
            </a:fld>
            <a:endParaRPr lang="en-US" altLang="ru-RU"/>
          </a:p>
        </p:txBody>
      </p:sp>
      <p:sp>
        <p:nvSpPr>
          <p:cNvPr id="14340" name="Прямоугольник 9"/>
          <p:cNvSpPr>
            <a:spLocks noChangeArrowheads="1"/>
          </p:cNvSpPr>
          <p:nvPr/>
        </p:nvSpPr>
        <p:spPr bwMode="auto">
          <a:xfrm>
            <a:off x="830263" y="1173163"/>
            <a:ext cx="8313737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endParaRPr lang="ru-RU" altLang="ru-RU" sz="18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solidFill>
                <a:schemeClr val="tx1"/>
              </a:solidFill>
            </a:endParaRPr>
          </a:p>
        </p:txBody>
      </p:sp>
      <p:sp>
        <p:nvSpPr>
          <p:cNvPr id="14341" name="Прямоугольник 9"/>
          <p:cNvSpPr>
            <a:spLocks noChangeArrowheads="1"/>
          </p:cNvSpPr>
          <p:nvPr/>
        </p:nvSpPr>
        <p:spPr bwMode="auto">
          <a:xfrm>
            <a:off x="536575" y="1103313"/>
            <a:ext cx="8313738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chemeClr val="tx1"/>
                </a:solidFill>
              </a:rPr>
              <a:t>     В структуру ПАО </a:t>
            </a:r>
            <a:r>
              <a:rPr lang="ru-RU" altLang="ru-RU" sz="2000" b="1" dirty="0" smtClean="0">
                <a:solidFill>
                  <a:schemeClr val="tx1"/>
                </a:solidFill>
              </a:rPr>
              <a:t>«</a:t>
            </a:r>
            <a:r>
              <a:rPr lang="ru-RU" altLang="ru-RU" sz="20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altLang="ru-RU" sz="2000" b="1" dirty="0" smtClean="0">
                <a:solidFill>
                  <a:schemeClr val="tx1"/>
                </a:solidFill>
              </a:rPr>
              <a:t>» </a:t>
            </a:r>
            <a:r>
              <a:rPr lang="ru-RU" altLang="ru-RU" sz="2000" b="1" dirty="0">
                <a:solidFill>
                  <a:schemeClr val="tx1"/>
                </a:solidFill>
              </a:rPr>
              <a:t>входят  8 Филиалов –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chemeClr val="tx1"/>
                </a:solidFill>
              </a:rPr>
              <a:t>Магистральные электрические сети (МЭС)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 dirty="0">
              <a:solidFill>
                <a:schemeClr val="tx1"/>
              </a:solidFill>
            </a:endParaRPr>
          </a:p>
        </p:txBody>
      </p:sp>
      <p:grpSp>
        <p:nvGrpSpPr>
          <p:cNvPr id="14342" name="Группа 2"/>
          <p:cNvGrpSpPr>
            <a:grpSpLocks/>
          </p:cNvGrpSpPr>
          <p:nvPr/>
        </p:nvGrpSpPr>
        <p:grpSpPr bwMode="auto">
          <a:xfrm>
            <a:off x="430213" y="3313113"/>
            <a:ext cx="1033462" cy="1609725"/>
            <a:chOff x="882293" y="3393779"/>
            <a:chExt cx="853641" cy="1776174"/>
          </a:xfrm>
        </p:grpSpPr>
        <p:sp>
          <p:nvSpPr>
            <p:cNvPr id="47" name="Rectangle 81"/>
            <p:cNvSpPr>
              <a:spLocks noChangeArrowheads="1"/>
            </p:cNvSpPr>
            <p:nvPr/>
          </p:nvSpPr>
          <p:spPr bwMode="auto">
            <a:xfrm>
              <a:off x="882293" y="4595355"/>
              <a:ext cx="853641" cy="574598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 </a:t>
              </a:r>
              <a:endParaRPr lang="en-US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Центра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Москва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30" name="Picture 22" descr="Картинка 4 из 161558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/>
            </a:blip>
            <a:srcRect/>
            <a:stretch>
              <a:fillRect/>
            </a:stretch>
          </p:blipFill>
          <p:spPr bwMode="auto">
            <a:xfrm>
              <a:off x="882293" y="3393779"/>
              <a:ext cx="853641" cy="1201576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3" name="Группа 15"/>
          <p:cNvGrpSpPr>
            <a:grpSpLocks/>
          </p:cNvGrpSpPr>
          <p:nvPr/>
        </p:nvGrpSpPr>
        <p:grpSpPr bwMode="auto">
          <a:xfrm>
            <a:off x="1579563" y="4922838"/>
            <a:ext cx="1025525" cy="1439862"/>
            <a:chOff x="1834606" y="4985803"/>
            <a:chExt cx="889007" cy="1082075"/>
          </a:xfrm>
        </p:grpSpPr>
        <p:sp>
          <p:nvSpPr>
            <p:cNvPr id="25" name="Rectangle 81"/>
            <p:cNvSpPr>
              <a:spLocks noChangeArrowheads="1"/>
            </p:cNvSpPr>
            <p:nvPr/>
          </p:nvSpPr>
          <p:spPr bwMode="auto">
            <a:xfrm>
              <a:off x="1834607" y="5670805"/>
              <a:ext cx="889006" cy="397073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</a:t>
              </a:r>
              <a:endParaRPr lang="en-US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Волги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Самара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36" name="Picture 28" descr="Картинка 13 из 71507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/>
            </a:blip>
            <a:srcRect/>
            <a:stretch>
              <a:fillRect/>
            </a:stretch>
          </p:blipFill>
          <p:spPr bwMode="auto">
            <a:xfrm>
              <a:off x="1834606" y="4985803"/>
              <a:ext cx="889007" cy="665504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4" name="Группа 16"/>
          <p:cNvGrpSpPr>
            <a:grpSpLocks/>
          </p:cNvGrpSpPr>
          <p:nvPr/>
        </p:nvGrpSpPr>
        <p:grpSpPr bwMode="auto">
          <a:xfrm>
            <a:off x="2768600" y="4770438"/>
            <a:ext cx="1165225" cy="1838325"/>
            <a:chOff x="2877063" y="4343908"/>
            <a:chExt cx="965989" cy="1715336"/>
          </a:xfrm>
        </p:grpSpPr>
        <p:sp>
          <p:nvSpPr>
            <p:cNvPr id="23" name="Rectangle 81"/>
            <p:cNvSpPr>
              <a:spLocks noChangeArrowheads="1"/>
            </p:cNvSpPr>
            <p:nvPr/>
          </p:nvSpPr>
          <p:spPr bwMode="auto">
            <a:xfrm>
              <a:off x="2877063" y="5567657"/>
              <a:ext cx="963627" cy="491587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Урала</a:t>
              </a: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Екатеринбург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38" name="Picture 30" descr="Картинка 19 из 99645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/>
            </a:blip>
            <a:srcRect/>
            <a:stretch>
              <a:fillRect/>
            </a:stretch>
          </p:blipFill>
          <p:spPr bwMode="auto">
            <a:xfrm>
              <a:off x="2939625" y="4343908"/>
              <a:ext cx="903427" cy="1261208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5" name="Группа 17"/>
          <p:cNvGrpSpPr>
            <a:grpSpLocks/>
          </p:cNvGrpSpPr>
          <p:nvPr/>
        </p:nvGrpSpPr>
        <p:grpSpPr bwMode="auto">
          <a:xfrm>
            <a:off x="4251325" y="5186363"/>
            <a:ext cx="1363663" cy="1422400"/>
            <a:chOff x="4557415" y="5153104"/>
            <a:chExt cx="1363531" cy="1422123"/>
          </a:xfrm>
        </p:grpSpPr>
        <p:sp>
          <p:nvSpPr>
            <p:cNvPr id="28" name="Rectangle 81"/>
            <p:cNvSpPr>
              <a:spLocks noChangeArrowheads="1"/>
            </p:cNvSpPr>
            <p:nvPr/>
          </p:nvSpPr>
          <p:spPr bwMode="auto">
            <a:xfrm>
              <a:off x="4557415" y="6124393"/>
              <a:ext cx="1363531" cy="450834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Сибири</a:t>
              </a: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Красноярск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40" name="Picture 32" descr="Картинка 5 из 25723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/>
            </a:blip>
            <a:srcRect/>
            <a:stretch>
              <a:fillRect/>
            </a:stretch>
          </p:blipFill>
          <p:spPr bwMode="auto">
            <a:xfrm>
              <a:off x="4557415" y="5153104"/>
              <a:ext cx="1363531" cy="978699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6" name="Группа 18"/>
          <p:cNvGrpSpPr>
            <a:grpSpLocks/>
          </p:cNvGrpSpPr>
          <p:nvPr/>
        </p:nvGrpSpPr>
        <p:grpSpPr bwMode="auto">
          <a:xfrm>
            <a:off x="3741738" y="3182938"/>
            <a:ext cx="1320800" cy="1568450"/>
            <a:chOff x="3676490" y="3173839"/>
            <a:chExt cx="1319823" cy="1569159"/>
          </a:xfrm>
        </p:grpSpPr>
        <p:sp>
          <p:nvSpPr>
            <p:cNvPr id="34" name="Rectangle 81"/>
            <p:cNvSpPr>
              <a:spLocks noChangeArrowheads="1"/>
            </p:cNvSpPr>
            <p:nvPr/>
          </p:nvSpPr>
          <p:spPr bwMode="auto">
            <a:xfrm>
              <a:off x="3676490" y="4173826"/>
              <a:ext cx="1319823" cy="569172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 </a:t>
              </a:r>
              <a:endParaRPr lang="en-US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Западной </a:t>
              </a:r>
              <a:r>
                <a:rPr lang="en-US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Сибири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Сургут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42" name="Picture 34" descr="Картинка 2 из 11675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/>
            </a:blip>
            <a:srcRect/>
            <a:stretch>
              <a:fillRect/>
            </a:stretch>
          </p:blipFill>
          <p:spPr bwMode="auto">
            <a:xfrm>
              <a:off x="3723627" y="3173839"/>
              <a:ext cx="1256666" cy="1003399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7" name="Группа 19"/>
          <p:cNvGrpSpPr>
            <a:grpSpLocks/>
          </p:cNvGrpSpPr>
          <p:nvPr/>
        </p:nvGrpSpPr>
        <p:grpSpPr bwMode="auto">
          <a:xfrm>
            <a:off x="6964363" y="4200525"/>
            <a:ext cx="1512887" cy="1558925"/>
            <a:chOff x="6753087" y="3974912"/>
            <a:chExt cx="1376501" cy="1310932"/>
          </a:xfrm>
        </p:grpSpPr>
        <p:sp>
          <p:nvSpPr>
            <p:cNvPr id="21" name="Rectangle 81"/>
            <p:cNvSpPr>
              <a:spLocks noChangeArrowheads="1"/>
            </p:cNvSpPr>
            <p:nvPr/>
          </p:nvSpPr>
          <p:spPr bwMode="auto">
            <a:xfrm>
              <a:off x="6753088" y="4917544"/>
              <a:ext cx="1376500" cy="368300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Востока</a:t>
              </a:r>
            </a:p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Хабаровск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7444" name="Picture 36" descr="Картинка 9 из 15929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/>
            </a:blip>
            <a:srcRect/>
            <a:stretch>
              <a:fillRect/>
            </a:stretch>
          </p:blipFill>
          <p:spPr bwMode="auto">
            <a:xfrm>
              <a:off x="6753087" y="3974912"/>
              <a:ext cx="1376501" cy="942632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grpSp>
        <p:nvGrpSpPr>
          <p:cNvPr id="14348" name="Группа 32"/>
          <p:cNvGrpSpPr>
            <a:grpSpLocks/>
          </p:cNvGrpSpPr>
          <p:nvPr/>
        </p:nvGrpSpPr>
        <p:grpSpPr bwMode="auto">
          <a:xfrm>
            <a:off x="1716088" y="2227263"/>
            <a:ext cx="1309687" cy="2184400"/>
            <a:chOff x="1749204" y="2434856"/>
            <a:chExt cx="1308041" cy="2118462"/>
          </a:xfrm>
        </p:grpSpPr>
        <p:sp>
          <p:nvSpPr>
            <p:cNvPr id="38" name="Rectangle 81"/>
            <p:cNvSpPr>
              <a:spLocks noChangeArrowheads="1"/>
            </p:cNvSpPr>
            <p:nvPr/>
          </p:nvSpPr>
          <p:spPr bwMode="auto">
            <a:xfrm>
              <a:off x="1749204" y="3960406"/>
              <a:ext cx="1308041" cy="592912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</a:t>
              </a:r>
              <a:endParaRPr lang="en-US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Северо-Запада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Санкт-Петербург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18483" name="Picture 51" descr="Картинка 13 из 16463">
              <a:hlinkClick r:id="rId16"/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28800" y="2434856"/>
              <a:ext cx="1169581" cy="1517500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</p:pic>
      </p:grpSp>
      <p:grpSp>
        <p:nvGrpSpPr>
          <p:cNvPr id="14349" name="Группа 2"/>
          <p:cNvGrpSpPr>
            <a:grpSpLocks/>
          </p:cNvGrpSpPr>
          <p:nvPr/>
        </p:nvGrpSpPr>
        <p:grpSpPr bwMode="auto">
          <a:xfrm>
            <a:off x="249238" y="5446713"/>
            <a:ext cx="1139825" cy="1252537"/>
            <a:chOff x="203721" y="5664290"/>
            <a:chExt cx="1269719" cy="1438847"/>
          </a:xfrm>
        </p:grpSpPr>
        <p:sp>
          <p:nvSpPr>
            <p:cNvPr id="30" name="Rectangle 81"/>
            <p:cNvSpPr>
              <a:spLocks noChangeArrowheads="1"/>
            </p:cNvSpPr>
            <p:nvPr/>
          </p:nvSpPr>
          <p:spPr bwMode="auto">
            <a:xfrm>
              <a:off x="203721" y="6614793"/>
              <a:ext cx="1259437" cy="488344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600" b="1" dirty="0">
                <a:solidFill>
                  <a:schemeClr val="bg2"/>
                </a:solidFill>
              </a:endParaRP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МЭС Юга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/>
                  </a:solidFill>
                  <a:latin typeface="Times New Roman" pitchFamily="18" charset="0"/>
                  <a:cs typeface="Times New Roman" pitchFamily="18" charset="0"/>
                </a:rPr>
                <a:t>г. Железноводск</a:t>
              </a:r>
            </a:p>
            <a:p>
              <a:pPr algn="ctr">
                <a:defRPr/>
              </a:pPr>
              <a:endParaRPr lang="ru-RU" sz="1600" dirty="0"/>
            </a:p>
          </p:txBody>
        </p:sp>
        <p:pic>
          <p:nvPicPr>
            <p:cNvPr id="21555" name="Picture 51" descr="Картинка 3 из 713">
              <a:hlinkClick r:id="rId18"/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/>
            </a:blip>
            <a:srcRect/>
            <a:stretch>
              <a:fillRect/>
            </a:stretch>
          </p:blipFill>
          <p:spPr bwMode="auto">
            <a:xfrm>
              <a:off x="203721" y="5664290"/>
              <a:ext cx="1269719" cy="950503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</p:pic>
      </p:grpSp>
      <p:sp>
        <p:nvSpPr>
          <p:cNvPr id="32" name="Title 1"/>
          <p:cNvSpPr txBox="1">
            <a:spLocks/>
          </p:cNvSpPr>
          <p:nvPr/>
        </p:nvSpPr>
        <p:spPr bwMode="auto">
          <a:xfrm>
            <a:off x="722313" y="0"/>
            <a:ext cx="8383587" cy="8477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труктура ФСК ЕЭС</a:t>
            </a:r>
            <a:endParaRPr lang="en-GB" sz="3100" b="1" dirty="0"/>
          </a:p>
        </p:txBody>
      </p:sp>
    </p:spTree>
    <p:extLst>
      <p:ext uri="{BB962C8B-B14F-4D97-AF65-F5344CB8AC3E}">
        <p14:creationId xmlns:p14="http://schemas.microsoft.com/office/powerpoint/2010/main" val="1724881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Rounded Rectangle 1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25" y="874713"/>
            <a:ext cx="8920163" cy="249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Picture 9" descr="C:\Users\Polyakova_NV\Desktop\Новая папка\8050_9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00413" y="3459163"/>
            <a:ext cx="1382712" cy="20843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3975" name="Title 1"/>
          <p:cNvSpPr>
            <a:spLocks noGrp="1"/>
          </p:cNvSpPr>
          <p:nvPr>
            <p:ph type="title" idx="4294967295"/>
          </p:nvPr>
        </p:nvSpPr>
        <p:spPr>
          <a:xfrm>
            <a:off x="600075" y="0"/>
            <a:ext cx="8715375" cy="84772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/>
          <a:lstStyle/>
          <a:p>
            <a:pPr algn="ctr" eaLnBrk="1" hangingPunct="1">
              <a:defRPr/>
            </a:pPr>
            <a:r>
              <a:rPr lang="ru-RU" sz="280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800" smtClean="0">
                <a:latin typeface="Arial" pitchFamily="34" charset="0"/>
                <a:cs typeface="Arial" pitchFamily="34" charset="0"/>
              </a:rPr>
            </a:br>
            <a:r>
              <a:rPr lang="ru-RU" sz="3100" smtClean="0">
                <a:latin typeface="Calibri (Основной текст)"/>
                <a:cs typeface="Arial" pitchFamily="34" charset="0"/>
              </a:rPr>
              <a:t>Работа со студентами</a:t>
            </a:r>
            <a:r>
              <a:rPr lang="ru-RU" sz="280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800" smtClean="0">
                <a:latin typeface="Arial" pitchFamily="34" charset="0"/>
                <a:cs typeface="Arial" pitchFamily="34" charset="0"/>
              </a:rPr>
            </a:br>
            <a:endParaRPr lang="en-GB" sz="3100" smtClean="0"/>
          </a:p>
        </p:txBody>
      </p:sp>
      <p:sp>
        <p:nvSpPr>
          <p:cNvPr id="20" name="TextBox 19"/>
          <p:cNvSpPr txBox="1"/>
          <p:nvPr/>
        </p:nvSpPr>
        <p:spPr>
          <a:xfrm>
            <a:off x="1552575" y="3960813"/>
            <a:ext cx="7372350" cy="754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endParaRPr lang="ru-RU" sz="2000" b="1" dirty="0">
              <a:latin typeface="+mn-lt"/>
              <a:cs typeface="+mn-cs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endParaRPr lang="ru-RU" sz="1800" b="1" dirty="0">
              <a:latin typeface="+mn-lt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52488" y="1147763"/>
            <a:ext cx="8039100" cy="1400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600" b="1" dirty="0">
                <a:latin typeface="+mj-lt"/>
                <a:cs typeface="+mn-cs"/>
              </a:rPr>
              <a:t> Ежегодно в МЭС Северо-Запада организуется практика для студентов.  </a:t>
            </a:r>
          </a:p>
          <a:p>
            <a:pPr algn="just">
              <a:buFont typeface="Wingdings" pitchFamily="2" charset="2"/>
              <a:buChar char="ü"/>
              <a:defRPr/>
            </a:pPr>
            <a:r>
              <a:rPr lang="ru-RU" sz="1600" b="1" dirty="0">
                <a:latin typeface="+mj-lt"/>
                <a:cs typeface="+mn-cs"/>
              </a:rPr>
              <a:t> Для того, чтобы практика прошла наиболее эффективно, каждому студенту назначается куратор из высококвалифицированных специалистов Компании.</a:t>
            </a:r>
          </a:p>
          <a:p>
            <a:pPr algn="just">
              <a:buFont typeface="Wingdings" pitchFamily="2" charset="2"/>
              <a:buChar char="ü"/>
              <a:defRPr/>
            </a:pPr>
            <a:endParaRPr lang="ru-RU" sz="1600" b="1" dirty="0">
              <a:latin typeface="+mj-lt"/>
              <a:cs typeface="+mn-cs"/>
            </a:endParaRPr>
          </a:p>
          <a:p>
            <a:pPr algn="just">
              <a:buFont typeface="Wingdings" pitchFamily="2" charset="2"/>
              <a:buChar char="ü"/>
              <a:defRPr/>
            </a:pPr>
            <a:endParaRPr lang="ru-RU" sz="1600" b="1" dirty="0">
              <a:latin typeface="+mj-lt"/>
              <a:cs typeface="+mn-cs"/>
            </a:endParaRPr>
          </a:p>
        </p:txBody>
      </p:sp>
      <p:sp>
        <p:nvSpPr>
          <p:cNvPr id="27655" name="Прямоугольник 36"/>
          <p:cNvSpPr>
            <a:spLocks noChangeArrowheads="1"/>
          </p:cNvSpPr>
          <p:nvPr/>
        </p:nvSpPr>
        <p:spPr bwMode="auto">
          <a:xfrm>
            <a:off x="862013" y="1970088"/>
            <a:ext cx="81264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spcBef>
                <a:spcPct val="20000"/>
              </a:spcBef>
              <a:buBlip>
                <a:blip r:embed="rId5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marL="0" lvl="1" indent="0" algn="just" eaLnBrk="1" hangingPunct="1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ru-RU" altLang="ru-RU" sz="1600" b="1">
                <a:solidFill>
                  <a:schemeClr val="tx1"/>
                </a:solidFill>
              </a:rPr>
              <a:t> Для студентов профильных специальностей проводятся экскурсии на объекты МЭС Северо-Запада.</a:t>
            </a:r>
          </a:p>
        </p:txBody>
      </p:sp>
      <p:pic>
        <p:nvPicPr>
          <p:cNvPr id="16395" name="Picture 11" descr="C:\Users\Polyakova_NV\Desktop\Новая папка\16218a9be18f6842771abd7b0645b719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32500" y="5495925"/>
            <a:ext cx="3290888" cy="1619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Прямоугольник 13"/>
          <p:cNvSpPr/>
          <p:nvPr/>
        </p:nvSpPr>
        <p:spPr>
          <a:xfrm>
            <a:off x="179388" y="6842125"/>
            <a:ext cx="1538287" cy="293688"/>
          </a:xfrm>
          <a:prstGeom prst="rect">
            <a:avLst/>
          </a:prstGeom>
        </p:spPr>
        <p:txBody>
          <a:bodyPr>
            <a:spAutoFit/>
          </a:bodyPr>
          <a:lstStyle/>
          <a:p>
            <a:fld id="{B4F768EB-8D09-4E18-BBB9-79F1905A77CD}" type="slidenum">
              <a:rPr lang="en-US" altLang="ru-RU" sz="1300">
                <a:solidFill>
                  <a:srgbClr val="7F7F7F"/>
                </a:solidFill>
              </a:rPr>
              <a:pPr/>
              <a:t>29</a:t>
            </a:fld>
            <a:endParaRPr lang="en-US" altLang="ru-RU" sz="1300">
              <a:solidFill>
                <a:srgbClr val="7F7F7F"/>
              </a:solidFill>
            </a:endParaRPr>
          </a:p>
        </p:txBody>
      </p:sp>
      <p:pic>
        <p:nvPicPr>
          <p:cNvPr id="28689" name="Picture 17" descr="C:\Users\Polyakova_NV\Desktop\Фото для брошюры\Вз-е в ВУз вместо верхей слева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0225" y="3582988"/>
            <a:ext cx="2559050" cy="1704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8690" name="Picture 18" descr="C:\Users\Polyakova_NV\Desktop\Фото для брошюры\Вз-е с ВУЗ вместо нижних 2 маленьких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78563" y="3398838"/>
            <a:ext cx="2940050" cy="1958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660" name="Picture 19" descr="C:\Users\Polyakova_NV\Desktop\ССО 2013\2012\ФОТОГРАФИИ ССО\Br-c2WapzEw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0" y="5680075"/>
            <a:ext cx="254635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Содержимое 6" descr="IMG_1296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584200" y="5426075"/>
            <a:ext cx="2603500" cy="1577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6" name="Picture 2" descr="C:\Users\Polyakova_NV\Desktop\IMG_8949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35525" y="3478213"/>
            <a:ext cx="1293813" cy="1725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2082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EC74FD-5D1D-48A5-84B8-1CC4E2717AB9}" type="slidenum">
              <a:rPr lang="en-US" altLang="ru-RU"/>
              <a:pPr/>
              <a:t>30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123825" y="0"/>
            <a:ext cx="9629775" cy="847725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арельское предприятие МЭС</a:t>
            </a:r>
            <a:endParaRPr lang="en-GB" sz="31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095625" y="1085850"/>
            <a:ext cx="6086475" cy="1908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400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endParaRPr lang="ru-RU" sz="1800" i="1" dirty="0"/>
          </a:p>
          <a:p>
            <a:pPr>
              <a:defRPr/>
            </a:pPr>
            <a:r>
              <a:rPr lang="ru-RU" sz="1800" dirty="0"/>
              <a:t> </a:t>
            </a:r>
          </a:p>
          <a:p>
            <a:pPr>
              <a:defRPr/>
            </a:pPr>
            <a:endParaRPr lang="ru-RU" sz="1800" dirty="0"/>
          </a:p>
          <a:p>
            <a:pPr algn="ctr">
              <a:defRPr/>
            </a:pPr>
            <a:endParaRPr lang="ru-RU" sz="1800" b="1" dirty="0">
              <a:latin typeface="+mn-lt"/>
            </a:endParaRPr>
          </a:p>
        </p:txBody>
      </p:sp>
      <p:sp>
        <p:nvSpPr>
          <p:cNvPr id="43013" name="TextBox 6"/>
          <p:cNvSpPr txBox="1">
            <a:spLocks noChangeArrowheads="1"/>
          </p:cNvSpPr>
          <p:nvPr/>
        </p:nvSpPr>
        <p:spPr bwMode="auto">
          <a:xfrm>
            <a:off x="2828925" y="1266825"/>
            <a:ext cx="6381750" cy="515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75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и Карельского ПМЭС активно пользуются жилищной программой  ФСК. </a:t>
            </a:r>
            <a:endParaRPr lang="ru-RU" altLang="ru-RU" sz="1800" dirty="0">
              <a:solidFill>
                <a:schemeClr val="tx1"/>
              </a:solidFill>
            </a:endParaRPr>
          </a:p>
        </p:txBody>
      </p:sp>
      <p:sp>
        <p:nvSpPr>
          <p:cNvPr id="43014" name="TextBox 6"/>
          <p:cNvSpPr txBox="1">
            <a:spLocks noChangeArrowheads="1"/>
          </p:cNvSpPr>
          <p:nvPr/>
        </p:nvSpPr>
        <p:spPr bwMode="auto">
          <a:xfrm>
            <a:off x="285750" y="3019425"/>
            <a:ext cx="896302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75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арельское ПМЭС ежегодно трудоустраиваются  выпускники Петрозаводского </a:t>
            </a:r>
            <a:r>
              <a:rPr lang="ru-RU" alt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транспортного техникума;  </a:t>
            </a:r>
            <a:r>
              <a:rPr lang="ru-RU" alt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трозаводского государственного университета;  выпускники Мурманского технического университета .</a:t>
            </a:r>
          </a:p>
        </p:txBody>
      </p:sp>
      <p:sp>
        <p:nvSpPr>
          <p:cNvPr id="43015" name="TextBox 7"/>
          <p:cNvSpPr txBox="1">
            <a:spLocks noChangeArrowheads="1"/>
          </p:cNvSpPr>
          <p:nvPr/>
        </p:nvSpPr>
        <p:spPr bwMode="auto">
          <a:xfrm>
            <a:off x="295275" y="4029075"/>
            <a:ext cx="8524875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75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 чел из состава Карельского ПМЭС по результатам проведенных оценочных мероприятий выбраны в кадровый резерв Общества.</a:t>
            </a:r>
          </a:p>
        </p:txBody>
      </p:sp>
      <p:pic>
        <p:nvPicPr>
          <p:cNvPr id="2140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7176" y="947738"/>
            <a:ext cx="2495550" cy="18481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3017" name="TextBox 11"/>
          <p:cNvSpPr txBox="1">
            <a:spLocks noChangeArrowheads="1"/>
          </p:cNvSpPr>
          <p:nvPr/>
        </p:nvSpPr>
        <p:spPr bwMode="auto">
          <a:xfrm>
            <a:off x="238125" y="4733925"/>
            <a:ext cx="62484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358775" eaLnBrk="0" hangingPunct="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10253F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10253F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5pPr>
            <a:lvl6pPr marL="25146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6pPr>
            <a:lvl7pPr marL="29718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7pPr>
            <a:lvl8pPr marL="34290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8pPr>
            <a:lvl9pPr marL="3886200" indent="-228600" defTabSz="9747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rgbClr val="10253F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и предприятия активно принимают участие в спортивной жизни компании.</a:t>
            </a:r>
          </a:p>
        </p:txBody>
      </p: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0350" y="4781550"/>
            <a:ext cx="2733675" cy="18182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333268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E16E-F869-49B3-B676-459F11982CC2}" type="slidenum">
              <a:rPr lang="en-US" altLang="ru-RU"/>
              <a:pPr/>
              <a:t>31</a:t>
            </a:fld>
            <a:endParaRPr lang="en-US" altLang="ru-RU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Контакты МЭС </a:t>
            </a:r>
            <a:r>
              <a:rPr lang="ru-RU" sz="3100" b="1" dirty="0" err="1"/>
              <a:t>Северо-Запада</a:t>
            </a:r>
            <a:endParaRPr lang="en-GB" sz="3100" b="1" dirty="0"/>
          </a:p>
        </p:txBody>
      </p:sp>
      <p:grpSp>
        <p:nvGrpSpPr>
          <p:cNvPr id="44036" name="Rounded Rectangle 13"/>
          <p:cNvGrpSpPr>
            <a:grpSpLocks/>
          </p:cNvGrpSpPr>
          <p:nvPr/>
        </p:nvGrpSpPr>
        <p:grpSpPr bwMode="auto">
          <a:xfrm>
            <a:off x="1985963" y="1920875"/>
            <a:ext cx="5562600" cy="3143250"/>
            <a:chOff x="292" y="731"/>
            <a:chExt cx="2458" cy="2091"/>
          </a:xfrm>
        </p:grpSpPr>
        <p:sp>
          <p:nvSpPr>
            <p:cNvPr id="44040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spcBef>
                  <a:spcPct val="20000"/>
                </a:spcBef>
                <a:buBlip>
                  <a:blip r:embed="rId2"/>
                </a:buBlip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rgbClr val="10253F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rgbClr val="10253F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5pPr>
              <a:lvl6pPr marL="25146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6pPr>
              <a:lvl7pPr marL="29718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7pPr>
              <a:lvl8pPr marL="34290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8pPr>
              <a:lvl9pPr marL="3886200" indent="-228600" defTabSz="9747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rgbClr val="10253F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44041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" y="889"/>
              <a:ext cx="2458" cy="1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2647950" y="2422525"/>
            <a:ext cx="4448175" cy="26715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19100" indent="-382588" algn="ctr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2000" b="1" u="sng" dirty="0">
                <a:latin typeface="+mn-lt"/>
              </a:rPr>
              <a:t>Карельское предприятие МЭС:</a:t>
            </a: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endParaRPr lang="ru-RU" sz="1800" b="1" dirty="0">
              <a:latin typeface="+mn-lt"/>
            </a:endParaRP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1800" b="1" dirty="0"/>
              <a:t>       г. Петрозаводск, пр. А.Невского 53-а</a:t>
            </a:r>
            <a:endParaRPr lang="ru-RU" sz="1800" b="1" dirty="0">
              <a:latin typeface="+mn-lt"/>
            </a:endParaRP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1800" b="1" dirty="0">
                <a:latin typeface="+mn-lt"/>
              </a:rPr>
              <a:t>                </a:t>
            </a:r>
            <a:r>
              <a:rPr lang="ru-RU" sz="1800" b="1" dirty="0"/>
              <a:t> </a:t>
            </a: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1800" b="1" dirty="0"/>
              <a:t>                 (814-2)71-60-70</a:t>
            </a: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endParaRPr lang="ru-RU" sz="1800" b="1" dirty="0">
              <a:latin typeface="+mn-lt"/>
            </a:endParaRP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1800" b="1" dirty="0">
                <a:latin typeface="+mn-lt"/>
              </a:rPr>
              <a:t>                </a:t>
            </a:r>
            <a:r>
              <a:rPr lang="ru-RU" sz="1800" dirty="0"/>
              <a:t> </a:t>
            </a:r>
            <a:r>
              <a:rPr lang="ru-RU" sz="1800" u="sng" dirty="0">
                <a:hlinkClick r:id="rId4"/>
              </a:rPr>
              <a:t>Platanaya-NN@fskees.ru</a:t>
            </a:r>
            <a:endParaRPr lang="ru-RU" sz="1800" b="1" dirty="0">
              <a:latin typeface="+mn-lt"/>
            </a:endParaRPr>
          </a:p>
          <a:p>
            <a:pPr marL="419100" indent="-3825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  <a:buSzPct val="80000"/>
              <a:defRPr/>
            </a:pPr>
            <a:r>
              <a:rPr lang="ru-RU" sz="1800" b="1" dirty="0">
                <a:latin typeface="+mn-lt"/>
              </a:rPr>
              <a:t>                                          </a:t>
            </a:r>
            <a:r>
              <a:rPr lang="en-US" sz="1800" b="1" dirty="0">
                <a:latin typeface="+mn-lt"/>
              </a:rPr>
              <a:t>           </a:t>
            </a:r>
            <a:r>
              <a:rPr lang="ru-RU" sz="1800" b="1" dirty="0">
                <a:latin typeface="+mn-lt"/>
              </a:rPr>
              <a:t>                        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44038" name="Picture 7" descr="j0283576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0" y="3411538"/>
            <a:ext cx="75723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5" descr="j043155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325" y="4062413"/>
            <a:ext cx="5810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28083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950D-63C6-421C-BBFC-CBA3E82685F1}" type="slidenum">
              <a:rPr lang="en-US" altLang="ru-RU"/>
              <a:pPr/>
              <a:t>32</a:t>
            </a:fld>
            <a:endParaRPr lang="en-US" altLang="ru-RU"/>
          </a:p>
        </p:txBody>
      </p:sp>
      <p:pic>
        <p:nvPicPr>
          <p:cNvPr id="3" name="Picture 2" descr="C:\Users\Polyakova_NV\Desktop\img_7884_the bes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8875" y="3930741"/>
            <a:ext cx="4686299" cy="312018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Box 3"/>
          <p:cNvSpPr txBox="1"/>
          <p:nvPr/>
        </p:nvSpPr>
        <p:spPr>
          <a:xfrm>
            <a:off x="2838450" y="2466975"/>
            <a:ext cx="3933825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4000" b="1" dirty="0">
                <a:latin typeface="+mn-lt"/>
                <a:cs typeface="+mn-cs"/>
              </a:rPr>
              <a:t>БЛАГОДАРИМ ЗА ВНИМАНИЕ!</a:t>
            </a:r>
          </a:p>
        </p:txBody>
      </p:sp>
      <p:pic>
        <p:nvPicPr>
          <p:cNvPr id="45061" name="Рисунок 5" descr="logo3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200025"/>
            <a:ext cx="2368550" cy="227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18226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большой логотип белый прозрачный.g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813" y="5643563"/>
            <a:ext cx="2135187" cy="121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43A0F5-627D-4778-8A70-61272DD1A18C}" type="slidenum">
              <a:rPr lang="en-US" altLang="ru-RU"/>
              <a:pPr/>
              <a:t>3</a:t>
            </a:fld>
            <a:endParaRPr lang="en-US" altLang="ru-RU"/>
          </a:p>
        </p:txBody>
      </p:sp>
      <p:sp>
        <p:nvSpPr>
          <p:cNvPr id="17412" name="Rectangle 81"/>
          <p:cNvSpPr>
            <a:spLocks noChangeArrowheads="1"/>
          </p:cNvSpPr>
          <p:nvPr/>
        </p:nvSpPr>
        <p:spPr bwMode="auto">
          <a:xfrm>
            <a:off x="5750748" y="2350309"/>
            <a:ext cx="1546094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Новгородское</a:t>
            </a:r>
            <a:r>
              <a:rPr lang="ru-RU" sz="1900" b="1" dirty="0">
                <a:solidFill>
                  <a:schemeClr val="accent1"/>
                </a:solidFill>
              </a:rPr>
              <a:t/>
            </a:r>
            <a:br>
              <a:rPr lang="ru-RU" sz="1900" b="1" dirty="0">
                <a:solidFill>
                  <a:schemeClr val="accent1"/>
                </a:solidFill>
              </a:rPr>
            </a:br>
            <a:r>
              <a:rPr lang="ru-RU" sz="1900" b="1" dirty="0">
                <a:solidFill>
                  <a:schemeClr val="accent1"/>
                </a:solidFill>
              </a:rPr>
              <a:t>ПМЭС</a:t>
            </a:r>
          </a:p>
          <a:p>
            <a:pPr algn="ctr">
              <a:defRPr/>
            </a:pPr>
            <a:endParaRPr lang="ru-RU" dirty="0"/>
          </a:p>
        </p:txBody>
      </p:sp>
      <p:sp>
        <p:nvSpPr>
          <p:cNvPr id="17413" name="Rectangle 83"/>
          <p:cNvSpPr>
            <a:spLocks noChangeArrowheads="1"/>
          </p:cNvSpPr>
          <p:nvPr/>
        </p:nvSpPr>
        <p:spPr bwMode="auto">
          <a:xfrm>
            <a:off x="2585976" y="2430707"/>
            <a:ext cx="1847654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>
                <a:solidFill>
                  <a:schemeClr val="accent1"/>
                </a:solidFill>
              </a:rPr>
              <a:t>Ленинградское</a:t>
            </a:r>
            <a:br>
              <a:rPr lang="ru-RU" sz="1900" b="1" dirty="0">
                <a:solidFill>
                  <a:schemeClr val="accent1"/>
                </a:solidFill>
              </a:rPr>
            </a:br>
            <a:r>
              <a:rPr lang="ru-RU" sz="1900" b="1" dirty="0">
                <a:solidFill>
                  <a:schemeClr val="accent1"/>
                </a:solidFill>
              </a:rPr>
              <a:t>ПМЭС</a:t>
            </a:r>
          </a:p>
          <a:p>
            <a:pPr algn="ctr">
              <a:defRPr/>
            </a:pPr>
            <a:endParaRPr lang="ru-RU" dirty="0"/>
          </a:p>
        </p:txBody>
      </p:sp>
      <p:sp>
        <p:nvSpPr>
          <p:cNvPr id="17414" name="Rectangle 84"/>
          <p:cNvSpPr>
            <a:spLocks noChangeArrowheads="1"/>
          </p:cNvSpPr>
          <p:nvPr/>
        </p:nvSpPr>
        <p:spPr bwMode="auto">
          <a:xfrm>
            <a:off x="6908401" y="4702787"/>
            <a:ext cx="1581005" cy="57943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>
                <a:solidFill>
                  <a:schemeClr val="accent1"/>
                </a:solidFill>
              </a:rPr>
              <a:t>Карельское</a:t>
            </a:r>
          </a:p>
          <a:p>
            <a:pPr algn="ctr">
              <a:defRPr/>
            </a:pPr>
            <a:r>
              <a:rPr lang="ru-RU" sz="1900" b="1" dirty="0">
                <a:solidFill>
                  <a:schemeClr val="accent1"/>
                </a:solidFill>
              </a:rPr>
              <a:t>ПМЭС</a:t>
            </a:r>
          </a:p>
          <a:p>
            <a:pPr algn="ctr">
              <a:defRPr/>
            </a:pPr>
            <a:endParaRPr lang="ru-RU" dirty="0"/>
          </a:p>
        </p:txBody>
      </p:sp>
      <p:sp>
        <p:nvSpPr>
          <p:cNvPr id="17417" name="Rectangle 88"/>
          <p:cNvSpPr>
            <a:spLocks noChangeArrowheads="1"/>
          </p:cNvSpPr>
          <p:nvPr/>
        </p:nvSpPr>
        <p:spPr bwMode="auto">
          <a:xfrm>
            <a:off x="1977926" y="4672161"/>
            <a:ext cx="1545210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>
                <a:solidFill>
                  <a:schemeClr val="accent1"/>
                </a:solidFill>
              </a:rPr>
              <a:t>Северное </a:t>
            </a:r>
            <a:br>
              <a:rPr lang="ru-RU" sz="1900" b="1">
                <a:solidFill>
                  <a:schemeClr val="accent1"/>
                </a:solidFill>
              </a:rPr>
            </a:br>
            <a:r>
              <a:rPr lang="ru-RU" sz="1900" b="1">
                <a:solidFill>
                  <a:schemeClr val="accent1"/>
                </a:solidFill>
              </a:rPr>
              <a:t>ПМЭС</a:t>
            </a:r>
          </a:p>
          <a:p>
            <a:pPr algn="ctr">
              <a:defRPr/>
            </a:pPr>
            <a:endParaRPr lang="ru-RU"/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2744788" y="1293813"/>
            <a:ext cx="4029075" cy="628650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3200" b="1" dirty="0">
                <a:solidFill>
                  <a:schemeClr val="tx2">
                    <a:lumMod val="75000"/>
                  </a:schemeClr>
                </a:solidFill>
              </a:rPr>
              <a:t>МЭС </a:t>
            </a:r>
            <a:r>
              <a:rPr lang="ru-RU" sz="3200" b="1" dirty="0" err="1">
                <a:solidFill>
                  <a:schemeClr val="tx2">
                    <a:lumMod val="75000"/>
                  </a:schemeClr>
                </a:solidFill>
              </a:rPr>
              <a:t>Северо-Запада</a:t>
            </a:r>
            <a:endParaRPr lang="ru-RU" sz="3200" b="1" dirty="0">
              <a:solidFill>
                <a:schemeClr val="tx2">
                  <a:lumMod val="75000"/>
                </a:schemeClr>
              </a:solidFill>
              <a:latin typeface="Century Schoolbook" pitchFamily="18" charset="0"/>
              <a:ea typeface="Batang" pitchFamily="18" charset="-127"/>
              <a:cs typeface="Aharoni" pitchFamily="2" charset="-79"/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труктура Филиала</a:t>
            </a:r>
            <a:endParaRPr lang="en-GB" sz="3100" b="1" dirty="0"/>
          </a:p>
        </p:txBody>
      </p:sp>
      <p:pic>
        <p:nvPicPr>
          <p:cNvPr id="18435" name="Picture 3" descr="C:\Users\Polyakova_NV\Desktop\Новобрянская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12756" y="2964460"/>
            <a:ext cx="1992186" cy="13291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36" name="Picture 4" descr="C:\Users\Polyakova_NV\Desktop\20.12.07 05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67272" y="3069125"/>
            <a:ext cx="1926355" cy="12829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37" name="Picture 5" descr="C:\Users\Polyakova_NV\Desktop\Древлянка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24799" y="5328983"/>
            <a:ext cx="1978917" cy="13199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41" name="Picture 9" descr="C:\Users\Polyakova_NV\Desktop\Январь_Сев_Инта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70536" y="5309120"/>
            <a:ext cx="2026762" cy="1378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414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135" y="2912269"/>
            <a:ext cx="620712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5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3004" y="2701728"/>
            <a:ext cx="620712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6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730" y="5328983"/>
            <a:ext cx="620712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7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368" y="5170650"/>
            <a:ext cx="620713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9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747" y="2912269"/>
            <a:ext cx="620713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02189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484094" y="1108822"/>
            <a:ext cx="8821271" cy="84268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4995A01-F7A5-49D6-911E-4DB47353A65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 smtClean="0"/>
              <a:t>Карельское предприятие магистральных электрических сетей</a:t>
            </a:r>
            <a:endParaRPr lang="en-GB" sz="3100" b="1" dirty="0"/>
          </a:p>
        </p:txBody>
      </p:sp>
      <p:sp>
        <p:nvSpPr>
          <p:cNvPr id="15367" name="Text Box 5"/>
          <p:cNvSpPr txBox="1">
            <a:spLocks noChangeArrowheads="1"/>
          </p:cNvSpPr>
          <p:nvPr/>
        </p:nvSpPr>
        <p:spPr bwMode="auto">
          <a:xfrm>
            <a:off x="5097463" y="1135063"/>
            <a:ext cx="4111625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5976" tIns="49907" rIns="95976" bIns="49907">
            <a:spAutoFit/>
          </a:bodyPr>
          <a:lstStyle>
            <a:lvl1pPr defTabSz="973138" eaLnBrk="0" hangingPunct="0"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973138" eaLnBrk="0" hangingPunct="0"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973138" eaLnBrk="0" hangingPunct="0"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973138" eaLnBrk="0" hangingPunct="0"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973138" eaLnBrk="0" hangingPunct="0"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73075" algn="l"/>
                <a:tab pos="952500" algn="l"/>
                <a:tab pos="1433513" algn="l"/>
                <a:tab pos="1912938" algn="l"/>
                <a:tab pos="2392363" algn="l"/>
                <a:tab pos="2870200" algn="l"/>
                <a:tab pos="3348038" algn="l"/>
                <a:tab pos="3827463" algn="l"/>
                <a:tab pos="4305300" algn="l"/>
                <a:tab pos="4787900" algn="l"/>
                <a:tab pos="5267325" algn="l"/>
                <a:tab pos="5746750" algn="l"/>
                <a:tab pos="6223000" algn="l"/>
                <a:tab pos="6702425" algn="l"/>
                <a:tab pos="7181850" algn="l"/>
                <a:tab pos="7659688" algn="l"/>
                <a:tab pos="8140700" algn="l"/>
                <a:tab pos="8621713" algn="l"/>
                <a:tab pos="9099550" algn="l"/>
                <a:tab pos="9577388" algn="l"/>
              </a:tabLs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1400">
              <a:solidFill>
                <a:srgbClr val="000000"/>
              </a:solidFill>
            </a:endParaRPr>
          </a:p>
          <a:p>
            <a:pPr eaLnBrk="1" hangingPunct="1">
              <a:spcBef>
                <a:spcPct val="50000"/>
              </a:spcBef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591670" y="5936876"/>
            <a:ext cx="8812305" cy="408623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800" b="1" dirty="0">
                <a:solidFill>
                  <a:schemeClr val="tx1"/>
                </a:solidFill>
              </a:rPr>
              <a:t>Общая численность персонала </a:t>
            </a:r>
            <a:r>
              <a:rPr lang="ru-RU" sz="1800" b="1" dirty="0" smtClean="0">
                <a:solidFill>
                  <a:schemeClr val="tx1"/>
                </a:solidFill>
              </a:rPr>
              <a:t>Карельского ПМЭС составляет 620 человек</a:t>
            </a:r>
            <a:endParaRPr lang="ru-RU" sz="1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3875" y="2152650"/>
            <a:ext cx="3793601" cy="3540747"/>
          </a:xfrm>
          <a:prstGeom prst="roundRect">
            <a:avLst>
              <a:gd name="adj" fmla="val 16667"/>
            </a:avLst>
          </a:prstGeom>
          <a:solidFill>
            <a:schemeClr val="accent5">
              <a:lumMod val="20000"/>
              <a:lumOff val="80000"/>
            </a:schemeClr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>
              <a:defRPr/>
            </a:pPr>
            <a:endParaRPr lang="ru-RU" sz="2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54050" y="2305762"/>
            <a:ext cx="3815920" cy="346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800" b="1" i="1" dirty="0">
                <a:latin typeface="+mn-lt"/>
                <a:cs typeface="+mn-cs"/>
              </a:rPr>
              <a:t>Электросетевые объекты расположены на территориях</a:t>
            </a:r>
            <a:r>
              <a:rPr lang="ru-RU" sz="1800" b="1" i="1" dirty="0" smtClean="0">
                <a:latin typeface="+mn-lt"/>
                <a:cs typeface="+mn-cs"/>
              </a:rPr>
              <a:t>:</a:t>
            </a:r>
          </a:p>
          <a:p>
            <a:pPr>
              <a:spcAft>
                <a:spcPts val="600"/>
              </a:spcAft>
              <a:defRPr/>
            </a:pPr>
            <a:r>
              <a:rPr lang="ru-RU" sz="1800" b="1" i="1" dirty="0" smtClean="0">
                <a:latin typeface="+mn-lt"/>
                <a:cs typeface="+mn-cs"/>
              </a:rPr>
              <a:t> </a:t>
            </a:r>
          </a:p>
          <a:p>
            <a:pPr algn="just">
              <a:buFont typeface="Wingdings" pitchFamily="2" charset="2"/>
              <a:buChar char="v"/>
              <a:defRPr/>
            </a:pPr>
            <a:r>
              <a:rPr lang="ru-RU" sz="1800" b="1" dirty="0" smtClean="0">
                <a:latin typeface="+mn-lt"/>
                <a:cs typeface="+mn-cs"/>
              </a:rPr>
              <a:t> </a:t>
            </a:r>
            <a:r>
              <a:rPr lang="ru-RU" sz="1800" b="1" dirty="0">
                <a:latin typeface="+mn-lt"/>
                <a:cs typeface="+mn-cs"/>
              </a:rPr>
              <a:t>Мурманская область; </a:t>
            </a:r>
            <a:endParaRPr lang="ru-RU" sz="1800" b="1" dirty="0" smtClean="0">
              <a:latin typeface="+mn-lt"/>
              <a:cs typeface="+mn-cs"/>
            </a:endParaRPr>
          </a:p>
          <a:p>
            <a:pPr algn="just">
              <a:buFont typeface="Wingdings" pitchFamily="2" charset="2"/>
              <a:buChar char="v"/>
              <a:defRPr/>
            </a:pPr>
            <a:endParaRPr lang="ru-RU" sz="1800" b="1" dirty="0">
              <a:latin typeface="+mn-lt"/>
              <a:cs typeface="+mn-cs"/>
            </a:endParaRPr>
          </a:p>
          <a:p>
            <a:pPr>
              <a:buFont typeface="Wingdings" pitchFamily="2" charset="2"/>
              <a:buChar char="v"/>
              <a:defRPr/>
            </a:pPr>
            <a:r>
              <a:rPr lang="ru-RU" sz="1800" b="1" dirty="0">
                <a:latin typeface="+mn-lt"/>
                <a:cs typeface="+mn-cs"/>
              </a:rPr>
              <a:t> Ленинградская </a:t>
            </a:r>
            <a:r>
              <a:rPr lang="ru-RU" sz="1800" b="1" dirty="0" smtClean="0">
                <a:latin typeface="+mn-lt"/>
                <a:cs typeface="+mn-cs"/>
              </a:rPr>
              <a:t>область </a:t>
            </a:r>
            <a:r>
              <a:rPr lang="ru-RU" sz="1800" dirty="0" smtClean="0">
                <a:latin typeface="+mn-lt"/>
                <a:cs typeface="+mn-cs"/>
              </a:rPr>
              <a:t>(Выборгский, Лодейнопольский, Приозерский, Всеволожский, </a:t>
            </a:r>
            <a:endParaRPr lang="ru-RU" sz="1800" dirty="0">
              <a:latin typeface="+mn-lt"/>
              <a:cs typeface="+mn-cs"/>
            </a:endParaRPr>
          </a:p>
          <a:p>
            <a:pPr>
              <a:defRPr/>
            </a:pPr>
            <a:r>
              <a:rPr lang="ru-RU" sz="1800" dirty="0" smtClean="0">
                <a:latin typeface="+mn-lt"/>
                <a:cs typeface="+mn-cs"/>
              </a:rPr>
              <a:t> Тихвинский и Волховский районы)</a:t>
            </a:r>
            <a:r>
              <a:rPr lang="ru-RU" sz="1800" b="1" dirty="0" smtClean="0">
                <a:latin typeface="+mn-lt"/>
                <a:cs typeface="+mn-cs"/>
              </a:rPr>
              <a:t>; </a:t>
            </a:r>
          </a:p>
          <a:p>
            <a:pPr>
              <a:buFont typeface="Wingdings" pitchFamily="2" charset="2"/>
              <a:buChar char="v"/>
              <a:defRPr/>
            </a:pPr>
            <a:endParaRPr lang="ru-RU" sz="1800" b="1" dirty="0">
              <a:latin typeface="+mn-lt"/>
              <a:cs typeface="+mn-cs"/>
            </a:endParaRPr>
          </a:p>
          <a:p>
            <a:pPr algn="just">
              <a:buFont typeface="Wingdings" pitchFamily="2" charset="2"/>
              <a:buChar char="v"/>
              <a:defRPr/>
            </a:pPr>
            <a:r>
              <a:rPr lang="ru-RU" sz="1800" b="1" dirty="0" smtClean="0">
                <a:latin typeface="+mn-lt"/>
                <a:cs typeface="+mn-cs"/>
              </a:rPr>
              <a:t> Республика Карелия</a:t>
            </a:r>
            <a:r>
              <a:rPr lang="ru-RU" sz="1800" b="1" dirty="0">
                <a:latin typeface="+mn-lt"/>
                <a:cs typeface="+mn-cs"/>
              </a:rPr>
              <a:t>.</a:t>
            </a:r>
          </a:p>
          <a:p>
            <a:pPr algn="just">
              <a:buFont typeface="Wingdings" pitchFamily="2" charset="2"/>
              <a:buChar char="v"/>
              <a:defRPr/>
            </a:pPr>
            <a:endParaRPr lang="ru-RU" dirty="0">
              <a:cs typeface="+mn-cs"/>
            </a:endParaRPr>
          </a:p>
        </p:txBody>
      </p:sp>
      <p:sp>
        <p:nvSpPr>
          <p:cNvPr id="15375" name="Прямоугольник 15"/>
          <p:cNvSpPr>
            <a:spLocks noChangeArrowheads="1"/>
          </p:cNvSpPr>
          <p:nvPr/>
        </p:nvSpPr>
        <p:spPr bwMode="auto">
          <a:xfrm>
            <a:off x="622300" y="1136650"/>
            <a:ext cx="843121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800" b="1" dirty="0"/>
              <a:t>В зону обслуживания </a:t>
            </a:r>
            <a:r>
              <a:rPr lang="ru-RU" altLang="ru-RU" sz="1800" b="1" dirty="0" smtClean="0"/>
              <a:t>Карельского ПМЭС входят </a:t>
            </a:r>
            <a:r>
              <a:rPr lang="ru-RU" altLang="ru-RU" sz="1800" b="1" dirty="0"/>
              <a:t>территории </a:t>
            </a:r>
            <a:r>
              <a:rPr lang="ru-RU" altLang="ru-RU" sz="1800" b="1" dirty="0" smtClean="0"/>
              <a:t>3 субъектов </a:t>
            </a:r>
            <a:r>
              <a:rPr lang="ru-RU" altLang="ru-RU" sz="1800" b="1" dirty="0"/>
              <a:t>РФ общей площадью </a:t>
            </a:r>
            <a:r>
              <a:rPr lang="ru-RU" altLang="ru-RU" sz="1800" b="1" dirty="0" smtClean="0"/>
              <a:t>356,564 </a:t>
            </a:r>
            <a:r>
              <a:rPr lang="ru-RU" altLang="ru-RU" sz="1800" b="1" dirty="0"/>
              <a:t>тысяч кв. км с населением </a:t>
            </a:r>
            <a:r>
              <a:rPr lang="ru-RU" altLang="ru-RU" sz="1800" b="1" dirty="0" smtClean="0"/>
              <a:t>2,152 миллион</a:t>
            </a:r>
            <a:r>
              <a:rPr lang="ru-RU" altLang="ru-RU" sz="1800" b="1" dirty="0"/>
              <a:t>а</a:t>
            </a:r>
            <a:r>
              <a:rPr lang="ru-RU" altLang="ru-RU" sz="1800" b="1" dirty="0" smtClean="0"/>
              <a:t> </a:t>
            </a:r>
            <a:r>
              <a:rPr lang="ru-RU" altLang="ru-RU" sz="1800" b="1" dirty="0"/>
              <a:t>человек</a:t>
            </a:r>
            <a:endParaRPr lang="ru-RU" altLang="ru-RU" sz="1800" dirty="0"/>
          </a:p>
        </p:txBody>
      </p:sp>
      <p:pic>
        <p:nvPicPr>
          <p:cNvPr id="15383" name="Picture 23" descr="C:\Users\Polyakova_NV\Desktop\Фото для презентации\Для Наташи\IMG_5952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5371" y="2276806"/>
            <a:ext cx="4558142" cy="335981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82804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Общая информация о Филиале</a:t>
            </a:r>
            <a:endParaRPr lang="en-GB" sz="3100" b="1" dirty="0"/>
          </a:p>
        </p:txBody>
      </p:sp>
      <p:grpSp>
        <p:nvGrpSpPr>
          <p:cNvPr id="17412" name="Rounded Rectangle 13"/>
          <p:cNvGrpSpPr>
            <a:grpSpLocks/>
          </p:cNvGrpSpPr>
          <p:nvPr/>
        </p:nvGrpSpPr>
        <p:grpSpPr bwMode="auto">
          <a:xfrm>
            <a:off x="4191000" y="3143250"/>
            <a:ext cx="5009092" cy="3711576"/>
            <a:chOff x="292" y="731"/>
            <a:chExt cx="2458" cy="2411"/>
          </a:xfrm>
        </p:grpSpPr>
        <p:sp>
          <p:nvSpPr>
            <p:cNvPr id="17418" name="Text Box 4"/>
            <p:cNvSpPr txBox="1">
              <a:spLocks noChangeArrowheads="1"/>
            </p:cNvSpPr>
            <p:nvPr/>
          </p:nvSpPr>
          <p:spPr bwMode="auto">
            <a:xfrm>
              <a:off x="365" y="731"/>
              <a:ext cx="230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3" tIns="45712" rIns="91423" bIns="45712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ru-RU" altLang="ru-RU" sz="1700" b="1">
                <a:solidFill>
                  <a:srgbClr val="000000"/>
                </a:solidFill>
                <a:latin typeface="Futura Bk"/>
              </a:endParaRPr>
            </a:p>
          </p:txBody>
        </p:sp>
        <p:pic>
          <p:nvPicPr>
            <p:cNvPr id="17419" name="Rounded 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" y="922"/>
              <a:ext cx="2458" cy="2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TextBox 28"/>
          <p:cNvSpPr txBox="1"/>
          <p:nvPr/>
        </p:nvSpPr>
        <p:spPr>
          <a:xfrm>
            <a:off x="4339766" y="3656013"/>
            <a:ext cx="486032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sz="1400" b="1" dirty="0" smtClean="0">
                <a:latin typeface="+mn-lt"/>
                <a:cs typeface="+mn-cs"/>
              </a:rPr>
              <a:t>Основные функции и задачи предприятия: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400" b="1" dirty="0" smtClean="0">
                <a:latin typeface="+mn-lt"/>
                <a:cs typeface="+mn-cs"/>
              </a:rPr>
              <a:t> </a:t>
            </a:r>
            <a:r>
              <a:rPr lang="ru-RU" sz="1400" b="1" dirty="0">
                <a:latin typeface="+mn-lt"/>
                <a:cs typeface="+mn-cs"/>
              </a:rPr>
              <a:t>Эксплуатация, техническое обслуживание и ремонт Магистральных электрических </a:t>
            </a:r>
            <a:r>
              <a:rPr lang="ru-RU" sz="1400" b="1" dirty="0" smtClean="0">
                <a:latin typeface="+mn-lt"/>
                <a:cs typeface="+mn-cs"/>
              </a:rPr>
              <a:t>сетей. </a:t>
            </a:r>
            <a:endParaRPr lang="ru-RU" sz="1400" b="1" dirty="0">
              <a:latin typeface="+mn-lt"/>
              <a:cs typeface="+mn-cs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+mn-cs"/>
              </a:rPr>
              <a:t> Предоставление услуг по передаче </a:t>
            </a:r>
            <a:r>
              <a:rPr lang="ru-RU" sz="1400" b="1" dirty="0" smtClean="0">
                <a:latin typeface="+mn-lt"/>
                <a:cs typeface="+mn-cs"/>
              </a:rPr>
              <a:t>электроэнергии и </a:t>
            </a:r>
            <a:r>
              <a:rPr lang="ru-RU" sz="1400" b="1" dirty="0">
                <a:latin typeface="+mn-lt"/>
                <a:cs typeface="+mn-cs"/>
              </a:rPr>
              <a:t>присоединению к сети.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+mn-cs"/>
              </a:rPr>
              <a:t> Инвестиционная деятельность в сфере развития Магистральных электрических </a:t>
            </a:r>
            <a:r>
              <a:rPr lang="ru-RU" sz="1400" b="1" dirty="0" smtClean="0">
                <a:latin typeface="+mn-lt"/>
                <a:cs typeface="+mn-cs"/>
              </a:rPr>
              <a:t>сетей.</a:t>
            </a:r>
            <a:endParaRPr lang="ru-RU" sz="1400" b="1" dirty="0">
              <a:latin typeface="+mn-lt"/>
              <a:cs typeface="+mn-cs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+mn-cs"/>
              </a:rPr>
              <a:t> Поддержание в надлежащем состоянии электрической сети. 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+mn-cs"/>
              </a:rPr>
              <a:t> Технический надзор за состоянием электрической сети.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sz="1400" b="1" dirty="0">
                <a:latin typeface="+mn-lt"/>
                <a:cs typeface="+mn-cs"/>
              </a:rPr>
              <a:t> Управление Магистральными электрическими </a:t>
            </a:r>
            <a:r>
              <a:rPr lang="ru-RU" sz="1400" b="1" dirty="0" smtClean="0">
                <a:latin typeface="+mn-lt"/>
                <a:cs typeface="+mn-cs"/>
              </a:rPr>
              <a:t>сетями.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sz="1400" b="1" dirty="0" smtClean="0">
                <a:latin typeface="+mn-lt"/>
                <a:cs typeface="+mn-cs"/>
              </a:rPr>
              <a:t> Передача эл. энергии и мощности в Финляндию.</a:t>
            </a:r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0550" y="723900"/>
            <a:ext cx="8553450" cy="2419350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ctr" anchorCtr="1"/>
          <a:lstStyle/>
          <a:p>
            <a:pPr>
              <a:spcAft>
                <a:spcPts val="0"/>
              </a:spcAft>
              <a:defRPr/>
            </a:pPr>
            <a:r>
              <a:rPr lang="ru-RU" sz="1800" b="1" dirty="0" smtClean="0"/>
              <a:t>В эксплуатации Карельского предприятия МЭС находится:</a:t>
            </a:r>
          </a:p>
          <a:p>
            <a:pPr>
              <a:spcAft>
                <a:spcPts val="0"/>
              </a:spcAft>
              <a:defRPr/>
            </a:pPr>
            <a:r>
              <a:rPr lang="ru-RU" sz="1800" b="1" dirty="0" smtClean="0"/>
              <a:t>114 ЛЭП общей протяженностью 4 319 км;</a:t>
            </a:r>
          </a:p>
          <a:p>
            <a:pPr>
              <a:spcAft>
                <a:spcPts val="0"/>
              </a:spcAft>
              <a:defRPr/>
            </a:pPr>
            <a:r>
              <a:rPr lang="ru-RU" sz="1800" b="1" dirty="0" smtClean="0"/>
              <a:t>23 подстанции и 1 РП (РП в собственности ОАО «РЖД») напряжением 35-400 кВ;</a:t>
            </a:r>
          </a:p>
          <a:p>
            <a:pPr>
              <a:spcAft>
                <a:spcPts val="0"/>
              </a:spcAft>
              <a:defRPr/>
            </a:pPr>
            <a:r>
              <a:rPr lang="ru-RU" sz="1800" b="1" dirty="0" smtClean="0"/>
              <a:t>1 дизельная электростанция напряжением 6 кВ;</a:t>
            </a:r>
          </a:p>
          <a:p>
            <a:pPr>
              <a:spcAft>
                <a:spcPts val="600"/>
              </a:spcAft>
              <a:defRPr/>
            </a:pPr>
            <a:r>
              <a:rPr lang="ru-RU" sz="1800" b="1" dirty="0" smtClean="0"/>
              <a:t>Суммарная мощность ПС - 14 183,09 МВА.</a:t>
            </a:r>
          </a:p>
          <a:p>
            <a:pPr>
              <a:spcAft>
                <a:spcPts val="600"/>
              </a:spcAft>
              <a:defRPr/>
            </a:pPr>
            <a:r>
              <a:rPr lang="ru-RU" sz="1800" b="1" dirty="0" smtClean="0"/>
              <a:t>Карельское ПМЭС </a:t>
            </a:r>
            <a:r>
              <a:rPr lang="ru-RU" sz="1800" b="1" dirty="0"/>
              <a:t>располагает </a:t>
            </a:r>
            <a:r>
              <a:rPr lang="ru-RU" sz="1800" b="1" dirty="0" smtClean="0"/>
              <a:t>161 </a:t>
            </a:r>
            <a:r>
              <a:rPr lang="ru-RU" sz="1800" b="1" dirty="0"/>
              <a:t>ед. транспортных средств и </a:t>
            </a:r>
            <a:r>
              <a:rPr lang="ru-RU" sz="1800" b="1" dirty="0" smtClean="0"/>
              <a:t>механизмов</a:t>
            </a:r>
            <a:r>
              <a:rPr lang="ru-RU" sz="1800" b="1" dirty="0"/>
              <a:t>.</a:t>
            </a:r>
          </a:p>
        </p:txBody>
      </p:sp>
      <p:pic>
        <p:nvPicPr>
          <p:cNvPr id="17423" name="Picture 15" descr="C:\Users\Polyakova_NV\Desktop\Ремонт на линии электропередачи 330 кВ  Юго-Западная - Чудово МЭС Северо-Запада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0550" y="3574781"/>
            <a:ext cx="3382580" cy="314254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27266-D165-4ECC-9766-2744306A125D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17412" name="Rectangle 81"/>
          <p:cNvSpPr>
            <a:spLocks noChangeArrowheads="1"/>
          </p:cNvSpPr>
          <p:nvPr/>
        </p:nvSpPr>
        <p:spPr bwMode="auto">
          <a:xfrm>
            <a:off x="6717159" y="2430707"/>
            <a:ext cx="1546094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Центральная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ГП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sp>
        <p:nvSpPr>
          <p:cNvPr id="17413" name="Rectangle 83"/>
          <p:cNvSpPr>
            <a:spLocks noChangeArrowheads="1"/>
          </p:cNvSpPr>
          <p:nvPr/>
        </p:nvSpPr>
        <p:spPr bwMode="auto">
          <a:xfrm>
            <a:off x="3700680" y="2433786"/>
            <a:ext cx="1847654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err="1" smtClean="0">
                <a:solidFill>
                  <a:schemeClr val="accent1"/>
                </a:solidFill>
              </a:rPr>
              <a:t>Лоухская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ГП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sp>
        <p:nvSpPr>
          <p:cNvPr id="17415" name="Rectangle 85"/>
          <p:cNvSpPr>
            <a:spLocks noChangeArrowheads="1"/>
          </p:cNvSpPr>
          <p:nvPr/>
        </p:nvSpPr>
        <p:spPr bwMode="auto">
          <a:xfrm>
            <a:off x="1082190" y="2446288"/>
            <a:ext cx="1628676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Кольский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РМЭ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sp>
        <p:nvSpPr>
          <p:cNvPr id="17416" name="Rectangle 89"/>
          <p:cNvSpPr>
            <a:spLocks noChangeArrowheads="1"/>
          </p:cNvSpPr>
          <p:nvPr/>
        </p:nvSpPr>
        <p:spPr bwMode="auto">
          <a:xfrm>
            <a:off x="3704045" y="4601483"/>
            <a:ext cx="1707135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Ладожский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РМЭ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sp>
        <p:nvSpPr>
          <p:cNvPr id="17417" name="Rectangle 88"/>
          <p:cNvSpPr>
            <a:spLocks noChangeArrowheads="1"/>
          </p:cNvSpPr>
          <p:nvPr/>
        </p:nvSpPr>
        <p:spPr bwMode="auto">
          <a:xfrm>
            <a:off x="6655522" y="4588910"/>
            <a:ext cx="1545210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Выборгская 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ГП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2744788" y="1102901"/>
            <a:ext cx="4029075" cy="628650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</a:rPr>
              <a:t>Карельское ПМЭС</a:t>
            </a:r>
            <a:endParaRPr lang="ru-RU" sz="3200" b="1" dirty="0">
              <a:solidFill>
                <a:schemeClr val="tx2">
                  <a:lumMod val="75000"/>
                </a:schemeClr>
              </a:solidFill>
              <a:latin typeface="Century Schoolbook" pitchFamily="18" charset="0"/>
              <a:ea typeface="Batang" pitchFamily="18" charset="-127"/>
              <a:cs typeface="Aharoni" pitchFamily="2" charset="-79"/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 bwMode="auto">
          <a:xfrm>
            <a:off x="590550" y="0"/>
            <a:ext cx="8562975" cy="896938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/>
              <a:t>Структура Филиала</a:t>
            </a:r>
            <a:endParaRPr lang="en-GB" sz="3100" b="1" dirty="0"/>
          </a:p>
        </p:txBody>
      </p:sp>
      <p:pic>
        <p:nvPicPr>
          <p:cNvPr id="18436" name="Picture 4" descr="C:\Users\Polyakova_NV\Desktop\20.12.07 05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22678" y="5322733"/>
            <a:ext cx="1926355" cy="12829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37" name="Picture 5" descr="C:\Users\Polyakova_NV\Desktop\Древлянка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89361" y="3124751"/>
            <a:ext cx="1978917" cy="13199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39" name="Picture 7" descr="C:\Users\Polyakova_NV\Desktop\Чудово3.t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29516" y="5358082"/>
            <a:ext cx="1863170" cy="12408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41" name="Picture 9" descr="C:\Users\Polyakova_NV\Desktop\Январь_Сев_Инта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30116" y="3129735"/>
            <a:ext cx="1932824" cy="13149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444" name="Picture 12" descr="C:\Users\Polyakova_NV\Desktop\Октябрь_Выборг_линия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50440" y="3129735"/>
            <a:ext cx="1970732" cy="13149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414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110" y="3135313"/>
            <a:ext cx="620712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5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4960" y="3175000"/>
            <a:ext cx="620712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6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3" y="5322733"/>
            <a:ext cx="620712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7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5267170"/>
            <a:ext cx="620713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9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522" y="3165475"/>
            <a:ext cx="620713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89"/>
          <p:cNvSpPr>
            <a:spLocks noChangeArrowheads="1"/>
          </p:cNvSpPr>
          <p:nvPr/>
        </p:nvSpPr>
        <p:spPr bwMode="auto">
          <a:xfrm>
            <a:off x="800870" y="4601483"/>
            <a:ext cx="2191316" cy="5746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endParaRPr lang="en-US" b="1" dirty="0">
              <a:solidFill>
                <a:schemeClr val="bg2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Западно-Карельская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chemeClr val="accent1"/>
                </a:solidFill>
              </a:rPr>
              <a:t>ГПС</a:t>
            </a:r>
            <a:endParaRPr lang="ru-RU" sz="19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ru-RU" dirty="0"/>
          </a:p>
        </p:txBody>
      </p:sp>
      <p:pic>
        <p:nvPicPr>
          <p:cNvPr id="22" name="Picture 17" descr="C:\Users\Polyakova_NV\Desktop\МЭС\Логотипы ФСК\logobi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925" y="5267170"/>
            <a:ext cx="620713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 descr="C:\Users\Polyakova_NV\Desktop\Древлянка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023" y="5357022"/>
            <a:ext cx="1978917" cy="13199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82804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 smtClean="0"/>
              <a:t>Кольский РМЭС</a:t>
            </a:r>
            <a:endParaRPr lang="en-GB" sz="3100" b="1" dirty="0"/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1025" y="3876676"/>
            <a:ext cx="8603240" cy="2602732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В состав района электрических сетей входят: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/>
              <a:t>5</a:t>
            </a:r>
            <a:r>
              <a:rPr lang="ru-RU" sz="2000" b="1" dirty="0" smtClean="0"/>
              <a:t> подстанции 330 кВ ,  новая  ПС 330 кВ Мурманская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Кольский транспортный участок с </a:t>
            </a:r>
            <a:r>
              <a:rPr lang="en-US" sz="2000" b="1" dirty="0" smtClean="0"/>
              <a:t>21</a:t>
            </a:r>
            <a:r>
              <a:rPr lang="ru-RU" sz="2000" b="1" dirty="0" smtClean="0"/>
              <a:t> единицей техники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Кольский линейный участок, обслуживающий 770 км ЛЭП 0,4-330 кВ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Кольский участок связи, обслуживающий линии связи, ВОЛС и СДТУ.</a:t>
            </a:r>
          </a:p>
          <a:p>
            <a:pPr>
              <a:spcAft>
                <a:spcPts val="600"/>
              </a:spcAft>
              <a:defRPr/>
            </a:pPr>
            <a:r>
              <a:rPr lang="ru-RU" sz="2000" b="1" dirty="0" smtClean="0"/>
              <a:t>Общая численность </a:t>
            </a:r>
            <a:r>
              <a:rPr lang="ru-RU" sz="2000" b="1" dirty="0"/>
              <a:t>персонала </a:t>
            </a:r>
            <a:r>
              <a:rPr lang="ru-RU" sz="2000" b="1" dirty="0" smtClean="0"/>
              <a:t>РЭС - </a:t>
            </a:r>
            <a:r>
              <a:rPr lang="ru-RU" sz="2000" b="1" dirty="0"/>
              <a:t>70 человек. </a:t>
            </a:r>
            <a:endParaRPr lang="ru-RU" sz="2000" b="1" dirty="0" smtClean="0"/>
          </a:p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pic>
        <p:nvPicPr>
          <p:cNvPr id="1026" name="Picture 2" descr="I:\Подразделения\ПТО\ГОДОВЫЕ ОТЧЕТЫ\Годовой отчет КПМЭС за 2016 год\Работа над годовым\С подразделений\ОУПА\Бубневич\Схема эксплуатационного обслуживания v2 Кольский РЭС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11" y="958916"/>
            <a:ext cx="8850664" cy="251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02599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246063" y="6738938"/>
            <a:ext cx="2274887" cy="366712"/>
          </a:xfrm>
        </p:spPr>
        <p:txBody>
          <a:bodyPr/>
          <a:lstStyle/>
          <a:p>
            <a:pPr>
              <a:defRPr/>
            </a:pPr>
            <a:fld id="{37D2C5B7-2693-43E4-B0C4-77533B17DD2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90550" y="0"/>
            <a:ext cx="8562975" cy="582804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7512" tIns="48756" rIns="97512" bIns="48756" anchor="ctr"/>
          <a:lstStyle/>
          <a:p>
            <a:pPr algn="ctr">
              <a:defRPr/>
            </a:pPr>
            <a:r>
              <a:rPr lang="ru-RU" sz="3100" b="1" dirty="0" err="1" smtClean="0"/>
              <a:t>Лоухская</a:t>
            </a:r>
            <a:r>
              <a:rPr lang="ru-RU" sz="3100" b="1" dirty="0" smtClean="0"/>
              <a:t> ГПС</a:t>
            </a:r>
            <a:endParaRPr lang="en-GB" sz="3100" b="1" dirty="0"/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0550" y="4278430"/>
            <a:ext cx="8603240" cy="2376369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 algn="ctr">
            <a:solidFill>
              <a:srgbClr val="C0C0C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48765" tIns="48765" rIns="48765" bIns="48765" anchor="t" anchorCtr="0"/>
          <a:lstStyle/>
          <a:p>
            <a:pPr>
              <a:spcAft>
                <a:spcPts val="600"/>
              </a:spcAft>
              <a:defRPr/>
            </a:pPr>
            <a:r>
              <a:rPr lang="ru-RU" sz="2000" b="1" dirty="0"/>
              <a:t>В состав района электрических сетей входят: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3 </a:t>
            </a:r>
            <a:r>
              <a:rPr lang="ru-RU" sz="2000" b="1" dirty="0"/>
              <a:t>подстанции </a:t>
            </a:r>
            <a:r>
              <a:rPr lang="ru-RU" sz="2000" b="1" dirty="0" smtClean="0"/>
              <a:t>220-330 кВ + строящийся РП 330 кВ Путкинский;</a:t>
            </a:r>
            <a:endParaRPr lang="ru-RU" sz="2000" b="1" dirty="0"/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Лоухский </a:t>
            </a:r>
            <a:r>
              <a:rPr lang="ru-RU" sz="2000" b="1" dirty="0"/>
              <a:t>транспортный участок с </a:t>
            </a:r>
            <a:r>
              <a:rPr lang="ru-RU" sz="2000" b="1" dirty="0" smtClean="0"/>
              <a:t>17 </a:t>
            </a:r>
            <a:r>
              <a:rPr lang="ru-RU" sz="2000" b="1" dirty="0"/>
              <a:t>единицами техники;</a:t>
            </a:r>
          </a:p>
          <a:p>
            <a:pPr marL="342900" indent="-342900">
              <a:spcAft>
                <a:spcPts val="600"/>
              </a:spcAft>
              <a:buFontTx/>
              <a:buChar char="-"/>
              <a:defRPr/>
            </a:pPr>
            <a:r>
              <a:rPr lang="ru-RU" sz="2000" b="1" dirty="0" smtClean="0"/>
              <a:t>Лоухский </a:t>
            </a:r>
            <a:r>
              <a:rPr lang="ru-RU" sz="2000" b="1" dirty="0"/>
              <a:t>линейный участок, обслуживающий </a:t>
            </a:r>
            <a:r>
              <a:rPr lang="ru-RU" sz="2000" b="1" dirty="0" smtClean="0"/>
              <a:t>1 005 </a:t>
            </a:r>
            <a:r>
              <a:rPr lang="ru-RU" sz="2000" b="1" dirty="0"/>
              <a:t>км ЛЭП </a:t>
            </a:r>
            <a:r>
              <a:rPr lang="ru-RU" sz="2000" b="1" dirty="0" smtClean="0"/>
              <a:t>10-330 кВ + 305 км строящихся линий Северного транзита.</a:t>
            </a:r>
            <a:endParaRPr lang="ru-RU" sz="2000" b="1" dirty="0"/>
          </a:p>
          <a:p>
            <a:pPr>
              <a:spcAft>
                <a:spcPts val="600"/>
              </a:spcAft>
              <a:defRPr/>
            </a:pPr>
            <a:r>
              <a:rPr lang="ru-RU" sz="2000" b="1" dirty="0"/>
              <a:t>Общая численность персонала РЭС - </a:t>
            </a:r>
            <a:r>
              <a:rPr lang="ru-RU" sz="2000" b="1" dirty="0" smtClean="0"/>
              <a:t>49 </a:t>
            </a:r>
            <a:r>
              <a:rPr lang="ru-RU" sz="2000" b="1" dirty="0"/>
              <a:t>человек. </a:t>
            </a:r>
          </a:p>
          <a:p>
            <a:pPr>
              <a:spcAft>
                <a:spcPts val="600"/>
              </a:spcAft>
              <a:defRPr/>
            </a:pPr>
            <a:endParaRPr lang="ru-RU" sz="2000" b="1" dirty="0"/>
          </a:p>
        </p:txBody>
      </p:sp>
      <p:pic>
        <p:nvPicPr>
          <p:cNvPr id="2050" name="Picture 2" descr="I:\Подразделения\ПТО\ГОДОВЫЕ ОТЧЕТЫ\Годовой отчет КПМЭС за 2016 год\Работа над годовым\С подразделений\ОУПА\Бубневич\Схема эксплуатационного обслуживания v2 Лоухский РЭС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" y="978018"/>
            <a:ext cx="8562975" cy="2939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5811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WVcCpxXkK1bjY7W6u3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5BGHmE0uktEbui73e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5BGHmE0uktEbui73e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5BGHmE0uktEbui73e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5BGHmE0uktEbui73e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M7jo3KOEasC1c.PnGYnw"/>
</p:tagLst>
</file>

<file path=ppt/theme/theme1.xml><?xml version="1.0" encoding="utf-8"?>
<a:theme xmlns:a="http://schemas.openxmlformats.org/drawingml/2006/main" name="3_Office Theme">
  <a:themeElements>
    <a:clrScheme name="FGC - Blu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99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938953"/>
      </a:accent6>
      <a:hlink>
        <a:srgbClr val="0000FF"/>
      </a:hlink>
      <a:folHlink>
        <a:srgbClr val="800080"/>
      </a:folHlink>
    </a:clrScheme>
    <a:fontScheme name="FGC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/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Оформление по умолчанию">
  <a:themeElements>
    <a:clrScheme name="2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 Cyr"/>
        <a:ea typeface=""/>
        <a:cs typeface=""/>
      </a:majorFont>
      <a:minorFont>
        <a:latin typeface="Arial Cy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7775" tIns="38888" rIns="77775" bIns="388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7775" tIns="38888" rIns="77775" bIns="3888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Office Theme">
  <a:themeElements>
    <a:clrScheme name="4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4990"/>
      </a:accent1>
      <a:accent2>
        <a:srgbClr val="C0504D"/>
      </a:accent2>
      <a:accent3>
        <a:srgbClr val="FFFFFF"/>
      </a:accent3>
      <a:accent4>
        <a:srgbClr val="000000"/>
      </a:accent4>
      <a:accent5>
        <a:srgbClr val="AAB1C6"/>
      </a:accent5>
      <a:accent6>
        <a:srgbClr val="AE4845"/>
      </a:accent6>
      <a:hlink>
        <a:srgbClr val="0000FF"/>
      </a:hlink>
      <a:folHlink>
        <a:srgbClr val="800080"/>
      </a:folHlink>
    </a:clrScheme>
    <a:fontScheme name="4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004990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AAB1C6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Office Theme">
  <a:themeElements>
    <a:clrScheme name="9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4990"/>
      </a:accent1>
      <a:accent2>
        <a:srgbClr val="C0504D"/>
      </a:accent2>
      <a:accent3>
        <a:srgbClr val="FFFFFF"/>
      </a:accent3>
      <a:accent4>
        <a:srgbClr val="000000"/>
      </a:accent4>
      <a:accent5>
        <a:srgbClr val="AAB1C6"/>
      </a:accent5>
      <a:accent6>
        <a:srgbClr val="AE4845"/>
      </a:accent6>
      <a:hlink>
        <a:srgbClr val="0000FF"/>
      </a:hlink>
      <a:folHlink>
        <a:srgbClr val="800080"/>
      </a:folHlink>
    </a:clrScheme>
    <a:fontScheme name="9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004990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AAB1C6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Office Theme">
  <a:themeElements>
    <a:clrScheme name="7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4990"/>
      </a:accent1>
      <a:accent2>
        <a:srgbClr val="C0504D"/>
      </a:accent2>
      <a:accent3>
        <a:srgbClr val="FFFFFF"/>
      </a:accent3>
      <a:accent4>
        <a:srgbClr val="000000"/>
      </a:accent4>
      <a:accent5>
        <a:srgbClr val="AAB1C6"/>
      </a:accent5>
      <a:accent6>
        <a:srgbClr val="AE4845"/>
      </a:accent6>
      <a:hlink>
        <a:srgbClr val="0000FF"/>
      </a:hlink>
      <a:folHlink>
        <a:srgbClr val="800080"/>
      </a:folHlink>
    </a:clrScheme>
    <a:fontScheme name="7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004990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AAB1C6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Office Theme">
  <a:themeElements>
    <a:clrScheme name="FGC - Blu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99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938953"/>
      </a:accent6>
      <a:hlink>
        <a:srgbClr val="0000FF"/>
      </a:hlink>
      <a:folHlink>
        <a:srgbClr val="800080"/>
      </a:folHlink>
    </a:clrScheme>
    <a:fontScheme name="FGC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/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040</TotalTime>
  <Words>2352</Words>
  <Application>Microsoft Office PowerPoint</Application>
  <PresentationFormat>Произвольный</PresentationFormat>
  <Paragraphs>418</Paragraphs>
  <Slides>33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7</vt:i4>
      </vt:variant>
      <vt:variant>
        <vt:lpstr>Заголовки слайдов</vt:lpstr>
      </vt:variant>
      <vt:variant>
        <vt:i4>33</vt:i4>
      </vt:variant>
    </vt:vector>
  </HeadingPairs>
  <TitlesOfParts>
    <vt:vector size="51" baseType="lpstr">
      <vt:lpstr>Aharoni</vt:lpstr>
      <vt:lpstr>Arial</vt:lpstr>
      <vt:lpstr>Arial Cyr</vt:lpstr>
      <vt:lpstr>Batang</vt:lpstr>
      <vt:lpstr>Calibri</vt:lpstr>
      <vt:lpstr>Calibri (Основной текст)</vt:lpstr>
      <vt:lpstr>Century Gothic</vt:lpstr>
      <vt:lpstr>Century Schoolbook</vt:lpstr>
      <vt:lpstr>Futura Bk</vt:lpstr>
      <vt:lpstr>Times New Roman</vt:lpstr>
      <vt:lpstr>Wingdings</vt:lpstr>
      <vt:lpstr>3_Office Theme</vt:lpstr>
      <vt:lpstr>2_Оформление по умолчанию</vt:lpstr>
      <vt:lpstr>1_Оформление по умолчанию</vt:lpstr>
      <vt:lpstr>4_Office Theme</vt:lpstr>
      <vt:lpstr>9_Office Theme</vt:lpstr>
      <vt:lpstr>7_Office Theme</vt:lpstr>
      <vt:lpstr>5_Office Theme</vt:lpstr>
      <vt:lpstr>Филиал ПАО «Россети»</vt:lpstr>
      <vt:lpstr>Россети- естественная монопол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Работа со студентами </vt:lpstr>
      <vt:lpstr>Презентация PowerPoint</vt:lpstr>
      <vt:lpstr>Презентация PowerPoint</vt:lpstr>
      <vt:lpstr>Презентация PowerPoint</vt:lpstr>
    </vt:vector>
  </TitlesOfParts>
  <Company>PHJ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hillip Maden</dc:creator>
  <cp:lastModifiedBy>Платаная Наталья Николаевна</cp:lastModifiedBy>
  <cp:revision>1897</cp:revision>
  <cp:lastPrinted>2017-02-28T06:17:17Z</cp:lastPrinted>
  <dcterms:created xsi:type="dcterms:W3CDTF">2009-12-01T11:18:54Z</dcterms:created>
  <dcterms:modified xsi:type="dcterms:W3CDTF">2023-02-21T11:02:54Z</dcterms:modified>
</cp:coreProperties>
</file>